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9.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0.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1.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2.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3.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4.xml" ContentType="application/vnd.openxmlformats-officedocument.theme+xml"/>
  <Override PartName="/ppt/tags/tag4.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5.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6.xml" ContentType="application/vnd.openxmlformats-officedocument.theme+xml"/>
  <Override PartName="/ppt/tags/tag5.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1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8.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9.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0.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21.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22.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ink/ink5.xml" ContentType="application/inkml+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ink/ink1.xml" ContentType="application/inkml+xml"/>
  <Override PartName="/ppt/webextensions/taskpanes.xml" ContentType="application/vnd.ms-office.webextensiontaskpanes+xml"/>
  <Override PartName="/ppt/authors.xml" ContentType="application/vnd.ms-powerpoint.authors+xml"/>
  <Override PartName="/ppt/webextensions/webextension1.xml" ContentType="application/vnd.ms-office.webextension+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6" r:id="rId5"/>
    <p:sldMasterId id="2147483656" r:id="rId6"/>
    <p:sldMasterId id="2147483848" r:id="rId7"/>
    <p:sldMasterId id="2147483898" r:id="rId8"/>
    <p:sldMasterId id="2147483930" r:id="rId9"/>
    <p:sldMasterId id="2147483956" r:id="rId10"/>
    <p:sldMasterId id="2147483984" r:id="rId11"/>
    <p:sldMasterId id="2147483994" r:id="rId12"/>
    <p:sldMasterId id="2147484022" r:id="rId13"/>
    <p:sldMasterId id="2147484050" r:id="rId14"/>
    <p:sldMasterId id="2147484080" r:id="rId15"/>
    <p:sldMasterId id="2147484108" r:id="rId16"/>
    <p:sldMasterId id="2147484139" r:id="rId17"/>
    <p:sldMasterId id="2147484163" r:id="rId18"/>
    <p:sldMasterId id="2147484184" r:id="rId19"/>
    <p:sldMasterId id="2147484224" r:id="rId20"/>
    <p:sldMasterId id="2147484270" r:id="rId21"/>
    <p:sldMasterId id="2147484296" r:id="rId22"/>
    <p:sldMasterId id="2147484315" r:id="rId23"/>
    <p:sldMasterId id="2147484330" r:id="rId24"/>
    <p:sldMasterId id="2147484350" r:id="rId25"/>
    <p:sldMasterId id="2147484364" r:id="rId26"/>
    <p:sldMasterId id="2147484396" r:id="rId27"/>
  </p:sldMasterIdLst>
  <p:notesMasterIdLst>
    <p:notesMasterId r:id="rId78"/>
  </p:notesMasterIdLst>
  <p:handoutMasterIdLst>
    <p:handoutMasterId r:id="rId79"/>
  </p:handoutMasterIdLst>
  <p:sldIdLst>
    <p:sldId id="271" r:id="rId28"/>
    <p:sldId id="2147471558" r:id="rId29"/>
    <p:sldId id="263" r:id="rId30"/>
    <p:sldId id="2147471560" r:id="rId31"/>
    <p:sldId id="2147471562" r:id="rId32"/>
    <p:sldId id="1747256774" r:id="rId33"/>
    <p:sldId id="1747256776" r:id="rId34"/>
    <p:sldId id="1747256777" r:id="rId35"/>
    <p:sldId id="1747256778" r:id="rId36"/>
    <p:sldId id="1747256779" r:id="rId37"/>
    <p:sldId id="276" r:id="rId38"/>
    <p:sldId id="1747256780" r:id="rId39"/>
    <p:sldId id="2146848052" r:id="rId40"/>
    <p:sldId id="2146848022" r:id="rId41"/>
    <p:sldId id="2146848023" r:id="rId42"/>
    <p:sldId id="2147471561" r:id="rId43"/>
    <p:sldId id="2146848026" r:id="rId44"/>
    <p:sldId id="2146848034" r:id="rId45"/>
    <p:sldId id="2146848036" r:id="rId46"/>
    <p:sldId id="2146848038" r:id="rId47"/>
    <p:sldId id="2146848041" r:id="rId48"/>
    <p:sldId id="2146848042" r:id="rId49"/>
    <p:sldId id="2146848043" r:id="rId50"/>
    <p:sldId id="2146848044" r:id="rId51"/>
    <p:sldId id="2146848046" r:id="rId52"/>
    <p:sldId id="2146848045" r:id="rId53"/>
    <p:sldId id="2146848053" r:id="rId54"/>
    <p:sldId id="268" r:id="rId55"/>
    <p:sldId id="8219" r:id="rId56"/>
    <p:sldId id="8221" r:id="rId57"/>
    <p:sldId id="8222" r:id="rId58"/>
    <p:sldId id="284" r:id="rId59"/>
    <p:sldId id="288" r:id="rId60"/>
    <p:sldId id="2146848051" r:id="rId61"/>
    <p:sldId id="2146848050" r:id="rId62"/>
    <p:sldId id="2146848054" r:id="rId63"/>
    <p:sldId id="8354" r:id="rId64"/>
    <p:sldId id="278" r:id="rId65"/>
    <p:sldId id="270" r:id="rId66"/>
    <p:sldId id="2146848056" r:id="rId67"/>
    <p:sldId id="2146848057" r:id="rId68"/>
    <p:sldId id="2146848058" r:id="rId69"/>
    <p:sldId id="300" r:id="rId70"/>
    <p:sldId id="301" r:id="rId71"/>
    <p:sldId id="308" r:id="rId72"/>
    <p:sldId id="309" r:id="rId73"/>
    <p:sldId id="272" r:id="rId74"/>
    <p:sldId id="2147471559" r:id="rId75"/>
    <p:sldId id="2146848055" r:id="rId76"/>
    <p:sldId id="2147471563" r:id="rId77"/>
  </p:sldIdLst>
  <p:sldSz cx="9144000" cy="5143500" type="screen16x9"/>
  <p:notesSz cx="7077075" cy="9363075"/>
  <p:custDataLst>
    <p:tags r:id="rId8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вступление" id="{731D6D2A-6A5A-40F2-B656-AF1B664EA485}">
          <p14:sldIdLst>
            <p14:sldId id="271"/>
            <p14:sldId id="2147471558"/>
            <p14:sldId id="263"/>
            <p14:sldId id="2147471560"/>
            <p14:sldId id="2147471562"/>
            <p14:sldId id="1747256774"/>
            <p14:sldId id="1747256776"/>
            <p14:sldId id="1747256777"/>
            <p14:sldId id="1747256778"/>
            <p14:sldId id="1747256779"/>
            <p14:sldId id="276"/>
            <p14:sldId id="1747256780"/>
            <p14:sldId id="2146848052"/>
            <p14:sldId id="2146848022"/>
            <p14:sldId id="2146848023"/>
            <p14:sldId id="2147471561"/>
            <p14:sldId id="2146848026"/>
            <p14:sldId id="2146848034"/>
            <p14:sldId id="2146848036"/>
            <p14:sldId id="2146848038"/>
            <p14:sldId id="2146848041"/>
            <p14:sldId id="2146848042"/>
            <p14:sldId id="2146848043"/>
            <p14:sldId id="2146848044"/>
            <p14:sldId id="2146848046"/>
            <p14:sldId id="2146848045"/>
            <p14:sldId id="2146848053"/>
            <p14:sldId id="268"/>
            <p14:sldId id="8219"/>
            <p14:sldId id="8221"/>
            <p14:sldId id="8222"/>
            <p14:sldId id="284"/>
            <p14:sldId id="288"/>
            <p14:sldId id="2146848051"/>
            <p14:sldId id="2146848050"/>
            <p14:sldId id="2146848054"/>
            <p14:sldId id="8354"/>
            <p14:sldId id="278"/>
            <p14:sldId id="270"/>
            <p14:sldId id="2146848056"/>
            <p14:sldId id="2146848057"/>
            <p14:sldId id="2146848058"/>
            <p14:sldId id="300"/>
            <p14:sldId id="301"/>
            <p14:sldId id="308"/>
            <p14:sldId id="309"/>
            <p14:sldId id="272"/>
            <p14:sldId id="2147471559"/>
            <p14:sldId id="2146848055"/>
            <p14:sldId id="2147471563"/>
          </p14:sldIdLst>
        </p14:section>
      </p14:sectionLst>
    </p:ext>
    <p:ext uri="{EFAFB233-063F-42B5-8137-9DF3F51BA10A}">
      <p15:sldGuideLst xmlns:p15="http://schemas.microsoft.com/office/powerpoint/2012/main" xmlns="">
        <p15:guide id="8" orient="horz" pos="1620">
          <p15:clr>
            <a:srgbClr val="A4A3A4"/>
          </p15:clr>
        </p15:guide>
        <p15:guide id="9" orient="horz" pos="2414" userDrawn="1">
          <p15:clr>
            <a:srgbClr val="A4A3A4"/>
          </p15:clr>
        </p15:guide>
        <p15:guide id="10" pos="204" userDrawn="1">
          <p15:clr>
            <a:srgbClr val="A4A3A4"/>
          </p15:clr>
        </p15:guide>
      </p15:sldGuideLst>
    </p:ext>
    <p:ext uri="{2D200454-40CA-4A62-9FC3-DE9A4176ACB9}">
      <p15:notesGuideLst xmlns:p15="http://schemas.microsoft.com/office/powerpoint/2012/main" xmlns="">
        <p15:guide id="1" orient="horz" pos="2949" userDrawn="1">
          <p15:clr>
            <a:srgbClr val="A4A3A4"/>
          </p15:clr>
        </p15:guide>
        <p15:guide id="2" pos="222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0A1F76-F2BC-F929-9831-275C74BA4774}" name="Boiko, Rimma" initials="BR" userId="S::kkrg322@astrazeneca.net::a1c24c07-424a-40de-ac28-65e3b9a77cf5" providerId="AD"/>
  <p188:author id="{63B8F5FD-CF8B-9B74-D25E-ECB2269CBEE4}" name="Kozhemyakova, Olesya" initials="KO" userId="S::kmfg396@astrazeneca.net::9dc6b4fd-2aa0-4a06-9aea-ee5697f201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opova, Anna" initials="PA" lastIdx="11" clrIdx="6">
    <p:extLst>
      <p:ext uri="{19B8F6BF-5375-455C-9EA6-DF929625EA0E}">
        <p15:presenceInfo xmlns:p15="http://schemas.microsoft.com/office/powerpoint/2012/main" xmlns="" userId="S::kggx586@astrazeneca.net::26280eb4-8284-4586-ab56-9423178bf8f9" providerId="AD"/>
      </p:ext>
    </p:extLst>
  </p:cmAuthor>
  <p:cmAuthor id="1" name="Franks, April" initials="FA" lastIdx="24" clrIdx="0">
    <p:extLst>
      <p:ext uri="{19B8F6BF-5375-455C-9EA6-DF929625EA0E}">
        <p15:presenceInfo xmlns:p15="http://schemas.microsoft.com/office/powerpoint/2012/main" xmlns="" userId="Franks, April" providerId="None"/>
      </p:ext>
    </p:extLst>
  </p:cmAuthor>
  <p:cmAuthor id="2" name="Davey, Kieran" initials="DK" lastIdx="8" clrIdx="1">
    <p:extLst>
      <p:ext uri="{19B8F6BF-5375-455C-9EA6-DF929625EA0E}">
        <p15:presenceInfo xmlns:p15="http://schemas.microsoft.com/office/powerpoint/2012/main" xmlns="" userId="S::kfkl438@astrazeneca.net::70205511-03f9-4471-b55c-7b7ee070642a" providerId="AD"/>
      </p:ext>
    </p:extLst>
  </p:cmAuthor>
  <p:cmAuthor id="3" name="Ashfield, MS" initials="MS" lastIdx="11" clrIdx="2">
    <p:extLst>
      <p:ext uri="{19B8F6BF-5375-455C-9EA6-DF929625EA0E}">
        <p15:presenceInfo xmlns:p15="http://schemas.microsoft.com/office/powerpoint/2012/main" xmlns="" userId="Ashfield, MS" providerId="None"/>
      </p:ext>
    </p:extLst>
  </p:cmAuthor>
  <p:cmAuthor id="4" name="Craig O'Hare" initials="CO" lastIdx="12" clrIdx="3">
    <p:extLst>
      <p:ext uri="{19B8F6BF-5375-455C-9EA6-DF929625EA0E}">
        <p15:presenceInfo xmlns:p15="http://schemas.microsoft.com/office/powerpoint/2012/main" xmlns="" userId="S-1-5-21-3415842553-1114698219-1032229874-75005" providerId="AD"/>
      </p:ext>
    </p:extLst>
  </p:cmAuthor>
  <p:cmAuthor id="5" name="Angela Williams" initials="AW" lastIdx="7" clrIdx="4">
    <p:extLst>
      <p:ext uri="{19B8F6BF-5375-455C-9EA6-DF929625EA0E}">
        <p15:presenceInfo xmlns:p15="http://schemas.microsoft.com/office/powerpoint/2012/main" xmlns="" userId="S-1-5-21-3415842553-1114698219-1032229874-14716" providerId="AD"/>
      </p:ext>
    </p:extLst>
  </p:cmAuthor>
  <p:cmAuthor id="6" name="Donner, Natalia" initials="DN" lastIdx="1" clrIdx="5">
    <p:extLst>
      <p:ext uri="{19B8F6BF-5375-455C-9EA6-DF929625EA0E}">
        <p15:presenceInfo xmlns:p15="http://schemas.microsoft.com/office/powerpoint/2012/main" xmlns="" userId="S::kcsb256@astrazeneca.net::1f8d7bb4-b3dd-4dce-a005-5ae374b69d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0051"/>
    <a:srgbClr val="56639D"/>
    <a:srgbClr val="4F74C8"/>
    <a:srgbClr val="97A0C6"/>
    <a:srgbClr val="E5E5E5"/>
    <a:srgbClr val="002A4C"/>
    <a:srgbClr val="3F4444"/>
    <a:srgbClr val="7F7F7F"/>
    <a:srgbClr val="ECECEC"/>
    <a:srgbClr val="F2F3F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85" autoAdjust="0"/>
    <p:restoredTop sz="98627" autoAdjust="0"/>
  </p:normalViewPr>
  <p:slideViewPr>
    <p:cSldViewPr snapToGrid="0" snapToObjects="1" showGuides="1">
      <p:cViewPr>
        <p:scale>
          <a:sx n="100" d="100"/>
          <a:sy n="100" d="100"/>
        </p:scale>
        <p:origin x="-606" y="-72"/>
      </p:cViewPr>
      <p:guideLst>
        <p:guide orient="horz" pos="1620"/>
        <p:guide orient="horz" pos="2414"/>
        <p:guide pos="204"/>
      </p:guideLst>
    </p:cSldViewPr>
  </p:slideViewPr>
  <p:notesTextViewPr>
    <p:cViewPr>
      <p:scale>
        <a:sx n="100" d="100"/>
        <a:sy n="100" d="100"/>
      </p:scale>
      <p:origin x="0" y="0"/>
    </p:cViewPr>
  </p:notesTextViewPr>
  <p:sorterViewPr>
    <p:cViewPr varScale="1">
      <p:scale>
        <a:sx n="1" d="1"/>
        <a:sy n="1" d="1"/>
      </p:scale>
      <p:origin x="0" y="-12936"/>
    </p:cViewPr>
  </p:sorterViewPr>
  <p:notesViewPr>
    <p:cSldViewPr snapToGrid="0" snapToObjects="1">
      <p:cViewPr varScale="1">
        <p:scale>
          <a:sx n="49" d="100"/>
          <a:sy n="49" d="100"/>
        </p:scale>
        <p:origin x="2636" y="32"/>
      </p:cViewPr>
      <p:guideLst>
        <p:guide orient="horz" pos="2949"/>
        <p:guide pos="222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Master" Target="slideMasters/slideMaster22.xml"/><Relationship Id="rId39" Type="http://schemas.openxmlformats.org/officeDocument/2006/relationships/slide" Target="slides/slide12.xml"/><Relationship Id="rId21" Type="http://schemas.openxmlformats.org/officeDocument/2006/relationships/slideMaster" Target="slideMasters/slideMaster17.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slide" Target="slides/slide28.xml"/><Relationship Id="rId63" Type="http://schemas.openxmlformats.org/officeDocument/2006/relationships/slide" Target="slides/slide36.xml"/><Relationship Id="rId68" Type="http://schemas.openxmlformats.org/officeDocument/2006/relationships/slide" Target="slides/slide41.xml"/><Relationship Id="rId76" Type="http://schemas.openxmlformats.org/officeDocument/2006/relationships/slide" Target="slides/slide49.xml"/><Relationship Id="rId84" Type="http://schemas.openxmlformats.org/officeDocument/2006/relationships/theme" Target="theme/theme1.xml"/><Relationship Id="rId7" Type="http://schemas.openxmlformats.org/officeDocument/2006/relationships/slideMaster" Target="slideMasters/slideMaster3.xml"/><Relationship Id="rId71" Type="http://schemas.openxmlformats.org/officeDocument/2006/relationships/slide" Target="slides/slide44.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slide" Target="slides/slide39.xml"/><Relationship Id="rId74" Type="http://schemas.openxmlformats.org/officeDocument/2006/relationships/slide" Target="slides/slide47.xml"/><Relationship Id="rId79" Type="http://schemas.openxmlformats.org/officeDocument/2006/relationships/handoutMaster" Target="handoutMasters/handoutMaster1.xml"/><Relationship Id="rId5" Type="http://schemas.openxmlformats.org/officeDocument/2006/relationships/slideMaster" Target="slideMasters/slideMaster1.xml"/><Relationship Id="rId61" Type="http://schemas.openxmlformats.org/officeDocument/2006/relationships/slide" Target="slides/slide34.xml"/><Relationship Id="rId82" Type="http://schemas.openxmlformats.org/officeDocument/2006/relationships/presProps" Target="presProps.xml"/><Relationship Id="rId19" Type="http://schemas.openxmlformats.org/officeDocument/2006/relationships/slideMaster" Target="slideMasters/slideMaster15.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Master" Target="slideMasters/slideMaster23.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slide" Target="slides/slide37.xml"/><Relationship Id="rId69" Type="http://schemas.openxmlformats.org/officeDocument/2006/relationships/slide" Target="slides/slide42.xml"/><Relationship Id="rId77" Type="http://schemas.openxmlformats.org/officeDocument/2006/relationships/slide" Target="slides/slide50.xml"/><Relationship Id="rId8" Type="http://schemas.openxmlformats.org/officeDocument/2006/relationships/slideMaster" Target="slideMasters/slideMaster4.xml"/><Relationship Id="rId51" Type="http://schemas.openxmlformats.org/officeDocument/2006/relationships/slide" Target="slides/slide24.xml"/><Relationship Id="rId72" Type="http://schemas.openxmlformats.org/officeDocument/2006/relationships/slide" Target="slides/slide45.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slide" Target="slides/slide40.xml"/><Relationship Id="rId20" Type="http://schemas.openxmlformats.org/officeDocument/2006/relationships/slideMaster" Target="slideMasters/slideMaster16.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slide" Target="slides/slide43.xml"/><Relationship Id="rId75" Type="http://schemas.openxmlformats.org/officeDocument/2006/relationships/slide" Target="slides/slide48.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slide" Target="slides/slide38.xml"/><Relationship Id="rId73" Type="http://schemas.openxmlformats.org/officeDocument/2006/relationships/slide" Target="slides/slide46.xml"/><Relationship Id="rId78" Type="http://schemas.openxmlformats.org/officeDocument/2006/relationships/notesMaster" Target="notesMasters/notesMaster1.xml"/><Relationship Id="rId81" Type="http://schemas.openxmlformats.org/officeDocument/2006/relationships/commentAuthors" Target="commentAuthors.xml"/><Relationship Id="rId86"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8DAF342-15D2-4D77-B533-BFAF9286E0DE}"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ru-RU"/>
        </a:p>
      </dgm:t>
    </dgm:pt>
    <dgm:pt modelId="{277E5998-A0F2-46AC-9DD5-CEC6CC0D2DE7}">
      <dgm:prSet phldrT="[Текст]"/>
      <dgm:spPr>
        <a:xfrm>
          <a:off x="2252061" y="1724"/>
          <a:ext cx="3699111" cy="786469"/>
        </a:xfrm>
        <a:prstGeom prst="rect">
          <a:avLst/>
        </a:prstGeom>
        <a:solidFill>
          <a:schemeClr val="tx2"/>
        </a:solidFill>
        <a:ln w="12700" cap="flat" cmpd="sng" algn="ctr">
          <a:solidFill>
            <a:sysClr val="window" lastClr="FFFFFF">
              <a:hueOff val="0"/>
              <a:satOff val="0"/>
              <a:lumOff val="0"/>
              <a:alphaOff val="0"/>
            </a:sysClr>
          </a:solidFill>
          <a:prstDash val="solid"/>
          <a:miter lim="800000"/>
        </a:ln>
        <a:effectLst/>
      </dgm:spPr>
      <dgm:t>
        <a:bodyPr/>
        <a:lstStyle/>
        <a:p>
          <a:pPr>
            <a:buNone/>
          </a:pPr>
          <a:r>
            <a:rPr lang="ru-RU" dirty="0">
              <a:solidFill>
                <a:sysClr val="window" lastClr="FFFFFF"/>
              </a:solidFill>
              <a:latin typeface="Calibri"/>
              <a:ea typeface="+mn-ea"/>
              <a:cs typeface="+mn-cs"/>
            </a:rPr>
            <a:t>Область с наличием </a:t>
          </a:r>
          <a:r>
            <a:rPr lang="en-US" dirty="0">
              <a:solidFill>
                <a:sysClr val="window" lastClr="FFFFFF"/>
              </a:solidFill>
              <a:latin typeface="Calibri"/>
              <a:ea typeface="+mn-ea"/>
              <a:cs typeface="+mn-cs"/>
            </a:rPr>
            <a:t>&gt;20 </a:t>
          </a:r>
          <a:r>
            <a:rPr lang="ru-RU" dirty="0">
              <a:solidFill>
                <a:sysClr val="window" lastClr="FFFFFF"/>
              </a:solidFill>
              <a:latin typeface="Calibri"/>
              <a:ea typeface="+mn-ea"/>
              <a:cs typeface="+mn-cs"/>
            </a:rPr>
            <a:t>клеток, пригодных для подсчета</a:t>
          </a:r>
        </a:p>
      </dgm:t>
    </dgm:pt>
    <dgm:pt modelId="{1AF738C7-F80E-4718-B270-BB67D41BAF5D}" type="parTrans" cxnId="{7A22093F-9B6F-46FC-8814-CD8FA19DBB17}">
      <dgm:prSet/>
      <dgm:spPr/>
      <dgm:t>
        <a:bodyPr/>
        <a:lstStyle/>
        <a:p>
          <a:endParaRPr lang="ru-RU"/>
        </a:p>
      </dgm:t>
    </dgm:pt>
    <dgm:pt modelId="{20ACC63E-7ABC-4261-B845-ABE9FA5DA8E1}" type="sibTrans" cxnId="{7A22093F-9B6F-46FC-8814-CD8FA19DBB17}">
      <dgm:prSet/>
      <dgm:spPr/>
      <dgm:t>
        <a:bodyPr/>
        <a:lstStyle/>
        <a:p>
          <a:endParaRPr lang="ru-RU"/>
        </a:p>
      </dgm:t>
    </dgm:pt>
    <dgm:pt modelId="{31754E69-293B-4F4F-BDB2-32192043C38C}">
      <dgm:prSet phldrT="[Текст]"/>
      <dgm:spPr>
        <a:xfrm>
          <a:off x="460264" y="1118510"/>
          <a:ext cx="1572938" cy="786469"/>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a:ea typeface="+mn-ea"/>
              <a:cs typeface="+mn-cs"/>
            </a:rPr>
            <a:t>HER2/CEP17</a:t>
          </a:r>
          <a:r>
            <a:rPr lang="ru-RU" dirty="0">
              <a:solidFill>
                <a:sysClr val="window" lastClr="FFFFFF"/>
              </a:solidFill>
              <a:latin typeface="Calibri"/>
              <a:ea typeface="+mn-ea"/>
              <a:cs typeface="+mn-cs"/>
            </a:rPr>
            <a:t>:</a:t>
          </a:r>
          <a:r>
            <a:rPr lang="en-US" dirty="0">
              <a:solidFill>
                <a:sysClr val="window" lastClr="FFFFFF"/>
              </a:solidFill>
              <a:latin typeface="Calibri"/>
              <a:ea typeface="+mn-ea"/>
              <a:cs typeface="+mn-cs"/>
            </a:rPr>
            <a:t> ≥2</a:t>
          </a:r>
          <a:endParaRPr lang="ru-RU" dirty="0">
            <a:solidFill>
              <a:sysClr val="window" lastClr="FFFFFF"/>
            </a:solidFill>
            <a:latin typeface="Calibri"/>
            <a:ea typeface="+mn-ea"/>
            <a:cs typeface="+mn-cs"/>
          </a:endParaRPr>
        </a:p>
      </dgm:t>
    </dgm:pt>
    <dgm:pt modelId="{441BAC58-57AD-4AD2-BBC3-A46B1597204F}" type="parTrans" cxnId="{2D471C0B-5E8F-4329-B49A-B37C488BCA66}">
      <dgm:prSet/>
      <dgm:spPr>
        <a:xfrm>
          <a:off x="1246733" y="788193"/>
          <a:ext cx="2854884" cy="330317"/>
        </a:xfrm>
        <a:custGeom>
          <a:avLst/>
          <a:gdLst/>
          <a:ahLst/>
          <a:cxnLst/>
          <a:rect l="0" t="0" r="0" b="0"/>
          <a:pathLst>
            <a:path>
              <a:moveTo>
                <a:pt x="2854884" y="0"/>
              </a:moveTo>
              <a:lnTo>
                <a:pt x="2854884" y="165158"/>
              </a:lnTo>
              <a:lnTo>
                <a:pt x="0" y="165158"/>
              </a:lnTo>
              <a:lnTo>
                <a:pt x="0" y="330317"/>
              </a:lnTo>
            </a:path>
          </a:pathLst>
        </a:custGeom>
        <a:noFill/>
        <a:ln w="12700" cap="flat" cmpd="sng" algn="ctr">
          <a:solidFill>
            <a:srgbClr val="70AD47">
              <a:hueOff val="0"/>
              <a:satOff val="0"/>
              <a:lumOff val="0"/>
              <a:alphaOff val="0"/>
            </a:srgbClr>
          </a:solidFill>
          <a:prstDash val="solid"/>
          <a:miter lim="800000"/>
        </a:ln>
        <a:effectLst/>
      </dgm:spPr>
      <dgm:t>
        <a:bodyPr/>
        <a:lstStyle/>
        <a:p>
          <a:endParaRPr lang="ru-RU"/>
        </a:p>
      </dgm:t>
    </dgm:pt>
    <dgm:pt modelId="{36147FFA-E938-4931-9BA5-5ED3FAFB71A0}" type="sibTrans" cxnId="{2D471C0B-5E8F-4329-B49A-B37C488BCA66}">
      <dgm:prSet/>
      <dgm:spPr/>
      <dgm:t>
        <a:bodyPr/>
        <a:lstStyle/>
        <a:p>
          <a:endParaRPr lang="ru-RU"/>
        </a:p>
      </dgm:t>
    </dgm:pt>
    <dgm:pt modelId="{80F808A8-24B0-4009-A497-C366919DBD89}">
      <dgm:prSet phldrT="[Текст]"/>
      <dgm:spPr>
        <a:xfrm>
          <a:off x="2363520" y="1118510"/>
          <a:ext cx="1572938" cy="786469"/>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a:ea typeface="+mn-ea"/>
              <a:cs typeface="+mn-cs"/>
            </a:rPr>
            <a:t>HER2/CEP17</a:t>
          </a:r>
          <a:r>
            <a:rPr lang="ru-RU" dirty="0">
              <a:solidFill>
                <a:sysClr val="window" lastClr="FFFFFF"/>
              </a:solidFill>
              <a:latin typeface="Calibri"/>
              <a:ea typeface="+mn-ea"/>
              <a:cs typeface="+mn-cs"/>
            </a:rPr>
            <a:t>:</a:t>
          </a:r>
          <a:r>
            <a:rPr lang="en-US" dirty="0">
              <a:solidFill>
                <a:sysClr val="window" lastClr="FFFFFF"/>
              </a:solidFill>
              <a:latin typeface="Calibri"/>
              <a:ea typeface="+mn-ea"/>
              <a:cs typeface="+mn-cs"/>
            </a:rPr>
            <a:t> &lt;2</a:t>
          </a:r>
          <a:br>
            <a:rPr lang="en-US" dirty="0">
              <a:solidFill>
                <a:sysClr val="window" lastClr="FFFFFF"/>
              </a:solidFill>
              <a:latin typeface="Calibri"/>
              <a:ea typeface="+mn-ea"/>
              <a:cs typeface="+mn-cs"/>
            </a:rPr>
          </a:br>
          <a:r>
            <a:rPr lang="en-US" dirty="0">
              <a:solidFill>
                <a:sysClr val="window" lastClr="FFFFFF"/>
              </a:solidFill>
              <a:latin typeface="Calibri"/>
              <a:ea typeface="+mn-ea"/>
              <a:cs typeface="+mn-cs"/>
            </a:rPr>
            <a:t>HER2 ≥6</a:t>
          </a:r>
          <a:endParaRPr lang="ru-RU" dirty="0">
            <a:solidFill>
              <a:sysClr val="window" lastClr="FFFFFF"/>
            </a:solidFill>
            <a:latin typeface="Calibri"/>
            <a:ea typeface="+mn-ea"/>
            <a:cs typeface="+mn-cs"/>
          </a:endParaRPr>
        </a:p>
      </dgm:t>
    </dgm:pt>
    <dgm:pt modelId="{4566B2D1-5A2E-49AF-B91F-5335CD5BCC89}" type="parTrans" cxnId="{93CFC377-3AA6-4D23-A488-693DDF99EBE2}">
      <dgm:prSet/>
      <dgm:spPr>
        <a:xfrm>
          <a:off x="3149989" y="788193"/>
          <a:ext cx="951628" cy="330317"/>
        </a:xfrm>
        <a:custGeom>
          <a:avLst/>
          <a:gdLst/>
          <a:ahLst/>
          <a:cxnLst/>
          <a:rect l="0" t="0" r="0" b="0"/>
          <a:pathLst>
            <a:path>
              <a:moveTo>
                <a:pt x="951628" y="0"/>
              </a:moveTo>
              <a:lnTo>
                <a:pt x="951628" y="165158"/>
              </a:lnTo>
              <a:lnTo>
                <a:pt x="0" y="165158"/>
              </a:lnTo>
              <a:lnTo>
                <a:pt x="0" y="330317"/>
              </a:lnTo>
            </a:path>
          </a:pathLst>
        </a:custGeom>
        <a:noFill/>
        <a:ln w="12700" cap="flat" cmpd="sng" algn="ctr">
          <a:solidFill>
            <a:srgbClr val="70AD47">
              <a:hueOff val="0"/>
              <a:satOff val="0"/>
              <a:lumOff val="0"/>
              <a:alphaOff val="0"/>
            </a:srgbClr>
          </a:solidFill>
          <a:prstDash val="solid"/>
          <a:miter lim="800000"/>
        </a:ln>
        <a:effectLst/>
      </dgm:spPr>
      <dgm:t>
        <a:bodyPr/>
        <a:lstStyle/>
        <a:p>
          <a:endParaRPr lang="ru-RU"/>
        </a:p>
      </dgm:t>
    </dgm:pt>
    <dgm:pt modelId="{5E914AAF-97F7-4479-8CD6-C735F8E632B8}" type="sibTrans" cxnId="{93CFC377-3AA6-4D23-A488-693DDF99EBE2}">
      <dgm:prSet/>
      <dgm:spPr/>
      <dgm:t>
        <a:bodyPr/>
        <a:lstStyle/>
        <a:p>
          <a:endParaRPr lang="ru-RU"/>
        </a:p>
      </dgm:t>
    </dgm:pt>
    <dgm:pt modelId="{1710C02A-BD6E-466A-8668-E8FA50AC2296}">
      <dgm:prSet phldrT="[Текст]"/>
      <dgm:spPr>
        <a:xfrm>
          <a:off x="4266776" y="1118510"/>
          <a:ext cx="1572938" cy="786469"/>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a:ea typeface="+mn-ea"/>
              <a:cs typeface="+mn-cs"/>
            </a:rPr>
            <a:t>HER2/CEP17</a:t>
          </a:r>
          <a:r>
            <a:rPr lang="ru-RU" dirty="0">
              <a:solidFill>
                <a:sysClr val="window" lastClr="FFFFFF"/>
              </a:solidFill>
              <a:latin typeface="Calibri"/>
              <a:ea typeface="+mn-ea"/>
              <a:cs typeface="+mn-cs"/>
            </a:rPr>
            <a:t>:</a:t>
          </a:r>
          <a:r>
            <a:rPr lang="en-US" dirty="0">
              <a:solidFill>
                <a:sysClr val="window" lastClr="FFFFFF"/>
              </a:solidFill>
              <a:latin typeface="Calibri"/>
              <a:ea typeface="+mn-ea"/>
              <a:cs typeface="+mn-cs"/>
            </a:rPr>
            <a:t> &lt;2</a:t>
          </a:r>
          <a:br>
            <a:rPr lang="en-US" dirty="0">
              <a:solidFill>
                <a:sysClr val="window" lastClr="FFFFFF"/>
              </a:solidFill>
              <a:latin typeface="Calibri"/>
              <a:ea typeface="+mn-ea"/>
              <a:cs typeface="+mn-cs"/>
            </a:rPr>
          </a:br>
          <a:r>
            <a:rPr lang="en-US" dirty="0">
              <a:solidFill>
                <a:sysClr val="window" lastClr="FFFFFF"/>
              </a:solidFill>
              <a:latin typeface="Calibri"/>
              <a:ea typeface="+mn-ea"/>
              <a:cs typeface="+mn-cs"/>
            </a:rPr>
            <a:t>HER2 4-6</a:t>
          </a:r>
          <a:endParaRPr lang="ru-RU" dirty="0">
            <a:solidFill>
              <a:sysClr val="window" lastClr="FFFFFF"/>
            </a:solidFill>
            <a:latin typeface="Calibri"/>
            <a:ea typeface="+mn-ea"/>
            <a:cs typeface="+mn-cs"/>
          </a:endParaRPr>
        </a:p>
      </dgm:t>
    </dgm:pt>
    <dgm:pt modelId="{9AF47B14-D5FE-44CE-82A3-AFD5B61B345F}" type="parTrans" cxnId="{C4BB53E4-2C1C-4B47-B7B5-FD148ABF8FF5}">
      <dgm:prSet/>
      <dgm:spPr>
        <a:xfrm>
          <a:off x="4101617" y="788193"/>
          <a:ext cx="951628" cy="330317"/>
        </a:xfrm>
        <a:custGeom>
          <a:avLst/>
          <a:gdLst/>
          <a:ahLst/>
          <a:cxnLst/>
          <a:rect l="0" t="0" r="0" b="0"/>
          <a:pathLst>
            <a:path>
              <a:moveTo>
                <a:pt x="0" y="0"/>
              </a:moveTo>
              <a:lnTo>
                <a:pt x="0" y="165158"/>
              </a:lnTo>
              <a:lnTo>
                <a:pt x="951628" y="165158"/>
              </a:lnTo>
              <a:lnTo>
                <a:pt x="951628" y="330317"/>
              </a:lnTo>
            </a:path>
          </a:pathLst>
        </a:custGeom>
        <a:noFill/>
        <a:ln w="12700" cap="flat" cmpd="sng" algn="ctr">
          <a:solidFill>
            <a:srgbClr val="70AD47">
              <a:hueOff val="0"/>
              <a:satOff val="0"/>
              <a:lumOff val="0"/>
              <a:alphaOff val="0"/>
            </a:srgbClr>
          </a:solidFill>
          <a:prstDash val="solid"/>
          <a:miter lim="800000"/>
        </a:ln>
        <a:effectLst/>
      </dgm:spPr>
      <dgm:t>
        <a:bodyPr/>
        <a:lstStyle/>
        <a:p>
          <a:endParaRPr lang="ru-RU"/>
        </a:p>
      </dgm:t>
    </dgm:pt>
    <dgm:pt modelId="{AC39273C-91E4-43E0-B893-5E1D87F03726}" type="sibTrans" cxnId="{C4BB53E4-2C1C-4B47-B7B5-FD148ABF8FF5}">
      <dgm:prSet/>
      <dgm:spPr/>
      <dgm:t>
        <a:bodyPr/>
        <a:lstStyle/>
        <a:p>
          <a:endParaRPr lang="ru-RU"/>
        </a:p>
      </dgm:t>
    </dgm:pt>
    <dgm:pt modelId="{39222330-61AA-45C6-9C58-6D59B4A78D57}">
      <dgm:prSet phldrT="[Текст]"/>
      <dgm:spPr>
        <a:xfrm>
          <a:off x="6170032" y="1118510"/>
          <a:ext cx="1572938" cy="786469"/>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a:ea typeface="+mn-ea"/>
              <a:cs typeface="+mn-cs"/>
            </a:rPr>
            <a:t>HER2/CEP17</a:t>
          </a:r>
          <a:r>
            <a:rPr lang="ru-RU" dirty="0">
              <a:solidFill>
                <a:sysClr val="window" lastClr="FFFFFF"/>
              </a:solidFill>
              <a:latin typeface="Calibri"/>
              <a:ea typeface="+mn-ea"/>
              <a:cs typeface="+mn-cs"/>
            </a:rPr>
            <a:t>:</a:t>
          </a:r>
          <a:r>
            <a:rPr lang="en-US" dirty="0">
              <a:solidFill>
                <a:sysClr val="window" lastClr="FFFFFF"/>
              </a:solidFill>
              <a:latin typeface="Calibri"/>
              <a:ea typeface="+mn-ea"/>
              <a:cs typeface="+mn-cs"/>
            </a:rPr>
            <a:t> &lt;2</a:t>
          </a:r>
          <a:br>
            <a:rPr lang="en-US" dirty="0">
              <a:solidFill>
                <a:sysClr val="window" lastClr="FFFFFF"/>
              </a:solidFill>
              <a:latin typeface="Calibri"/>
              <a:ea typeface="+mn-ea"/>
              <a:cs typeface="+mn-cs"/>
            </a:rPr>
          </a:br>
          <a:r>
            <a:rPr lang="en-US" dirty="0">
              <a:solidFill>
                <a:sysClr val="window" lastClr="FFFFFF"/>
              </a:solidFill>
              <a:latin typeface="Calibri"/>
              <a:ea typeface="+mn-ea"/>
              <a:cs typeface="+mn-cs"/>
            </a:rPr>
            <a:t>HER2 &lt;4</a:t>
          </a:r>
          <a:endParaRPr lang="ru-RU" dirty="0">
            <a:solidFill>
              <a:sysClr val="window" lastClr="FFFFFF"/>
            </a:solidFill>
            <a:latin typeface="Calibri"/>
            <a:ea typeface="+mn-ea"/>
            <a:cs typeface="+mn-cs"/>
          </a:endParaRPr>
        </a:p>
      </dgm:t>
    </dgm:pt>
    <dgm:pt modelId="{E0E3B0C1-1373-4FC4-A340-0017CE88B301}" type="parTrans" cxnId="{A9C82AA8-234C-41B4-A1E2-FC0B7861DC8F}">
      <dgm:prSet/>
      <dgm:spPr>
        <a:xfrm>
          <a:off x="4101617" y="788193"/>
          <a:ext cx="2854884" cy="330317"/>
        </a:xfrm>
        <a:custGeom>
          <a:avLst/>
          <a:gdLst/>
          <a:ahLst/>
          <a:cxnLst/>
          <a:rect l="0" t="0" r="0" b="0"/>
          <a:pathLst>
            <a:path>
              <a:moveTo>
                <a:pt x="0" y="0"/>
              </a:moveTo>
              <a:lnTo>
                <a:pt x="0" y="165158"/>
              </a:lnTo>
              <a:lnTo>
                <a:pt x="2854884" y="165158"/>
              </a:lnTo>
              <a:lnTo>
                <a:pt x="2854884" y="330317"/>
              </a:lnTo>
            </a:path>
          </a:pathLst>
        </a:custGeom>
        <a:noFill/>
        <a:ln w="12700" cap="flat" cmpd="sng" algn="ctr">
          <a:solidFill>
            <a:srgbClr val="70AD47">
              <a:hueOff val="0"/>
              <a:satOff val="0"/>
              <a:lumOff val="0"/>
              <a:alphaOff val="0"/>
            </a:srgbClr>
          </a:solidFill>
          <a:prstDash val="solid"/>
          <a:miter lim="800000"/>
        </a:ln>
        <a:effectLst/>
      </dgm:spPr>
      <dgm:t>
        <a:bodyPr/>
        <a:lstStyle/>
        <a:p>
          <a:endParaRPr lang="ru-RU"/>
        </a:p>
      </dgm:t>
    </dgm:pt>
    <dgm:pt modelId="{05FB2AD4-1063-44C4-A07B-31668AFD81A5}" type="sibTrans" cxnId="{A9C82AA8-234C-41B4-A1E2-FC0B7861DC8F}">
      <dgm:prSet/>
      <dgm:spPr/>
      <dgm:t>
        <a:bodyPr/>
        <a:lstStyle/>
        <a:p>
          <a:endParaRPr lang="ru-RU"/>
        </a:p>
      </dgm:t>
    </dgm:pt>
    <dgm:pt modelId="{1CFECEBE-305E-49CE-BF8D-6FF78751979B}">
      <dgm:prSet phldrT="[Текст]"/>
      <dgm:spPr>
        <a:xfrm>
          <a:off x="1476681" y="2235297"/>
          <a:ext cx="1572938" cy="786469"/>
        </a:xfrm>
        <a:prstGeom prst="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ru-RU" dirty="0">
              <a:solidFill>
                <a:sysClr val="window" lastClr="FFFFFF"/>
              </a:solidFill>
              <a:latin typeface="Calibri"/>
              <a:ea typeface="+mn-ea"/>
              <a:cs typeface="+mn-cs"/>
            </a:rPr>
            <a:t>Позитивный</a:t>
          </a:r>
        </a:p>
      </dgm:t>
    </dgm:pt>
    <dgm:pt modelId="{85001420-BF2A-498D-81FF-0DEACB4BA51B}" type="parTrans" cxnId="{DF0F6AD0-9CE1-4052-AE8E-1BE65A55C2C1}">
      <dgm:prSet/>
      <dgm:spPr>
        <a:xfrm>
          <a:off x="617558" y="1904980"/>
          <a:ext cx="859123" cy="723551"/>
        </a:xfrm>
        <a:custGeom>
          <a:avLst/>
          <a:gdLst/>
          <a:ahLst/>
          <a:cxnLst/>
          <a:rect l="0" t="0" r="0" b="0"/>
          <a:pathLst>
            <a:path>
              <a:moveTo>
                <a:pt x="0" y="0"/>
              </a:moveTo>
              <a:lnTo>
                <a:pt x="0" y="723551"/>
              </a:lnTo>
              <a:lnTo>
                <a:pt x="859123" y="723551"/>
              </a:lnTo>
            </a:path>
          </a:pathLst>
        </a:custGeom>
        <a:noFill/>
        <a:ln w="12700" cap="flat" cmpd="sng" algn="ctr">
          <a:solidFill>
            <a:srgbClr val="4472C4">
              <a:hueOff val="0"/>
              <a:satOff val="0"/>
              <a:lumOff val="0"/>
              <a:alphaOff val="0"/>
            </a:srgbClr>
          </a:solidFill>
          <a:prstDash val="solid"/>
          <a:miter lim="800000"/>
        </a:ln>
        <a:effectLst/>
      </dgm:spPr>
      <dgm:t>
        <a:bodyPr/>
        <a:lstStyle/>
        <a:p>
          <a:endParaRPr lang="ru-RU"/>
        </a:p>
      </dgm:t>
    </dgm:pt>
    <dgm:pt modelId="{32761144-0955-4759-8732-449863DB4FC1}" type="sibTrans" cxnId="{DF0F6AD0-9CE1-4052-AE8E-1BE65A55C2C1}">
      <dgm:prSet/>
      <dgm:spPr/>
      <dgm:t>
        <a:bodyPr/>
        <a:lstStyle/>
        <a:p>
          <a:endParaRPr lang="ru-RU"/>
        </a:p>
      </dgm:t>
    </dgm:pt>
    <dgm:pt modelId="{84FFBB0A-7418-4DDB-B853-AA18F4192395}">
      <dgm:prSet phldrT="[Текст]"/>
      <dgm:spPr>
        <a:xfrm>
          <a:off x="6563267" y="2235297"/>
          <a:ext cx="1572938" cy="786469"/>
        </a:xfrm>
        <a:prstGeom prst="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ru-RU" dirty="0">
              <a:solidFill>
                <a:sysClr val="window" lastClr="FFFFFF"/>
              </a:solidFill>
              <a:latin typeface="Calibri"/>
              <a:ea typeface="+mn-ea"/>
              <a:cs typeface="+mn-cs"/>
            </a:rPr>
            <a:t>Негативный</a:t>
          </a:r>
        </a:p>
      </dgm:t>
    </dgm:pt>
    <dgm:pt modelId="{169C6687-375F-45E9-AFC8-DF898370EE7F}" type="parTrans" cxnId="{D76B2D19-FBA6-403F-B521-460076E6B22E}">
      <dgm:prSet/>
      <dgm:spPr>
        <a:xfrm>
          <a:off x="6327326" y="1904980"/>
          <a:ext cx="235940" cy="723551"/>
        </a:xfrm>
        <a:custGeom>
          <a:avLst/>
          <a:gdLst/>
          <a:ahLst/>
          <a:cxnLst/>
          <a:rect l="0" t="0" r="0" b="0"/>
          <a:pathLst>
            <a:path>
              <a:moveTo>
                <a:pt x="0" y="0"/>
              </a:moveTo>
              <a:lnTo>
                <a:pt x="0" y="723551"/>
              </a:lnTo>
              <a:lnTo>
                <a:pt x="235940" y="723551"/>
              </a:lnTo>
            </a:path>
          </a:pathLst>
        </a:custGeom>
        <a:noFill/>
        <a:ln w="12700" cap="flat" cmpd="sng" algn="ctr">
          <a:solidFill>
            <a:srgbClr val="4472C4">
              <a:hueOff val="0"/>
              <a:satOff val="0"/>
              <a:lumOff val="0"/>
              <a:alphaOff val="0"/>
            </a:srgbClr>
          </a:solidFill>
          <a:prstDash val="solid"/>
          <a:miter lim="800000"/>
        </a:ln>
        <a:effectLst/>
      </dgm:spPr>
      <dgm:t>
        <a:bodyPr/>
        <a:lstStyle/>
        <a:p>
          <a:endParaRPr lang="ru-RU"/>
        </a:p>
      </dgm:t>
    </dgm:pt>
    <dgm:pt modelId="{6792DA1F-8DF8-42E6-8BB4-3592A8B5803A}" type="sibTrans" cxnId="{D76B2D19-FBA6-403F-B521-460076E6B22E}">
      <dgm:prSet/>
      <dgm:spPr/>
      <dgm:t>
        <a:bodyPr/>
        <a:lstStyle/>
        <a:p>
          <a:endParaRPr lang="ru-RU"/>
        </a:p>
      </dgm:t>
    </dgm:pt>
    <dgm:pt modelId="{AE649592-9452-43EE-B01D-31B81C1ABA80}">
      <dgm:prSet phldrT="[Текст]"/>
      <dgm:spPr>
        <a:xfrm>
          <a:off x="4266776" y="2235297"/>
          <a:ext cx="1572938" cy="786469"/>
        </a:xfrm>
        <a:prstGeom prst="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ru-RU" dirty="0">
              <a:solidFill>
                <a:sysClr val="window" lastClr="FFFFFF"/>
              </a:solidFill>
              <a:latin typeface="Calibri"/>
              <a:ea typeface="+mn-ea"/>
              <a:cs typeface="+mn-cs"/>
            </a:rPr>
            <a:t>Неопределенный</a:t>
          </a:r>
        </a:p>
      </dgm:t>
    </dgm:pt>
    <dgm:pt modelId="{D09C1F7B-D062-44CA-812A-B2D4909FE7A1}" type="parTrans" cxnId="{8A34C69C-F969-429D-9CD3-14FAA7D7A0DE}">
      <dgm:prSet/>
      <dgm:spPr>
        <a:xfrm>
          <a:off x="5007525" y="1904980"/>
          <a:ext cx="91440" cy="330317"/>
        </a:xfrm>
        <a:custGeom>
          <a:avLst/>
          <a:gdLst/>
          <a:ahLst/>
          <a:cxnLst/>
          <a:rect l="0" t="0" r="0" b="0"/>
          <a:pathLst>
            <a:path>
              <a:moveTo>
                <a:pt x="45720" y="0"/>
              </a:moveTo>
              <a:lnTo>
                <a:pt x="45720" y="330317"/>
              </a:lnTo>
            </a:path>
          </a:pathLst>
        </a:custGeom>
        <a:noFill/>
        <a:ln w="12700" cap="flat" cmpd="sng" algn="ctr">
          <a:solidFill>
            <a:srgbClr val="4472C4">
              <a:hueOff val="0"/>
              <a:satOff val="0"/>
              <a:lumOff val="0"/>
              <a:alphaOff val="0"/>
            </a:srgbClr>
          </a:solidFill>
          <a:prstDash val="solid"/>
          <a:miter lim="800000"/>
        </a:ln>
        <a:effectLst/>
      </dgm:spPr>
      <dgm:t>
        <a:bodyPr/>
        <a:lstStyle/>
        <a:p>
          <a:endParaRPr lang="ru-RU"/>
        </a:p>
      </dgm:t>
    </dgm:pt>
    <dgm:pt modelId="{C5FF3DA1-A4C6-49DC-8BB7-462C10BF58C4}" type="sibTrans" cxnId="{8A34C69C-F969-429D-9CD3-14FAA7D7A0DE}">
      <dgm:prSet/>
      <dgm:spPr/>
      <dgm:t>
        <a:bodyPr/>
        <a:lstStyle/>
        <a:p>
          <a:endParaRPr lang="ru-RU"/>
        </a:p>
      </dgm:t>
    </dgm:pt>
    <dgm:pt modelId="{D90838B3-D029-48BF-AF79-F9C8ADF9F9B3}">
      <dgm:prSet phldrT="[Текст]"/>
      <dgm:spPr>
        <a:xfrm>
          <a:off x="3739149" y="3352084"/>
          <a:ext cx="2628192" cy="402113"/>
        </a:xfrm>
        <a:prstGeom prst="rect">
          <a:avLst/>
        </a:prstGeom>
        <a:solidFill>
          <a:schemeClr val="tx2"/>
        </a:solidFill>
        <a:ln w="12700" cap="flat" cmpd="sng" algn="ctr">
          <a:solidFill>
            <a:sysClr val="window" lastClr="FFFFFF">
              <a:hueOff val="0"/>
              <a:satOff val="0"/>
              <a:lumOff val="0"/>
              <a:alphaOff val="0"/>
            </a:sysClr>
          </a:solidFill>
          <a:prstDash val="solid"/>
          <a:miter lim="800000"/>
        </a:ln>
        <a:effectLst/>
      </dgm:spPr>
      <dgm:t>
        <a:bodyPr/>
        <a:lstStyle/>
        <a:p>
          <a:pPr>
            <a:buNone/>
          </a:pPr>
          <a:r>
            <a:rPr lang="ru-RU" dirty="0">
              <a:solidFill>
                <a:sysClr val="window" lastClr="FFFFFF"/>
              </a:solidFill>
              <a:latin typeface="Calibri"/>
              <a:ea typeface="+mn-ea"/>
              <a:cs typeface="+mn-cs"/>
            </a:rPr>
            <a:t>Добавить к подсчету 20 клеток</a:t>
          </a:r>
        </a:p>
      </dgm:t>
    </dgm:pt>
    <dgm:pt modelId="{2C966484-9F55-4698-877C-1889A779B6D8}" type="parTrans" cxnId="{5B284CEB-DD70-40A1-99F1-C1E15AB924B8}">
      <dgm:prSet/>
      <dgm:spPr>
        <a:xfrm>
          <a:off x="5007525" y="3021766"/>
          <a:ext cx="91440" cy="330317"/>
        </a:xfrm>
        <a:custGeom>
          <a:avLst/>
          <a:gdLst/>
          <a:ahLst/>
          <a:cxnLst/>
          <a:rect l="0" t="0" r="0" b="0"/>
          <a:pathLst>
            <a:path>
              <a:moveTo>
                <a:pt x="45720" y="0"/>
              </a:moveTo>
              <a:lnTo>
                <a:pt x="45720" y="330317"/>
              </a:lnTo>
            </a:path>
          </a:pathLst>
        </a:custGeom>
        <a:noFill/>
        <a:ln w="12700" cap="flat" cmpd="sng" algn="ctr">
          <a:solidFill>
            <a:srgbClr val="ED7D31">
              <a:hueOff val="0"/>
              <a:satOff val="0"/>
              <a:lumOff val="0"/>
              <a:alphaOff val="0"/>
            </a:srgbClr>
          </a:solidFill>
          <a:prstDash val="solid"/>
          <a:miter lim="800000"/>
        </a:ln>
        <a:effectLst/>
      </dgm:spPr>
      <dgm:t>
        <a:bodyPr/>
        <a:lstStyle/>
        <a:p>
          <a:endParaRPr lang="ru-RU"/>
        </a:p>
      </dgm:t>
    </dgm:pt>
    <dgm:pt modelId="{64DE9252-B18E-4CDA-B6EB-33823B37F547}" type="sibTrans" cxnId="{5B284CEB-DD70-40A1-99F1-C1E15AB924B8}">
      <dgm:prSet/>
      <dgm:spPr/>
      <dgm:t>
        <a:bodyPr/>
        <a:lstStyle/>
        <a:p>
          <a:endParaRPr lang="ru-RU"/>
        </a:p>
      </dgm:t>
    </dgm:pt>
    <dgm:pt modelId="{10775E84-6DB5-4C21-BDFF-9A7DCB6EF2B2}">
      <dgm:prSet phldrT="[Текст]"/>
      <dgm:spPr>
        <a:xfrm>
          <a:off x="4396197" y="4084515"/>
          <a:ext cx="5937687" cy="786469"/>
        </a:xfrm>
        <a:prstGeom prst="rect">
          <a:avLst/>
        </a:prstGeom>
        <a:solidFill>
          <a:schemeClr val="tx2"/>
        </a:solidFill>
        <a:ln w="12700" cap="flat" cmpd="sng" algn="ctr">
          <a:solidFill>
            <a:sysClr val="window" lastClr="FFFFFF">
              <a:hueOff val="0"/>
              <a:satOff val="0"/>
              <a:lumOff val="0"/>
              <a:alphaOff val="0"/>
            </a:sysClr>
          </a:solidFill>
          <a:prstDash val="solid"/>
          <a:miter lim="800000"/>
        </a:ln>
        <a:effectLst/>
      </dgm:spPr>
      <dgm:t>
        <a:bodyPr/>
        <a:lstStyle/>
        <a:p>
          <a:pPr>
            <a:buFont typeface="Arial" panose="020B0604020202020204" pitchFamily="34" charset="0"/>
            <a:buNone/>
          </a:pPr>
          <a:r>
            <a:rPr lang="ru-RU" dirty="0">
              <a:solidFill>
                <a:sysClr val="window" lastClr="FFFFFF"/>
              </a:solidFill>
              <a:latin typeface="Calibri"/>
              <a:ea typeface="+mn-ea"/>
              <a:cs typeface="+mn-cs"/>
            </a:rPr>
            <a:t>- Привлечь второго специалиста</a:t>
          </a:r>
          <a:br>
            <a:rPr lang="ru-RU" dirty="0">
              <a:solidFill>
                <a:sysClr val="window" lastClr="FFFFFF"/>
              </a:solidFill>
              <a:latin typeface="Calibri"/>
              <a:ea typeface="+mn-ea"/>
              <a:cs typeface="+mn-cs"/>
            </a:rPr>
          </a:br>
          <a:r>
            <a:rPr lang="ru-RU" dirty="0">
              <a:solidFill>
                <a:sysClr val="window" lastClr="FFFFFF"/>
              </a:solidFill>
              <a:latin typeface="Calibri"/>
              <a:ea typeface="+mn-ea"/>
              <a:cs typeface="+mn-cs"/>
            </a:rPr>
            <a:t>- Повторить исследование, по возможности, на другом блоке</a:t>
          </a:r>
        </a:p>
      </dgm:t>
    </dgm:pt>
    <dgm:pt modelId="{D5BB2D84-3AEC-45D2-AEC2-B39E7E950728}" type="parTrans" cxnId="{2CC2562C-5420-4138-9B65-948134201CAB}">
      <dgm:prSet/>
      <dgm:spPr>
        <a:xfrm>
          <a:off x="4001968" y="3754198"/>
          <a:ext cx="394228" cy="723551"/>
        </a:xfrm>
        <a:custGeom>
          <a:avLst/>
          <a:gdLst/>
          <a:ahLst/>
          <a:cxnLst/>
          <a:rect l="0" t="0" r="0" b="0"/>
          <a:pathLst>
            <a:path>
              <a:moveTo>
                <a:pt x="0" y="0"/>
              </a:moveTo>
              <a:lnTo>
                <a:pt x="0" y="723551"/>
              </a:lnTo>
              <a:lnTo>
                <a:pt x="394228" y="723551"/>
              </a:lnTo>
            </a:path>
          </a:pathLst>
        </a:custGeom>
        <a:noFill/>
        <a:ln w="12700" cap="flat" cmpd="sng" algn="ctr">
          <a:solidFill>
            <a:srgbClr val="ED7D31">
              <a:hueOff val="0"/>
              <a:satOff val="0"/>
              <a:lumOff val="0"/>
              <a:alphaOff val="0"/>
            </a:srgbClr>
          </a:solidFill>
          <a:prstDash val="solid"/>
          <a:miter lim="800000"/>
        </a:ln>
        <a:effectLst/>
      </dgm:spPr>
      <dgm:t>
        <a:bodyPr/>
        <a:lstStyle/>
        <a:p>
          <a:endParaRPr lang="ru-RU"/>
        </a:p>
      </dgm:t>
    </dgm:pt>
    <dgm:pt modelId="{7F03AF5A-6DC1-4C28-9662-DA4F00656421}" type="sibTrans" cxnId="{2CC2562C-5420-4138-9B65-948134201CAB}">
      <dgm:prSet/>
      <dgm:spPr/>
      <dgm:t>
        <a:bodyPr/>
        <a:lstStyle/>
        <a:p>
          <a:endParaRPr lang="ru-RU"/>
        </a:p>
      </dgm:t>
    </dgm:pt>
    <dgm:pt modelId="{7A4C909F-907A-4A6F-A157-616FAA6A8092}" type="pres">
      <dgm:prSet presAssocID="{78DAF342-15D2-4D77-B533-BFAF9286E0DE}" presName="hierChild1" presStyleCnt="0">
        <dgm:presLayoutVars>
          <dgm:orgChart val="1"/>
          <dgm:chPref val="1"/>
          <dgm:dir/>
          <dgm:animOne val="branch"/>
          <dgm:animLvl val="lvl"/>
          <dgm:resizeHandles/>
        </dgm:presLayoutVars>
      </dgm:prSet>
      <dgm:spPr/>
      <dgm:t>
        <a:bodyPr/>
        <a:lstStyle/>
        <a:p>
          <a:endParaRPr lang="ru-RU"/>
        </a:p>
      </dgm:t>
    </dgm:pt>
    <dgm:pt modelId="{E57AD496-58D8-4D34-9CA1-CE2B7AEA2C4D}" type="pres">
      <dgm:prSet presAssocID="{277E5998-A0F2-46AC-9DD5-CEC6CC0D2DE7}" presName="hierRoot1" presStyleCnt="0">
        <dgm:presLayoutVars>
          <dgm:hierBranch val="init"/>
        </dgm:presLayoutVars>
      </dgm:prSet>
      <dgm:spPr/>
    </dgm:pt>
    <dgm:pt modelId="{AE0CAD51-9FC2-4BFA-B4FC-70E61058B1C8}" type="pres">
      <dgm:prSet presAssocID="{277E5998-A0F2-46AC-9DD5-CEC6CC0D2DE7}" presName="rootComposite1" presStyleCnt="0"/>
      <dgm:spPr/>
    </dgm:pt>
    <dgm:pt modelId="{CB8B70A5-6618-442D-9174-84F7EC0109B2}" type="pres">
      <dgm:prSet presAssocID="{277E5998-A0F2-46AC-9DD5-CEC6CC0D2DE7}" presName="rootText1" presStyleLbl="node0" presStyleIdx="0" presStyleCnt="1" custScaleX="235172">
        <dgm:presLayoutVars>
          <dgm:chPref val="3"/>
        </dgm:presLayoutVars>
      </dgm:prSet>
      <dgm:spPr/>
      <dgm:t>
        <a:bodyPr/>
        <a:lstStyle/>
        <a:p>
          <a:endParaRPr lang="ru-RU"/>
        </a:p>
      </dgm:t>
    </dgm:pt>
    <dgm:pt modelId="{84FC800B-A126-48D8-A43D-5F44C82C0F91}" type="pres">
      <dgm:prSet presAssocID="{277E5998-A0F2-46AC-9DD5-CEC6CC0D2DE7}" presName="rootConnector1" presStyleLbl="node1" presStyleIdx="0" presStyleCnt="0"/>
      <dgm:spPr/>
      <dgm:t>
        <a:bodyPr/>
        <a:lstStyle/>
        <a:p>
          <a:endParaRPr lang="ru-RU"/>
        </a:p>
      </dgm:t>
    </dgm:pt>
    <dgm:pt modelId="{D080F418-D401-4551-994B-607040B10247}" type="pres">
      <dgm:prSet presAssocID="{277E5998-A0F2-46AC-9DD5-CEC6CC0D2DE7}" presName="hierChild2" presStyleCnt="0"/>
      <dgm:spPr/>
    </dgm:pt>
    <dgm:pt modelId="{6533E4F6-5FD5-4C72-AF67-F4507ED658B0}" type="pres">
      <dgm:prSet presAssocID="{441BAC58-57AD-4AD2-BBC3-A46B1597204F}" presName="Name37" presStyleLbl="parChTrans1D2" presStyleIdx="0" presStyleCnt="4"/>
      <dgm:spPr/>
      <dgm:t>
        <a:bodyPr/>
        <a:lstStyle/>
        <a:p>
          <a:endParaRPr lang="ru-RU"/>
        </a:p>
      </dgm:t>
    </dgm:pt>
    <dgm:pt modelId="{6078430A-E6C9-4614-A6C5-091A96D56BAC}" type="pres">
      <dgm:prSet presAssocID="{31754E69-293B-4F4F-BDB2-32192043C38C}" presName="hierRoot2" presStyleCnt="0">
        <dgm:presLayoutVars>
          <dgm:hierBranch val="init"/>
        </dgm:presLayoutVars>
      </dgm:prSet>
      <dgm:spPr/>
    </dgm:pt>
    <dgm:pt modelId="{5FF29590-0919-49BA-84C6-BF4D0E05BDD7}" type="pres">
      <dgm:prSet presAssocID="{31754E69-293B-4F4F-BDB2-32192043C38C}" presName="rootComposite" presStyleCnt="0"/>
      <dgm:spPr/>
    </dgm:pt>
    <dgm:pt modelId="{20F67BC3-CDA9-40E8-909E-F18188CF9825}" type="pres">
      <dgm:prSet presAssocID="{31754E69-293B-4F4F-BDB2-32192043C38C}" presName="rootText" presStyleLbl="node2" presStyleIdx="0" presStyleCnt="4">
        <dgm:presLayoutVars>
          <dgm:chPref val="3"/>
        </dgm:presLayoutVars>
      </dgm:prSet>
      <dgm:spPr/>
      <dgm:t>
        <a:bodyPr/>
        <a:lstStyle/>
        <a:p>
          <a:endParaRPr lang="ru-RU"/>
        </a:p>
      </dgm:t>
    </dgm:pt>
    <dgm:pt modelId="{91711CD1-9DD1-4676-BADA-A81CD31FDAF2}" type="pres">
      <dgm:prSet presAssocID="{31754E69-293B-4F4F-BDB2-32192043C38C}" presName="rootConnector" presStyleLbl="node2" presStyleIdx="0" presStyleCnt="4"/>
      <dgm:spPr/>
      <dgm:t>
        <a:bodyPr/>
        <a:lstStyle/>
        <a:p>
          <a:endParaRPr lang="ru-RU"/>
        </a:p>
      </dgm:t>
    </dgm:pt>
    <dgm:pt modelId="{AFEB6845-5C0B-4A0E-9654-A99E59998CC2}" type="pres">
      <dgm:prSet presAssocID="{31754E69-293B-4F4F-BDB2-32192043C38C}" presName="hierChild4" presStyleCnt="0"/>
      <dgm:spPr/>
    </dgm:pt>
    <dgm:pt modelId="{9738B144-FEA9-465F-9539-E40CAA184263}" type="pres">
      <dgm:prSet presAssocID="{85001420-BF2A-498D-81FF-0DEACB4BA51B}" presName="Name37" presStyleLbl="parChTrans1D3" presStyleIdx="0" presStyleCnt="3"/>
      <dgm:spPr/>
      <dgm:t>
        <a:bodyPr/>
        <a:lstStyle/>
        <a:p>
          <a:endParaRPr lang="ru-RU"/>
        </a:p>
      </dgm:t>
    </dgm:pt>
    <dgm:pt modelId="{92A856F1-6731-4ADC-A2D7-3B851D68F090}" type="pres">
      <dgm:prSet presAssocID="{1CFECEBE-305E-49CE-BF8D-6FF78751979B}" presName="hierRoot2" presStyleCnt="0">
        <dgm:presLayoutVars>
          <dgm:hierBranch val="init"/>
        </dgm:presLayoutVars>
      </dgm:prSet>
      <dgm:spPr/>
    </dgm:pt>
    <dgm:pt modelId="{465C542B-F290-40E9-B069-96C683AE2D91}" type="pres">
      <dgm:prSet presAssocID="{1CFECEBE-305E-49CE-BF8D-6FF78751979B}" presName="rootComposite" presStyleCnt="0"/>
      <dgm:spPr/>
    </dgm:pt>
    <dgm:pt modelId="{CEBE01A2-B80A-4BD1-8BF5-AD9AFDD9F18A}" type="pres">
      <dgm:prSet presAssocID="{1CFECEBE-305E-49CE-BF8D-6FF78751979B}" presName="rootText" presStyleLbl="node3" presStyleIdx="0" presStyleCnt="3" custLinFactNeighborX="39619">
        <dgm:presLayoutVars>
          <dgm:chPref val="3"/>
        </dgm:presLayoutVars>
      </dgm:prSet>
      <dgm:spPr/>
      <dgm:t>
        <a:bodyPr/>
        <a:lstStyle/>
        <a:p>
          <a:endParaRPr lang="ru-RU"/>
        </a:p>
      </dgm:t>
    </dgm:pt>
    <dgm:pt modelId="{B7BEB63D-8CF9-4267-ADAF-4CE708CF88E0}" type="pres">
      <dgm:prSet presAssocID="{1CFECEBE-305E-49CE-BF8D-6FF78751979B}" presName="rootConnector" presStyleLbl="node3" presStyleIdx="0" presStyleCnt="3"/>
      <dgm:spPr/>
      <dgm:t>
        <a:bodyPr/>
        <a:lstStyle/>
        <a:p>
          <a:endParaRPr lang="ru-RU"/>
        </a:p>
      </dgm:t>
    </dgm:pt>
    <dgm:pt modelId="{0DD478DD-B0BC-4DD8-B1E8-9D0735E78275}" type="pres">
      <dgm:prSet presAssocID="{1CFECEBE-305E-49CE-BF8D-6FF78751979B}" presName="hierChild4" presStyleCnt="0"/>
      <dgm:spPr/>
    </dgm:pt>
    <dgm:pt modelId="{72E3673D-8439-47E7-A157-5C9296BEFE49}" type="pres">
      <dgm:prSet presAssocID="{1CFECEBE-305E-49CE-BF8D-6FF78751979B}" presName="hierChild5" presStyleCnt="0"/>
      <dgm:spPr/>
    </dgm:pt>
    <dgm:pt modelId="{188E8B02-5F9E-44C1-8EE8-7760F56409C0}" type="pres">
      <dgm:prSet presAssocID="{31754E69-293B-4F4F-BDB2-32192043C38C}" presName="hierChild5" presStyleCnt="0"/>
      <dgm:spPr/>
    </dgm:pt>
    <dgm:pt modelId="{C909BF0F-84EE-4015-A336-DBF16951F86D}" type="pres">
      <dgm:prSet presAssocID="{4566B2D1-5A2E-49AF-B91F-5335CD5BCC89}" presName="Name37" presStyleLbl="parChTrans1D2" presStyleIdx="1" presStyleCnt="4"/>
      <dgm:spPr/>
      <dgm:t>
        <a:bodyPr/>
        <a:lstStyle/>
        <a:p>
          <a:endParaRPr lang="ru-RU"/>
        </a:p>
      </dgm:t>
    </dgm:pt>
    <dgm:pt modelId="{E636B07C-05DE-4383-A0C4-C231460D0854}" type="pres">
      <dgm:prSet presAssocID="{80F808A8-24B0-4009-A497-C366919DBD89}" presName="hierRoot2" presStyleCnt="0">
        <dgm:presLayoutVars>
          <dgm:hierBranch val="init"/>
        </dgm:presLayoutVars>
      </dgm:prSet>
      <dgm:spPr/>
    </dgm:pt>
    <dgm:pt modelId="{A03ACBD5-D87A-4CCD-B0C4-A36887EA72E9}" type="pres">
      <dgm:prSet presAssocID="{80F808A8-24B0-4009-A497-C366919DBD89}" presName="rootComposite" presStyleCnt="0"/>
      <dgm:spPr/>
    </dgm:pt>
    <dgm:pt modelId="{BBCEA591-FD71-423A-9F2D-EB7FFCA81512}" type="pres">
      <dgm:prSet presAssocID="{80F808A8-24B0-4009-A497-C366919DBD89}" presName="rootText" presStyleLbl="node2" presStyleIdx="1" presStyleCnt="4">
        <dgm:presLayoutVars>
          <dgm:chPref val="3"/>
        </dgm:presLayoutVars>
      </dgm:prSet>
      <dgm:spPr/>
      <dgm:t>
        <a:bodyPr/>
        <a:lstStyle/>
        <a:p>
          <a:endParaRPr lang="ru-RU"/>
        </a:p>
      </dgm:t>
    </dgm:pt>
    <dgm:pt modelId="{DAA2093C-2736-4E8D-8F3D-0432019B4F07}" type="pres">
      <dgm:prSet presAssocID="{80F808A8-24B0-4009-A497-C366919DBD89}" presName="rootConnector" presStyleLbl="node2" presStyleIdx="1" presStyleCnt="4"/>
      <dgm:spPr/>
      <dgm:t>
        <a:bodyPr/>
        <a:lstStyle/>
        <a:p>
          <a:endParaRPr lang="ru-RU"/>
        </a:p>
      </dgm:t>
    </dgm:pt>
    <dgm:pt modelId="{6AE20039-63F6-4316-BEF9-CC283ABF30F7}" type="pres">
      <dgm:prSet presAssocID="{80F808A8-24B0-4009-A497-C366919DBD89}" presName="hierChild4" presStyleCnt="0"/>
      <dgm:spPr/>
    </dgm:pt>
    <dgm:pt modelId="{8018EA11-FAC5-4823-933D-53A465982C90}" type="pres">
      <dgm:prSet presAssocID="{80F808A8-24B0-4009-A497-C366919DBD89}" presName="hierChild5" presStyleCnt="0"/>
      <dgm:spPr/>
    </dgm:pt>
    <dgm:pt modelId="{16118DCE-5BBB-4FC1-9AD8-6AE5AE0BA1C5}" type="pres">
      <dgm:prSet presAssocID="{9AF47B14-D5FE-44CE-82A3-AFD5B61B345F}" presName="Name37" presStyleLbl="parChTrans1D2" presStyleIdx="2" presStyleCnt="4"/>
      <dgm:spPr/>
      <dgm:t>
        <a:bodyPr/>
        <a:lstStyle/>
        <a:p>
          <a:endParaRPr lang="ru-RU"/>
        </a:p>
      </dgm:t>
    </dgm:pt>
    <dgm:pt modelId="{950DC485-92B6-42C5-8CE6-412B656507A9}" type="pres">
      <dgm:prSet presAssocID="{1710C02A-BD6E-466A-8668-E8FA50AC2296}" presName="hierRoot2" presStyleCnt="0">
        <dgm:presLayoutVars>
          <dgm:hierBranch val="init"/>
        </dgm:presLayoutVars>
      </dgm:prSet>
      <dgm:spPr/>
    </dgm:pt>
    <dgm:pt modelId="{C9A72489-A1DF-43EB-850B-90A826456D93}" type="pres">
      <dgm:prSet presAssocID="{1710C02A-BD6E-466A-8668-E8FA50AC2296}" presName="rootComposite" presStyleCnt="0"/>
      <dgm:spPr/>
    </dgm:pt>
    <dgm:pt modelId="{4AB099A5-AB15-4F45-BC4B-5C812D123F69}" type="pres">
      <dgm:prSet presAssocID="{1710C02A-BD6E-466A-8668-E8FA50AC2296}" presName="rootText" presStyleLbl="node2" presStyleIdx="2" presStyleCnt="4">
        <dgm:presLayoutVars>
          <dgm:chPref val="3"/>
        </dgm:presLayoutVars>
      </dgm:prSet>
      <dgm:spPr/>
      <dgm:t>
        <a:bodyPr/>
        <a:lstStyle/>
        <a:p>
          <a:endParaRPr lang="ru-RU"/>
        </a:p>
      </dgm:t>
    </dgm:pt>
    <dgm:pt modelId="{7A6FB077-11A8-4954-9D46-20F805797D25}" type="pres">
      <dgm:prSet presAssocID="{1710C02A-BD6E-466A-8668-E8FA50AC2296}" presName="rootConnector" presStyleLbl="node2" presStyleIdx="2" presStyleCnt="4"/>
      <dgm:spPr/>
      <dgm:t>
        <a:bodyPr/>
        <a:lstStyle/>
        <a:p>
          <a:endParaRPr lang="ru-RU"/>
        </a:p>
      </dgm:t>
    </dgm:pt>
    <dgm:pt modelId="{B1FCCEB7-912E-46B7-A23C-CAFA4778167E}" type="pres">
      <dgm:prSet presAssocID="{1710C02A-BD6E-466A-8668-E8FA50AC2296}" presName="hierChild4" presStyleCnt="0"/>
      <dgm:spPr/>
    </dgm:pt>
    <dgm:pt modelId="{220E4981-1A46-4324-9783-F79C1BEB28A4}" type="pres">
      <dgm:prSet presAssocID="{D09C1F7B-D062-44CA-812A-B2D4909FE7A1}" presName="Name37" presStyleLbl="parChTrans1D3" presStyleIdx="1" presStyleCnt="3"/>
      <dgm:spPr/>
      <dgm:t>
        <a:bodyPr/>
        <a:lstStyle/>
        <a:p>
          <a:endParaRPr lang="ru-RU"/>
        </a:p>
      </dgm:t>
    </dgm:pt>
    <dgm:pt modelId="{87A368C0-65DC-4CE8-B5B6-527E098D1DD2}" type="pres">
      <dgm:prSet presAssocID="{AE649592-9452-43EE-B01D-31B81C1ABA80}" presName="hierRoot2" presStyleCnt="0">
        <dgm:presLayoutVars>
          <dgm:hierBranch val="init"/>
        </dgm:presLayoutVars>
      </dgm:prSet>
      <dgm:spPr/>
    </dgm:pt>
    <dgm:pt modelId="{7E5AC5AD-1D55-4311-8FEB-2D49BAED3DC4}" type="pres">
      <dgm:prSet presAssocID="{AE649592-9452-43EE-B01D-31B81C1ABA80}" presName="rootComposite" presStyleCnt="0"/>
      <dgm:spPr/>
    </dgm:pt>
    <dgm:pt modelId="{3C9F7C71-5627-417B-890D-92E1C604B535}" type="pres">
      <dgm:prSet presAssocID="{AE649592-9452-43EE-B01D-31B81C1ABA80}" presName="rootText" presStyleLbl="node3" presStyleIdx="1" presStyleCnt="3">
        <dgm:presLayoutVars>
          <dgm:chPref val="3"/>
        </dgm:presLayoutVars>
      </dgm:prSet>
      <dgm:spPr/>
      <dgm:t>
        <a:bodyPr/>
        <a:lstStyle/>
        <a:p>
          <a:endParaRPr lang="ru-RU"/>
        </a:p>
      </dgm:t>
    </dgm:pt>
    <dgm:pt modelId="{440F2A72-D2EC-4BEC-AC2B-39E6A16B0CA8}" type="pres">
      <dgm:prSet presAssocID="{AE649592-9452-43EE-B01D-31B81C1ABA80}" presName="rootConnector" presStyleLbl="node3" presStyleIdx="1" presStyleCnt="3"/>
      <dgm:spPr/>
      <dgm:t>
        <a:bodyPr/>
        <a:lstStyle/>
        <a:p>
          <a:endParaRPr lang="ru-RU"/>
        </a:p>
      </dgm:t>
    </dgm:pt>
    <dgm:pt modelId="{A62B36C4-2E5B-423B-941E-7D9247F6ED0A}" type="pres">
      <dgm:prSet presAssocID="{AE649592-9452-43EE-B01D-31B81C1ABA80}" presName="hierChild4" presStyleCnt="0"/>
      <dgm:spPr/>
    </dgm:pt>
    <dgm:pt modelId="{AA76BC45-A5FF-478B-8BEF-F377FDC0E76F}" type="pres">
      <dgm:prSet presAssocID="{2C966484-9F55-4698-877C-1889A779B6D8}" presName="Name37" presStyleLbl="parChTrans1D4" presStyleIdx="0" presStyleCnt="2"/>
      <dgm:spPr/>
      <dgm:t>
        <a:bodyPr/>
        <a:lstStyle/>
        <a:p>
          <a:endParaRPr lang="ru-RU"/>
        </a:p>
      </dgm:t>
    </dgm:pt>
    <dgm:pt modelId="{7A86D1C5-CBD9-425D-8D90-501FC1BCF19C}" type="pres">
      <dgm:prSet presAssocID="{D90838B3-D029-48BF-AF79-F9C8ADF9F9B3}" presName="hierRoot2" presStyleCnt="0">
        <dgm:presLayoutVars>
          <dgm:hierBranch val="init"/>
        </dgm:presLayoutVars>
      </dgm:prSet>
      <dgm:spPr/>
    </dgm:pt>
    <dgm:pt modelId="{FD8002E9-8B04-496B-B3E3-8BC160413113}" type="pres">
      <dgm:prSet presAssocID="{D90838B3-D029-48BF-AF79-F9C8ADF9F9B3}" presName="rootComposite" presStyleCnt="0"/>
      <dgm:spPr/>
    </dgm:pt>
    <dgm:pt modelId="{487704DD-5C2E-453F-A2A6-AE692328716D}" type="pres">
      <dgm:prSet presAssocID="{D90838B3-D029-48BF-AF79-F9C8ADF9F9B3}" presName="rootText" presStyleLbl="node4" presStyleIdx="0" presStyleCnt="2" custScaleX="237367" custScaleY="51129">
        <dgm:presLayoutVars>
          <dgm:chPref val="3"/>
        </dgm:presLayoutVars>
      </dgm:prSet>
      <dgm:spPr/>
      <dgm:t>
        <a:bodyPr/>
        <a:lstStyle/>
        <a:p>
          <a:endParaRPr lang="ru-RU"/>
        </a:p>
      </dgm:t>
    </dgm:pt>
    <dgm:pt modelId="{0745E4BD-62E3-4D30-8A8B-C676B4A6C54E}" type="pres">
      <dgm:prSet presAssocID="{D90838B3-D029-48BF-AF79-F9C8ADF9F9B3}" presName="rootConnector" presStyleLbl="node4" presStyleIdx="0" presStyleCnt="2"/>
      <dgm:spPr/>
      <dgm:t>
        <a:bodyPr/>
        <a:lstStyle/>
        <a:p>
          <a:endParaRPr lang="ru-RU"/>
        </a:p>
      </dgm:t>
    </dgm:pt>
    <dgm:pt modelId="{B3E7C9FD-79CC-454B-8BAE-A28183A327D9}" type="pres">
      <dgm:prSet presAssocID="{D90838B3-D029-48BF-AF79-F9C8ADF9F9B3}" presName="hierChild4" presStyleCnt="0"/>
      <dgm:spPr/>
    </dgm:pt>
    <dgm:pt modelId="{22D94DD4-3E25-46C5-B60B-68948E5F9266}" type="pres">
      <dgm:prSet presAssocID="{D5BB2D84-3AEC-45D2-AEC2-B39E7E950728}" presName="Name37" presStyleLbl="parChTrans1D4" presStyleIdx="1" presStyleCnt="2"/>
      <dgm:spPr/>
      <dgm:t>
        <a:bodyPr/>
        <a:lstStyle/>
        <a:p>
          <a:endParaRPr lang="ru-RU"/>
        </a:p>
      </dgm:t>
    </dgm:pt>
    <dgm:pt modelId="{4AAFE422-2BC2-4884-B949-6664E1CEBCAA}" type="pres">
      <dgm:prSet presAssocID="{10775E84-6DB5-4C21-BDFF-9A7DCB6EF2B2}" presName="hierRoot2" presStyleCnt="0">
        <dgm:presLayoutVars>
          <dgm:hierBranch val="init"/>
        </dgm:presLayoutVars>
      </dgm:prSet>
      <dgm:spPr/>
    </dgm:pt>
    <dgm:pt modelId="{40B465A2-536E-4331-AA98-0E052FF38C97}" type="pres">
      <dgm:prSet presAssocID="{10775E84-6DB5-4C21-BDFF-9A7DCB6EF2B2}" presName="rootComposite" presStyleCnt="0"/>
      <dgm:spPr/>
    </dgm:pt>
    <dgm:pt modelId="{3B836E98-F202-4FC3-855B-D460A6863F17}" type="pres">
      <dgm:prSet presAssocID="{10775E84-6DB5-4C21-BDFF-9A7DCB6EF2B2}" presName="rootText" presStyleLbl="node4" presStyleIdx="1" presStyleCnt="2" custScaleX="377490">
        <dgm:presLayoutVars>
          <dgm:chPref val="3"/>
        </dgm:presLayoutVars>
      </dgm:prSet>
      <dgm:spPr/>
      <dgm:t>
        <a:bodyPr/>
        <a:lstStyle/>
        <a:p>
          <a:endParaRPr lang="ru-RU"/>
        </a:p>
      </dgm:t>
    </dgm:pt>
    <dgm:pt modelId="{CF8CC46E-5287-45F9-9CBA-9DC76C5F49FD}" type="pres">
      <dgm:prSet presAssocID="{10775E84-6DB5-4C21-BDFF-9A7DCB6EF2B2}" presName="rootConnector" presStyleLbl="node4" presStyleIdx="1" presStyleCnt="2"/>
      <dgm:spPr/>
      <dgm:t>
        <a:bodyPr/>
        <a:lstStyle/>
        <a:p>
          <a:endParaRPr lang="ru-RU"/>
        </a:p>
      </dgm:t>
    </dgm:pt>
    <dgm:pt modelId="{984B70C0-30AA-4809-AB64-83E33F25966F}" type="pres">
      <dgm:prSet presAssocID="{10775E84-6DB5-4C21-BDFF-9A7DCB6EF2B2}" presName="hierChild4" presStyleCnt="0"/>
      <dgm:spPr/>
    </dgm:pt>
    <dgm:pt modelId="{7B1A3F26-E3A3-4C55-A5AE-5528B053A2F9}" type="pres">
      <dgm:prSet presAssocID="{10775E84-6DB5-4C21-BDFF-9A7DCB6EF2B2}" presName="hierChild5" presStyleCnt="0"/>
      <dgm:spPr/>
    </dgm:pt>
    <dgm:pt modelId="{98C7023F-31F8-402D-BA3A-C3CF3A85550C}" type="pres">
      <dgm:prSet presAssocID="{D90838B3-D029-48BF-AF79-F9C8ADF9F9B3}" presName="hierChild5" presStyleCnt="0"/>
      <dgm:spPr/>
    </dgm:pt>
    <dgm:pt modelId="{067C142A-61F1-47DE-A567-5145F6B16266}" type="pres">
      <dgm:prSet presAssocID="{AE649592-9452-43EE-B01D-31B81C1ABA80}" presName="hierChild5" presStyleCnt="0"/>
      <dgm:spPr/>
    </dgm:pt>
    <dgm:pt modelId="{006E1613-A3E0-48C7-A127-C2218702F797}" type="pres">
      <dgm:prSet presAssocID="{1710C02A-BD6E-466A-8668-E8FA50AC2296}" presName="hierChild5" presStyleCnt="0"/>
      <dgm:spPr/>
    </dgm:pt>
    <dgm:pt modelId="{95CAA1B6-2EBE-4E71-8594-A716B1BDAAA3}" type="pres">
      <dgm:prSet presAssocID="{E0E3B0C1-1373-4FC4-A340-0017CE88B301}" presName="Name37" presStyleLbl="parChTrans1D2" presStyleIdx="3" presStyleCnt="4"/>
      <dgm:spPr/>
      <dgm:t>
        <a:bodyPr/>
        <a:lstStyle/>
        <a:p>
          <a:endParaRPr lang="ru-RU"/>
        </a:p>
      </dgm:t>
    </dgm:pt>
    <dgm:pt modelId="{7B4DADAE-6CC6-4A71-ABDA-3CECF9A61E50}" type="pres">
      <dgm:prSet presAssocID="{39222330-61AA-45C6-9C58-6D59B4A78D57}" presName="hierRoot2" presStyleCnt="0">
        <dgm:presLayoutVars>
          <dgm:hierBranch val="init"/>
        </dgm:presLayoutVars>
      </dgm:prSet>
      <dgm:spPr/>
    </dgm:pt>
    <dgm:pt modelId="{3F14A910-519A-42FF-AC53-3DEDDEADD31E}" type="pres">
      <dgm:prSet presAssocID="{39222330-61AA-45C6-9C58-6D59B4A78D57}" presName="rootComposite" presStyleCnt="0"/>
      <dgm:spPr/>
    </dgm:pt>
    <dgm:pt modelId="{52F0019C-6F20-4FCB-80B5-8778FDFAE5C8}" type="pres">
      <dgm:prSet presAssocID="{39222330-61AA-45C6-9C58-6D59B4A78D57}" presName="rootText" presStyleLbl="node2" presStyleIdx="3" presStyleCnt="4">
        <dgm:presLayoutVars>
          <dgm:chPref val="3"/>
        </dgm:presLayoutVars>
      </dgm:prSet>
      <dgm:spPr/>
      <dgm:t>
        <a:bodyPr/>
        <a:lstStyle/>
        <a:p>
          <a:endParaRPr lang="ru-RU"/>
        </a:p>
      </dgm:t>
    </dgm:pt>
    <dgm:pt modelId="{ABD711E6-75CA-4B7B-8C8D-B437226C0DF7}" type="pres">
      <dgm:prSet presAssocID="{39222330-61AA-45C6-9C58-6D59B4A78D57}" presName="rootConnector" presStyleLbl="node2" presStyleIdx="3" presStyleCnt="4"/>
      <dgm:spPr/>
      <dgm:t>
        <a:bodyPr/>
        <a:lstStyle/>
        <a:p>
          <a:endParaRPr lang="ru-RU"/>
        </a:p>
      </dgm:t>
    </dgm:pt>
    <dgm:pt modelId="{2AB77022-19AE-4ECC-B555-3F0F6AC60256}" type="pres">
      <dgm:prSet presAssocID="{39222330-61AA-45C6-9C58-6D59B4A78D57}" presName="hierChild4" presStyleCnt="0"/>
      <dgm:spPr/>
    </dgm:pt>
    <dgm:pt modelId="{4C25FC22-4A12-43D3-8933-59B2A0F44689}" type="pres">
      <dgm:prSet presAssocID="{169C6687-375F-45E9-AFC8-DF898370EE7F}" presName="Name37" presStyleLbl="parChTrans1D3" presStyleIdx="2" presStyleCnt="3"/>
      <dgm:spPr/>
      <dgm:t>
        <a:bodyPr/>
        <a:lstStyle/>
        <a:p>
          <a:endParaRPr lang="ru-RU"/>
        </a:p>
      </dgm:t>
    </dgm:pt>
    <dgm:pt modelId="{C30976B7-7E9E-4642-A90F-A5F056DF6025}" type="pres">
      <dgm:prSet presAssocID="{84FFBB0A-7418-4DDB-B853-AA18F4192395}" presName="hierRoot2" presStyleCnt="0">
        <dgm:presLayoutVars>
          <dgm:hierBranch val="init"/>
        </dgm:presLayoutVars>
      </dgm:prSet>
      <dgm:spPr/>
    </dgm:pt>
    <dgm:pt modelId="{14683BC1-B224-42C6-9764-619072191146}" type="pres">
      <dgm:prSet presAssocID="{84FFBB0A-7418-4DDB-B853-AA18F4192395}" presName="rootComposite" presStyleCnt="0"/>
      <dgm:spPr/>
    </dgm:pt>
    <dgm:pt modelId="{E4EC394D-BBC0-4673-AFC6-041D96F674E3}" type="pres">
      <dgm:prSet presAssocID="{84FFBB0A-7418-4DDB-B853-AA18F4192395}" presName="rootText" presStyleLbl="node3" presStyleIdx="2" presStyleCnt="3">
        <dgm:presLayoutVars>
          <dgm:chPref val="3"/>
        </dgm:presLayoutVars>
      </dgm:prSet>
      <dgm:spPr/>
      <dgm:t>
        <a:bodyPr/>
        <a:lstStyle/>
        <a:p>
          <a:endParaRPr lang="ru-RU"/>
        </a:p>
      </dgm:t>
    </dgm:pt>
    <dgm:pt modelId="{5142A52F-22AD-4AB7-B7EC-5723DCE2C920}" type="pres">
      <dgm:prSet presAssocID="{84FFBB0A-7418-4DDB-B853-AA18F4192395}" presName="rootConnector" presStyleLbl="node3" presStyleIdx="2" presStyleCnt="3"/>
      <dgm:spPr/>
      <dgm:t>
        <a:bodyPr/>
        <a:lstStyle/>
        <a:p>
          <a:endParaRPr lang="ru-RU"/>
        </a:p>
      </dgm:t>
    </dgm:pt>
    <dgm:pt modelId="{B01502FC-CA3E-402A-9303-132808CBA4E0}" type="pres">
      <dgm:prSet presAssocID="{84FFBB0A-7418-4DDB-B853-AA18F4192395}" presName="hierChild4" presStyleCnt="0"/>
      <dgm:spPr/>
    </dgm:pt>
    <dgm:pt modelId="{3596B6A4-318D-400F-9B5A-8234FC36137A}" type="pres">
      <dgm:prSet presAssocID="{84FFBB0A-7418-4DDB-B853-AA18F4192395}" presName="hierChild5" presStyleCnt="0"/>
      <dgm:spPr/>
    </dgm:pt>
    <dgm:pt modelId="{2E1ED778-E861-489F-A3D7-7178BDA70B54}" type="pres">
      <dgm:prSet presAssocID="{39222330-61AA-45C6-9C58-6D59B4A78D57}" presName="hierChild5" presStyleCnt="0"/>
      <dgm:spPr/>
    </dgm:pt>
    <dgm:pt modelId="{AB41484E-50B5-4A04-A245-E8B8FF4A3F11}" type="pres">
      <dgm:prSet presAssocID="{277E5998-A0F2-46AC-9DD5-CEC6CC0D2DE7}" presName="hierChild3" presStyleCnt="0"/>
      <dgm:spPr/>
    </dgm:pt>
  </dgm:ptLst>
  <dgm:cxnLst>
    <dgm:cxn modelId="{A9C82AA8-234C-41B4-A1E2-FC0B7861DC8F}" srcId="{277E5998-A0F2-46AC-9DD5-CEC6CC0D2DE7}" destId="{39222330-61AA-45C6-9C58-6D59B4A78D57}" srcOrd="3" destOrd="0" parTransId="{E0E3B0C1-1373-4FC4-A340-0017CE88B301}" sibTransId="{05FB2AD4-1063-44C4-A07B-31668AFD81A5}"/>
    <dgm:cxn modelId="{CFC21208-61CA-4725-8AF9-0C328CDE4F7D}" type="presOf" srcId="{1710C02A-BD6E-466A-8668-E8FA50AC2296}" destId="{4AB099A5-AB15-4F45-BC4B-5C812D123F69}" srcOrd="0" destOrd="0" presId="urn:microsoft.com/office/officeart/2005/8/layout/orgChart1"/>
    <dgm:cxn modelId="{FD21A047-1163-4769-936B-971D40783EA4}" type="presOf" srcId="{80F808A8-24B0-4009-A497-C366919DBD89}" destId="{DAA2093C-2736-4E8D-8F3D-0432019B4F07}" srcOrd="1" destOrd="0" presId="urn:microsoft.com/office/officeart/2005/8/layout/orgChart1"/>
    <dgm:cxn modelId="{2D471C0B-5E8F-4329-B49A-B37C488BCA66}" srcId="{277E5998-A0F2-46AC-9DD5-CEC6CC0D2DE7}" destId="{31754E69-293B-4F4F-BDB2-32192043C38C}" srcOrd="0" destOrd="0" parTransId="{441BAC58-57AD-4AD2-BBC3-A46B1597204F}" sibTransId="{36147FFA-E938-4931-9BA5-5ED3FAFB71A0}"/>
    <dgm:cxn modelId="{C9EF7A58-5903-408F-9729-12C51134D054}" type="presOf" srcId="{9AF47B14-D5FE-44CE-82A3-AFD5B61B345F}" destId="{16118DCE-5BBB-4FC1-9AD8-6AE5AE0BA1C5}" srcOrd="0" destOrd="0" presId="urn:microsoft.com/office/officeart/2005/8/layout/orgChart1"/>
    <dgm:cxn modelId="{F3207BB9-474A-4013-91C0-E2A0704D6AE7}" type="presOf" srcId="{277E5998-A0F2-46AC-9DD5-CEC6CC0D2DE7}" destId="{84FC800B-A126-48D8-A43D-5F44C82C0F91}" srcOrd="1" destOrd="0" presId="urn:microsoft.com/office/officeart/2005/8/layout/orgChart1"/>
    <dgm:cxn modelId="{F07B010F-5991-4840-8A50-1EC2B1F19AFD}" type="presOf" srcId="{31754E69-293B-4F4F-BDB2-32192043C38C}" destId="{91711CD1-9DD1-4676-BADA-A81CD31FDAF2}" srcOrd="1" destOrd="0" presId="urn:microsoft.com/office/officeart/2005/8/layout/orgChart1"/>
    <dgm:cxn modelId="{081A7D7D-09E8-4A7A-95DB-CECAB3D58EBA}" type="presOf" srcId="{84FFBB0A-7418-4DDB-B853-AA18F4192395}" destId="{5142A52F-22AD-4AB7-B7EC-5723DCE2C920}" srcOrd="1" destOrd="0" presId="urn:microsoft.com/office/officeart/2005/8/layout/orgChart1"/>
    <dgm:cxn modelId="{FD39BEE4-9D63-491E-A878-E6D5A29987FE}" type="presOf" srcId="{2C966484-9F55-4698-877C-1889A779B6D8}" destId="{AA76BC45-A5FF-478B-8BEF-F377FDC0E76F}" srcOrd="0" destOrd="0" presId="urn:microsoft.com/office/officeart/2005/8/layout/orgChart1"/>
    <dgm:cxn modelId="{C4BB53E4-2C1C-4B47-B7B5-FD148ABF8FF5}" srcId="{277E5998-A0F2-46AC-9DD5-CEC6CC0D2DE7}" destId="{1710C02A-BD6E-466A-8668-E8FA50AC2296}" srcOrd="2" destOrd="0" parTransId="{9AF47B14-D5FE-44CE-82A3-AFD5B61B345F}" sibTransId="{AC39273C-91E4-43E0-B893-5E1D87F03726}"/>
    <dgm:cxn modelId="{452515BC-A849-4A78-A139-3D509C756029}" type="presOf" srcId="{D5BB2D84-3AEC-45D2-AEC2-B39E7E950728}" destId="{22D94DD4-3E25-46C5-B60B-68948E5F9266}" srcOrd="0" destOrd="0" presId="urn:microsoft.com/office/officeart/2005/8/layout/orgChart1"/>
    <dgm:cxn modelId="{8A34C69C-F969-429D-9CD3-14FAA7D7A0DE}" srcId="{1710C02A-BD6E-466A-8668-E8FA50AC2296}" destId="{AE649592-9452-43EE-B01D-31B81C1ABA80}" srcOrd="0" destOrd="0" parTransId="{D09C1F7B-D062-44CA-812A-B2D4909FE7A1}" sibTransId="{C5FF3DA1-A4C6-49DC-8BB7-462C10BF58C4}"/>
    <dgm:cxn modelId="{DF0F6AD0-9CE1-4052-AE8E-1BE65A55C2C1}" srcId="{31754E69-293B-4F4F-BDB2-32192043C38C}" destId="{1CFECEBE-305E-49CE-BF8D-6FF78751979B}" srcOrd="0" destOrd="0" parTransId="{85001420-BF2A-498D-81FF-0DEACB4BA51B}" sibTransId="{32761144-0955-4759-8732-449863DB4FC1}"/>
    <dgm:cxn modelId="{780D440E-44FF-40E0-96D2-0209877C3200}" type="presOf" srcId="{78DAF342-15D2-4D77-B533-BFAF9286E0DE}" destId="{7A4C909F-907A-4A6F-A157-616FAA6A8092}" srcOrd="0" destOrd="0" presId="urn:microsoft.com/office/officeart/2005/8/layout/orgChart1"/>
    <dgm:cxn modelId="{85684937-8C88-498F-815C-DA7A232846A4}" type="presOf" srcId="{84FFBB0A-7418-4DDB-B853-AA18F4192395}" destId="{E4EC394D-BBC0-4673-AFC6-041D96F674E3}" srcOrd="0" destOrd="0" presId="urn:microsoft.com/office/officeart/2005/8/layout/orgChart1"/>
    <dgm:cxn modelId="{8E5A0403-22CC-4025-8F5E-E9033F57F3F4}" type="presOf" srcId="{85001420-BF2A-498D-81FF-0DEACB4BA51B}" destId="{9738B144-FEA9-465F-9539-E40CAA184263}" srcOrd="0" destOrd="0" presId="urn:microsoft.com/office/officeart/2005/8/layout/orgChart1"/>
    <dgm:cxn modelId="{5B284CEB-DD70-40A1-99F1-C1E15AB924B8}" srcId="{AE649592-9452-43EE-B01D-31B81C1ABA80}" destId="{D90838B3-D029-48BF-AF79-F9C8ADF9F9B3}" srcOrd="0" destOrd="0" parTransId="{2C966484-9F55-4698-877C-1889A779B6D8}" sibTransId="{64DE9252-B18E-4CDA-B6EB-33823B37F547}"/>
    <dgm:cxn modelId="{563D40F8-C395-4982-B4B6-E84487209B2A}" type="presOf" srcId="{AE649592-9452-43EE-B01D-31B81C1ABA80}" destId="{440F2A72-D2EC-4BEC-AC2B-39E6A16B0CA8}" srcOrd="1" destOrd="0" presId="urn:microsoft.com/office/officeart/2005/8/layout/orgChart1"/>
    <dgm:cxn modelId="{93CFC377-3AA6-4D23-A488-693DDF99EBE2}" srcId="{277E5998-A0F2-46AC-9DD5-CEC6CC0D2DE7}" destId="{80F808A8-24B0-4009-A497-C366919DBD89}" srcOrd="1" destOrd="0" parTransId="{4566B2D1-5A2E-49AF-B91F-5335CD5BCC89}" sibTransId="{5E914AAF-97F7-4479-8CD6-C735F8E632B8}"/>
    <dgm:cxn modelId="{AAD1FFA7-75E1-4F7D-946E-A7CA21F31DB5}" type="presOf" srcId="{10775E84-6DB5-4C21-BDFF-9A7DCB6EF2B2}" destId="{CF8CC46E-5287-45F9-9CBA-9DC76C5F49FD}" srcOrd="1" destOrd="0" presId="urn:microsoft.com/office/officeart/2005/8/layout/orgChart1"/>
    <dgm:cxn modelId="{E26E952E-42C5-4A0F-B9A0-140FA72DEAD8}" type="presOf" srcId="{D09C1F7B-D062-44CA-812A-B2D4909FE7A1}" destId="{220E4981-1A46-4324-9783-F79C1BEB28A4}" srcOrd="0" destOrd="0" presId="urn:microsoft.com/office/officeart/2005/8/layout/orgChart1"/>
    <dgm:cxn modelId="{030838E0-1216-4483-8A3C-E8B2D42C0611}" type="presOf" srcId="{AE649592-9452-43EE-B01D-31B81C1ABA80}" destId="{3C9F7C71-5627-417B-890D-92E1C604B535}" srcOrd="0" destOrd="0" presId="urn:microsoft.com/office/officeart/2005/8/layout/orgChart1"/>
    <dgm:cxn modelId="{48CD9A74-B1B8-4E25-8B78-8E078B0E063C}" type="presOf" srcId="{4566B2D1-5A2E-49AF-B91F-5335CD5BCC89}" destId="{C909BF0F-84EE-4015-A336-DBF16951F86D}" srcOrd="0" destOrd="0" presId="urn:microsoft.com/office/officeart/2005/8/layout/orgChart1"/>
    <dgm:cxn modelId="{13201785-1C8F-40BE-BF8A-E2143F908B85}" type="presOf" srcId="{39222330-61AA-45C6-9C58-6D59B4A78D57}" destId="{ABD711E6-75CA-4B7B-8C8D-B437226C0DF7}" srcOrd="1" destOrd="0" presId="urn:microsoft.com/office/officeart/2005/8/layout/orgChart1"/>
    <dgm:cxn modelId="{9726254F-F9CD-4FD6-AD8D-958D63ACB89C}" type="presOf" srcId="{80F808A8-24B0-4009-A497-C366919DBD89}" destId="{BBCEA591-FD71-423A-9F2D-EB7FFCA81512}" srcOrd="0" destOrd="0" presId="urn:microsoft.com/office/officeart/2005/8/layout/orgChart1"/>
    <dgm:cxn modelId="{BBE88C2B-2CAB-42F8-8FAF-0AE93FFF72CC}" type="presOf" srcId="{1CFECEBE-305E-49CE-BF8D-6FF78751979B}" destId="{CEBE01A2-B80A-4BD1-8BF5-AD9AFDD9F18A}" srcOrd="0" destOrd="0" presId="urn:microsoft.com/office/officeart/2005/8/layout/orgChart1"/>
    <dgm:cxn modelId="{AC103D90-D370-494E-B791-3BC5D95F7D4A}" type="presOf" srcId="{D90838B3-D029-48BF-AF79-F9C8ADF9F9B3}" destId="{487704DD-5C2E-453F-A2A6-AE692328716D}" srcOrd="0" destOrd="0" presId="urn:microsoft.com/office/officeart/2005/8/layout/orgChart1"/>
    <dgm:cxn modelId="{1F5AA572-69B2-4A40-8721-64608603C250}" type="presOf" srcId="{169C6687-375F-45E9-AFC8-DF898370EE7F}" destId="{4C25FC22-4A12-43D3-8933-59B2A0F44689}" srcOrd="0" destOrd="0" presId="urn:microsoft.com/office/officeart/2005/8/layout/orgChart1"/>
    <dgm:cxn modelId="{7A22093F-9B6F-46FC-8814-CD8FA19DBB17}" srcId="{78DAF342-15D2-4D77-B533-BFAF9286E0DE}" destId="{277E5998-A0F2-46AC-9DD5-CEC6CC0D2DE7}" srcOrd="0" destOrd="0" parTransId="{1AF738C7-F80E-4718-B270-BB67D41BAF5D}" sibTransId="{20ACC63E-7ABC-4261-B845-ABE9FA5DA8E1}"/>
    <dgm:cxn modelId="{EE39701B-AACC-45DE-9400-9B34C1D330AC}" type="presOf" srcId="{39222330-61AA-45C6-9C58-6D59B4A78D57}" destId="{52F0019C-6F20-4FCB-80B5-8778FDFAE5C8}" srcOrd="0" destOrd="0" presId="urn:microsoft.com/office/officeart/2005/8/layout/orgChart1"/>
    <dgm:cxn modelId="{AEC4395B-41FD-493B-988A-D73C45334A00}" type="presOf" srcId="{277E5998-A0F2-46AC-9DD5-CEC6CC0D2DE7}" destId="{CB8B70A5-6618-442D-9174-84F7EC0109B2}" srcOrd="0" destOrd="0" presId="urn:microsoft.com/office/officeart/2005/8/layout/orgChart1"/>
    <dgm:cxn modelId="{E5E4791E-1E42-4823-B64C-78E1EC7E281B}" type="presOf" srcId="{E0E3B0C1-1373-4FC4-A340-0017CE88B301}" destId="{95CAA1B6-2EBE-4E71-8594-A716B1BDAAA3}" srcOrd="0" destOrd="0" presId="urn:microsoft.com/office/officeart/2005/8/layout/orgChart1"/>
    <dgm:cxn modelId="{48B7073F-721B-403D-9286-10AC956BADCE}" type="presOf" srcId="{10775E84-6DB5-4C21-BDFF-9A7DCB6EF2B2}" destId="{3B836E98-F202-4FC3-855B-D460A6863F17}" srcOrd="0" destOrd="0" presId="urn:microsoft.com/office/officeart/2005/8/layout/orgChart1"/>
    <dgm:cxn modelId="{2CC2562C-5420-4138-9B65-948134201CAB}" srcId="{D90838B3-D029-48BF-AF79-F9C8ADF9F9B3}" destId="{10775E84-6DB5-4C21-BDFF-9A7DCB6EF2B2}" srcOrd="0" destOrd="0" parTransId="{D5BB2D84-3AEC-45D2-AEC2-B39E7E950728}" sibTransId="{7F03AF5A-6DC1-4C28-9662-DA4F00656421}"/>
    <dgm:cxn modelId="{D76B2D19-FBA6-403F-B521-460076E6B22E}" srcId="{39222330-61AA-45C6-9C58-6D59B4A78D57}" destId="{84FFBB0A-7418-4DDB-B853-AA18F4192395}" srcOrd="0" destOrd="0" parTransId="{169C6687-375F-45E9-AFC8-DF898370EE7F}" sibTransId="{6792DA1F-8DF8-42E6-8BB4-3592A8B5803A}"/>
    <dgm:cxn modelId="{E4D20551-E357-4D74-9D4E-3B37B2C89864}" type="presOf" srcId="{441BAC58-57AD-4AD2-BBC3-A46B1597204F}" destId="{6533E4F6-5FD5-4C72-AF67-F4507ED658B0}" srcOrd="0" destOrd="0" presId="urn:microsoft.com/office/officeart/2005/8/layout/orgChart1"/>
    <dgm:cxn modelId="{2C10CBC8-22B2-4ED6-B825-E2FC09F281D1}" type="presOf" srcId="{1CFECEBE-305E-49CE-BF8D-6FF78751979B}" destId="{B7BEB63D-8CF9-4267-ADAF-4CE708CF88E0}" srcOrd="1" destOrd="0" presId="urn:microsoft.com/office/officeart/2005/8/layout/orgChart1"/>
    <dgm:cxn modelId="{C72155F2-9079-4975-822C-97ECD723E03F}" type="presOf" srcId="{1710C02A-BD6E-466A-8668-E8FA50AC2296}" destId="{7A6FB077-11A8-4954-9D46-20F805797D25}" srcOrd="1" destOrd="0" presId="urn:microsoft.com/office/officeart/2005/8/layout/orgChart1"/>
    <dgm:cxn modelId="{3DE9210F-702A-4CA4-843C-BFC2D9957C9F}" type="presOf" srcId="{D90838B3-D029-48BF-AF79-F9C8ADF9F9B3}" destId="{0745E4BD-62E3-4D30-8A8B-C676B4A6C54E}" srcOrd="1" destOrd="0" presId="urn:microsoft.com/office/officeart/2005/8/layout/orgChart1"/>
    <dgm:cxn modelId="{59FB46B5-CB00-4EEF-8971-A5C167992C4C}" type="presOf" srcId="{31754E69-293B-4F4F-BDB2-32192043C38C}" destId="{20F67BC3-CDA9-40E8-909E-F18188CF9825}" srcOrd="0" destOrd="0" presId="urn:microsoft.com/office/officeart/2005/8/layout/orgChart1"/>
    <dgm:cxn modelId="{5877E126-340D-48CF-99C2-C86087FC9F19}" type="presParOf" srcId="{7A4C909F-907A-4A6F-A157-616FAA6A8092}" destId="{E57AD496-58D8-4D34-9CA1-CE2B7AEA2C4D}" srcOrd="0" destOrd="0" presId="urn:microsoft.com/office/officeart/2005/8/layout/orgChart1"/>
    <dgm:cxn modelId="{5A5AF652-B83C-4EDC-AE5C-C208F9F69EF4}" type="presParOf" srcId="{E57AD496-58D8-4D34-9CA1-CE2B7AEA2C4D}" destId="{AE0CAD51-9FC2-4BFA-B4FC-70E61058B1C8}" srcOrd="0" destOrd="0" presId="urn:microsoft.com/office/officeart/2005/8/layout/orgChart1"/>
    <dgm:cxn modelId="{E2AFFC58-8BB3-4F3B-A2FE-4DEBFD956745}" type="presParOf" srcId="{AE0CAD51-9FC2-4BFA-B4FC-70E61058B1C8}" destId="{CB8B70A5-6618-442D-9174-84F7EC0109B2}" srcOrd="0" destOrd="0" presId="urn:microsoft.com/office/officeart/2005/8/layout/orgChart1"/>
    <dgm:cxn modelId="{C9A0738B-FAA5-48EA-9289-59D1010566CC}" type="presParOf" srcId="{AE0CAD51-9FC2-4BFA-B4FC-70E61058B1C8}" destId="{84FC800B-A126-48D8-A43D-5F44C82C0F91}" srcOrd="1" destOrd="0" presId="urn:microsoft.com/office/officeart/2005/8/layout/orgChart1"/>
    <dgm:cxn modelId="{A3158C4F-11EB-4871-A5AA-C2A89D118F50}" type="presParOf" srcId="{E57AD496-58D8-4D34-9CA1-CE2B7AEA2C4D}" destId="{D080F418-D401-4551-994B-607040B10247}" srcOrd="1" destOrd="0" presId="urn:microsoft.com/office/officeart/2005/8/layout/orgChart1"/>
    <dgm:cxn modelId="{2B86A3F5-AD44-4C46-9484-6EA7CD7E2C27}" type="presParOf" srcId="{D080F418-D401-4551-994B-607040B10247}" destId="{6533E4F6-5FD5-4C72-AF67-F4507ED658B0}" srcOrd="0" destOrd="0" presId="urn:microsoft.com/office/officeart/2005/8/layout/orgChart1"/>
    <dgm:cxn modelId="{89125168-9573-43F5-84B9-FDD8FB7701CA}" type="presParOf" srcId="{D080F418-D401-4551-994B-607040B10247}" destId="{6078430A-E6C9-4614-A6C5-091A96D56BAC}" srcOrd="1" destOrd="0" presId="urn:microsoft.com/office/officeart/2005/8/layout/orgChart1"/>
    <dgm:cxn modelId="{025830B8-5E2C-4166-9B94-28EFD312D42D}" type="presParOf" srcId="{6078430A-E6C9-4614-A6C5-091A96D56BAC}" destId="{5FF29590-0919-49BA-84C6-BF4D0E05BDD7}" srcOrd="0" destOrd="0" presId="urn:microsoft.com/office/officeart/2005/8/layout/orgChart1"/>
    <dgm:cxn modelId="{9D6B542C-C711-4C3E-829C-55A09ACC7DF1}" type="presParOf" srcId="{5FF29590-0919-49BA-84C6-BF4D0E05BDD7}" destId="{20F67BC3-CDA9-40E8-909E-F18188CF9825}" srcOrd="0" destOrd="0" presId="urn:microsoft.com/office/officeart/2005/8/layout/orgChart1"/>
    <dgm:cxn modelId="{B9AB407E-458B-4C3C-9415-C18D58C7C9FE}" type="presParOf" srcId="{5FF29590-0919-49BA-84C6-BF4D0E05BDD7}" destId="{91711CD1-9DD1-4676-BADA-A81CD31FDAF2}" srcOrd="1" destOrd="0" presId="urn:microsoft.com/office/officeart/2005/8/layout/orgChart1"/>
    <dgm:cxn modelId="{A39C86C1-D67A-4268-9573-967B980E8DFF}" type="presParOf" srcId="{6078430A-E6C9-4614-A6C5-091A96D56BAC}" destId="{AFEB6845-5C0B-4A0E-9654-A99E59998CC2}" srcOrd="1" destOrd="0" presId="urn:microsoft.com/office/officeart/2005/8/layout/orgChart1"/>
    <dgm:cxn modelId="{293422D5-17C4-4D81-B96D-4CD73DA0B652}" type="presParOf" srcId="{AFEB6845-5C0B-4A0E-9654-A99E59998CC2}" destId="{9738B144-FEA9-465F-9539-E40CAA184263}" srcOrd="0" destOrd="0" presId="urn:microsoft.com/office/officeart/2005/8/layout/orgChart1"/>
    <dgm:cxn modelId="{224386DC-CF98-4A3E-BC48-55298EB398AC}" type="presParOf" srcId="{AFEB6845-5C0B-4A0E-9654-A99E59998CC2}" destId="{92A856F1-6731-4ADC-A2D7-3B851D68F090}" srcOrd="1" destOrd="0" presId="urn:microsoft.com/office/officeart/2005/8/layout/orgChart1"/>
    <dgm:cxn modelId="{F4B55D43-0048-4EE3-8F7A-A8989EACFCD8}" type="presParOf" srcId="{92A856F1-6731-4ADC-A2D7-3B851D68F090}" destId="{465C542B-F290-40E9-B069-96C683AE2D91}" srcOrd="0" destOrd="0" presId="urn:microsoft.com/office/officeart/2005/8/layout/orgChart1"/>
    <dgm:cxn modelId="{C1633858-C38D-4159-ABE1-879ACE3CEB54}" type="presParOf" srcId="{465C542B-F290-40E9-B069-96C683AE2D91}" destId="{CEBE01A2-B80A-4BD1-8BF5-AD9AFDD9F18A}" srcOrd="0" destOrd="0" presId="urn:microsoft.com/office/officeart/2005/8/layout/orgChart1"/>
    <dgm:cxn modelId="{30CC403F-0547-4873-A602-BD32C2C76DBF}" type="presParOf" srcId="{465C542B-F290-40E9-B069-96C683AE2D91}" destId="{B7BEB63D-8CF9-4267-ADAF-4CE708CF88E0}" srcOrd="1" destOrd="0" presId="urn:microsoft.com/office/officeart/2005/8/layout/orgChart1"/>
    <dgm:cxn modelId="{78483964-2B63-46EE-A45C-A40B5806FCC5}" type="presParOf" srcId="{92A856F1-6731-4ADC-A2D7-3B851D68F090}" destId="{0DD478DD-B0BC-4DD8-B1E8-9D0735E78275}" srcOrd="1" destOrd="0" presId="urn:microsoft.com/office/officeart/2005/8/layout/orgChart1"/>
    <dgm:cxn modelId="{24DDD873-473A-47F3-9515-C30AF7BAC8EE}" type="presParOf" srcId="{92A856F1-6731-4ADC-A2D7-3B851D68F090}" destId="{72E3673D-8439-47E7-A157-5C9296BEFE49}" srcOrd="2" destOrd="0" presId="urn:microsoft.com/office/officeart/2005/8/layout/orgChart1"/>
    <dgm:cxn modelId="{6FE039E7-B948-491D-B438-42E9CDF3D2F0}" type="presParOf" srcId="{6078430A-E6C9-4614-A6C5-091A96D56BAC}" destId="{188E8B02-5F9E-44C1-8EE8-7760F56409C0}" srcOrd="2" destOrd="0" presId="urn:microsoft.com/office/officeart/2005/8/layout/orgChart1"/>
    <dgm:cxn modelId="{0D3FD87B-F715-4BC2-89CF-852D8D75C2E6}" type="presParOf" srcId="{D080F418-D401-4551-994B-607040B10247}" destId="{C909BF0F-84EE-4015-A336-DBF16951F86D}" srcOrd="2" destOrd="0" presId="urn:microsoft.com/office/officeart/2005/8/layout/orgChart1"/>
    <dgm:cxn modelId="{742197F3-4283-449E-8130-B399546B53BE}" type="presParOf" srcId="{D080F418-D401-4551-994B-607040B10247}" destId="{E636B07C-05DE-4383-A0C4-C231460D0854}" srcOrd="3" destOrd="0" presId="urn:microsoft.com/office/officeart/2005/8/layout/orgChart1"/>
    <dgm:cxn modelId="{4A799A1B-3677-45F5-A7FB-AAD176A7D500}" type="presParOf" srcId="{E636B07C-05DE-4383-A0C4-C231460D0854}" destId="{A03ACBD5-D87A-4CCD-B0C4-A36887EA72E9}" srcOrd="0" destOrd="0" presId="urn:microsoft.com/office/officeart/2005/8/layout/orgChart1"/>
    <dgm:cxn modelId="{5139900C-82A4-41AB-9C33-FC8A6869352E}" type="presParOf" srcId="{A03ACBD5-D87A-4CCD-B0C4-A36887EA72E9}" destId="{BBCEA591-FD71-423A-9F2D-EB7FFCA81512}" srcOrd="0" destOrd="0" presId="urn:microsoft.com/office/officeart/2005/8/layout/orgChart1"/>
    <dgm:cxn modelId="{1FDF42B0-5CEB-4118-8EB9-8286C96C352C}" type="presParOf" srcId="{A03ACBD5-D87A-4CCD-B0C4-A36887EA72E9}" destId="{DAA2093C-2736-4E8D-8F3D-0432019B4F07}" srcOrd="1" destOrd="0" presId="urn:microsoft.com/office/officeart/2005/8/layout/orgChart1"/>
    <dgm:cxn modelId="{BF663538-B536-42E0-9A94-C1DE91C14A86}" type="presParOf" srcId="{E636B07C-05DE-4383-A0C4-C231460D0854}" destId="{6AE20039-63F6-4316-BEF9-CC283ABF30F7}" srcOrd="1" destOrd="0" presId="urn:microsoft.com/office/officeart/2005/8/layout/orgChart1"/>
    <dgm:cxn modelId="{DA2CC98C-8D7C-4276-A51D-360DC05AFDE2}" type="presParOf" srcId="{E636B07C-05DE-4383-A0C4-C231460D0854}" destId="{8018EA11-FAC5-4823-933D-53A465982C90}" srcOrd="2" destOrd="0" presId="urn:microsoft.com/office/officeart/2005/8/layout/orgChart1"/>
    <dgm:cxn modelId="{E778B6F2-5061-4E91-A718-DC0CABC77614}" type="presParOf" srcId="{D080F418-D401-4551-994B-607040B10247}" destId="{16118DCE-5BBB-4FC1-9AD8-6AE5AE0BA1C5}" srcOrd="4" destOrd="0" presId="urn:microsoft.com/office/officeart/2005/8/layout/orgChart1"/>
    <dgm:cxn modelId="{AEFA8F49-570E-4679-9D64-AE87DC5E0940}" type="presParOf" srcId="{D080F418-D401-4551-994B-607040B10247}" destId="{950DC485-92B6-42C5-8CE6-412B656507A9}" srcOrd="5" destOrd="0" presId="urn:microsoft.com/office/officeart/2005/8/layout/orgChart1"/>
    <dgm:cxn modelId="{B5661054-6832-4F0F-B710-5127DF724A93}" type="presParOf" srcId="{950DC485-92B6-42C5-8CE6-412B656507A9}" destId="{C9A72489-A1DF-43EB-850B-90A826456D93}" srcOrd="0" destOrd="0" presId="urn:microsoft.com/office/officeart/2005/8/layout/orgChart1"/>
    <dgm:cxn modelId="{32D0803B-0211-4DB1-8EF3-07425A53BA8D}" type="presParOf" srcId="{C9A72489-A1DF-43EB-850B-90A826456D93}" destId="{4AB099A5-AB15-4F45-BC4B-5C812D123F69}" srcOrd="0" destOrd="0" presId="urn:microsoft.com/office/officeart/2005/8/layout/orgChart1"/>
    <dgm:cxn modelId="{3EA7FD54-B260-49E0-874A-F4074E4FF7ED}" type="presParOf" srcId="{C9A72489-A1DF-43EB-850B-90A826456D93}" destId="{7A6FB077-11A8-4954-9D46-20F805797D25}" srcOrd="1" destOrd="0" presId="urn:microsoft.com/office/officeart/2005/8/layout/orgChart1"/>
    <dgm:cxn modelId="{C37983DA-02AA-4D8E-906C-64810EA482B4}" type="presParOf" srcId="{950DC485-92B6-42C5-8CE6-412B656507A9}" destId="{B1FCCEB7-912E-46B7-A23C-CAFA4778167E}" srcOrd="1" destOrd="0" presId="urn:microsoft.com/office/officeart/2005/8/layout/orgChart1"/>
    <dgm:cxn modelId="{D62B8376-8CF7-47D4-9D86-205832857EE9}" type="presParOf" srcId="{B1FCCEB7-912E-46B7-A23C-CAFA4778167E}" destId="{220E4981-1A46-4324-9783-F79C1BEB28A4}" srcOrd="0" destOrd="0" presId="urn:microsoft.com/office/officeart/2005/8/layout/orgChart1"/>
    <dgm:cxn modelId="{C958A9E9-D1AF-405E-892B-89BB0262396C}" type="presParOf" srcId="{B1FCCEB7-912E-46B7-A23C-CAFA4778167E}" destId="{87A368C0-65DC-4CE8-B5B6-527E098D1DD2}" srcOrd="1" destOrd="0" presId="urn:microsoft.com/office/officeart/2005/8/layout/orgChart1"/>
    <dgm:cxn modelId="{1E8AC3DA-C8B9-4AEE-8C2F-6A6F39B99617}" type="presParOf" srcId="{87A368C0-65DC-4CE8-B5B6-527E098D1DD2}" destId="{7E5AC5AD-1D55-4311-8FEB-2D49BAED3DC4}" srcOrd="0" destOrd="0" presId="urn:microsoft.com/office/officeart/2005/8/layout/orgChart1"/>
    <dgm:cxn modelId="{00DDA0FE-B8D0-47DD-9B22-59921B486C04}" type="presParOf" srcId="{7E5AC5AD-1D55-4311-8FEB-2D49BAED3DC4}" destId="{3C9F7C71-5627-417B-890D-92E1C604B535}" srcOrd="0" destOrd="0" presId="urn:microsoft.com/office/officeart/2005/8/layout/orgChart1"/>
    <dgm:cxn modelId="{6F139EBE-D04A-4D4B-9781-9C3C3C954E04}" type="presParOf" srcId="{7E5AC5AD-1D55-4311-8FEB-2D49BAED3DC4}" destId="{440F2A72-D2EC-4BEC-AC2B-39E6A16B0CA8}" srcOrd="1" destOrd="0" presId="urn:microsoft.com/office/officeart/2005/8/layout/orgChart1"/>
    <dgm:cxn modelId="{B75540B8-2081-4E5F-96F0-41D2C38DB438}" type="presParOf" srcId="{87A368C0-65DC-4CE8-B5B6-527E098D1DD2}" destId="{A62B36C4-2E5B-423B-941E-7D9247F6ED0A}" srcOrd="1" destOrd="0" presId="urn:microsoft.com/office/officeart/2005/8/layout/orgChart1"/>
    <dgm:cxn modelId="{3070C6A5-8318-4910-9CC1-5A3CFBDD97DC}" type="presParOf" srcId="{A62B36C4-2E5B-423B-941E-7D9247F6ED0A}" destId="{AA76BC45-A5FF-478B-8BEF-F377FDC0E76F}" srcOrd="0" destOrd="0" presId="urn:microsoft.com/office/officeart/2005/8/layout/orgChart1"/>
    <dgm:cxn modelId="{A4411745-FF04-4864-86B8-BE2D50541AA4}" type="presParOf" srcId="{A62B36C4-2E5B-423B-941E-7D9247F6ED0A}" destId="{7A86D1C5-CBD9-425D-8D90-501FC1BCF19C}" srcOrd="1" destOrd="0" presId="urn:microsoft.com/office/officeart/2005/8/layout/orgChart1"/>
    <dgm:cxn modelId="{6A4FD5CC-9CB7-45A9-961D-AF57B8B362B5}" type="presParOf" srcId="{7A86D1C5-CBD9-425D-8D90-501FC1BCF19C}" destId="{FD8002E9-8B04-496B-B3E3-8BC160413113}" srcOrd="0" destOrd="0" presId="urn:microsoft.com/office/officeart/2005/8/layout/orgChart1"/>
    <dgm:cxn modelId="{A9BDF72F-6013-4419-9FF1-B43B986D4E1B}" type="presParOf" srcId="{FD8002E9-8B04-496B-B3E3-8BC160413113}" destId="{487704DD-5C2E-453F-A2A6-AE692328716D}" srcOrd="0" destOrd="0" presId="urn:microsoft.com/office/officeart/2005/8/layout/orgChart1"/>
    <dgm:cxn modelId="{82C5D903-1626-4DD0-8557-BF48D8E8E69D}" type="presParOf" srcId="{FD8002E9-8B04-496B-B3E3-8BC160413113}" destId="{0745E4BD-62E3-4D30-8A8B-C676B4A6C54E}" srcOrd="1" destOrd="0" presId="urn:microsoft.com/office/officeart/2005/8/layout/orgChart1"/>
    <dgm:cxn modelId="{229657E0-65D6-400F-949C-84EB5591EA10}" type="presParOf" srcId="{7A86D1C5-CBD9-425D-8D90-501FC1BCF19C}" destId="{B3E7C9FD-79CC-454B-8BAE-A28183A327D9}" srcOrd="1" destOrd="0" presId="urn:microsoft.com/office/officeart/2005/8/layout/orgChart1"/>
    <dgm:cxn modelId="{16AC59BA-0F5A-4A8D-B93D-4F12780D14DD}" type="presParOf" srcId="{B3E7C9FD-79CC-454B-8BAE-A28183A327D9}" destId="{22D94DD4-3E25-46C5-B60B-68948E5F9266}" srcOrd="0" destOrd="0" presId="urn:microsoft.com/office/officeart/2005/8/layout/orgChart1"/>
    <dgm:cxn modelId="{E56B8930-D023-45F4-AC50-3A8E1A5BBBBA}" type="presParOf" srcId="{B3E7C9FD-79CC-454B-8BAE-A28183A327D9}" destId="{4AAFE422-2BC2-4884-B949-6664E1CEBCAA}" srcOrd="1" destOrd="0" presId="urn:microsoft.com/office/officeart/2005/8/layout/orgChart1"/>
    <dgm:cxn modelId="{0A9B4B4A-A22D-4757-812D-11BF37DB1552}" type="presParOf" srcId="{4AAFE422-2BC2-4884-B949-6664E1CEBCAA}" destId="{40B465A2-536E-4331-AA98-0E052FF38C97}" srcOrd="0" destOrd="0" presId="urn:microsoft.com/office/officeart/2005/8/layout/orgChart1"/>
    <dgm:cxn modelId="{007F3C96-6E9B-445C-B127-FC08C17B41A9}" type="presParOf" srcId="{40B465A2-536E-4331-AA98-0E052FF38C97}" destId="{3B836E98-F202-4FC3-855B-D460A6863F17}" srcOrd="0" destOrd="0" presId="urn:microsoft.com/office/officeart/2005/8/layout/orgChart1"/>
    <dgm:cxn modelId="{5AF957E6-AE10-4267-B369-73F0CB79A3D4}" type="presParOf" srcId="{40B465A2-536E-4331-AA98-0E052FF38C97}" destId="{CF8CC46E-5287-45F9-9CBA-9DC76C5F49FD}" srcOrd="1" destOrd="0" presId="urn:microsoft.com/office/officeart/2005/8/layout/orgChart1"/>
    <dgm:cxn modelId="{5FFC48AD-4B02-4BE7-8402-C107BDCE3871}" type="presParOf" srcId="{4AAFE422-2BC2-4884-B949-6664E1CEBCAA}" destId="{984B70C0-30AA-4809-AB64-83E33F25966F}" srcOrd="1" destOrd="0" presId="urn:microsoft.com/office/officeart/2005/8/layout/orgChart1"/>
    <dgm:cxn modelId="{CCE4EF6F-9711-4279-A61C-AF67860B2B60}" type="presParOf" srcId="{4AAFE422-2BC2-4884-B949-6664E1CEBCAA}" destId="{7B1A3F26-E3A3-4C55-A5AE-5528B053A2F9}" srcOrd="2" destOrd="0" presId="urn:microsoft.com/office/officeart/2005/8/layout/orgChart1"/>
    <dgm:cxn modelId="{813492BD-5B13-41CC-9A8C-B105E3E3B4F1}" type="presParOf" srcId="{7A86D1C5-CBD9-425D-8D90-501FC1BCF19C}" destId="{98C7023F-31F8-402D-BA3A-C3CF3A85550C}" srcOrd="2" destOrd="0" presId="urn:microsoft.com/office/officeart/2005/8/layout/orgChart1"/>
    <dgm:cxn modelId="{849BB8D5-1FED-4D13-BA62-9ABD9F884044}" type="presParOf" srcId="{87A368C0-65DC-4CE8-B5B6-527E098D1DD2}" destId="{067C142A-61F1-47DE-A567-5145F6B16266}" srcOrd="2" destOrd="0" presId="urn:microsoft.com/office/officeart/2005/8/layout/orgChart1"/>
    <dgm:cxn modelId="{B6B52489-D4A4-4D24-A251-EC393F8E5D98}" type="presParOf" srcId="{950DC485-92B6-42C5-8CE6-412B656507A9}" destId="{006E1613-A3E0-48C7-A127-C2218702F797}" srcOrd="2" destOrd="0" presId="urn:microsoft.com/office/officeart/2005/8/layout/orgChart1"/>
    <dgm:cxn modelId="{6C7D728E-654B-4813-A1C7-DD17CCD64433}" type="presParOf" srcId="{D080F418-D401-4551-994B-607040B10247}" destId="{95CAA1B6-2EBE-4E71-8594-A716B1BDAAA3}" srcOrd="6" destOrd="0" presId="urn:microsoft.com/office/officeart/2005/8/layout/orgChart1"/>
    <dgm:cxn modelId="{009203DA-0868-49E5-9DAD-65B56CF9A8D3}" type="presParOf" srcId="{D080F418-D401-4551-994B-607040B10247}" destId="{7B4DADAE-6CC6-4A71-ABDA-3CECF9A61E50}" srcOrd="7" destOrd="0" presId="urn:microsoft.com/office/officeart/2005/8/layout/orgChart1"/>
    <dgm:cxn modelId="{3C18328F-641F-4683-BBF3-EE29EE8F416C}" type="presParOf" srcId="{7B4DADAE-6CC6-4A71-ABDA-3CECF9A61E50}" destId="{3F14A910-519A-42FF-AC53-3DEDDEADD31E}" srcOrd="0" destOrd="0" presId="urn:microsoft.com/office/officeart/2005/8/layout/orgChart1"/>
    <dgm:cxn modelId="{ED0626C3-A159-494F-A051-142AC9730F4C}" type="presParOf" srcId="{3F14A910-519A-42FF-AC53-3DEDDEADD31E}" destId="{52F0019C-6F20-4FCB-80B5-8778FDFAE5C8}" srcOrd="0" destOrd="0" presId="urn:microsoft.com/office/officeart/2005/8/layout/orgChart1"/>
    <dgm:cxn modelId="{51629271-B313-4CE2-9D25-B3925DF9A555}" type="presParOf" srcId="{3F14A910-519A-42FF-AC53-3DEDDEADD31E}" destId="{ABD711E6-75CA-4B7B-8C8D-B437226C0DF7}" srcOrd="1" destOrd="0" presId="urn:microsoft.com/office/officeart/2005/8/layout/orgChart1"/>
    <dgm:cxn modelId="{FCB73FF3-DB53-41C3-BE04-4E728A3E3BCA}" type="presParOf" srcId="{7B4DADAE-6CC6-4A71-ABDA-3CECF9A61E50}" destId="{2AB77022-19AE-4ECC-B555-3F0F6AC60256}" srcOrd="1" destOrd="0" presId="urn:microsoft.com/office/officeart/2005/8/layout/orgChart1"/>
    <dgm:cxn modelId="{3C42EC30-B3DE-481A-A55E-85BCECD16028}" type="presParOf" srcId="{2AB77022-19AE-4ECC-B555-3F0F6AC60256}" destId="{4C25FC22-4A12-43D3-8933-59B2A0F44689}" srcOrd="0" destOrd="0" presId="urn:microsoft.com/office/officeart/2005/8/layout/orgChart1"/>
    <dgm:cxn modelId="{FFD74965-3575-4BED-9C7D-C2A36FE71716}" type="presParOf" srcId="{2AB77022-19AE-4ECC-B555-3F0F6AC60256}" destId="{C30976B7-7E9E-4642-A90F-A5F056DF6025}" srcOrd="1" destOrd="0" presId="urn:microsoft.com/office/officeart/2005/8/layout/orgChart1"/>
    <dgm:cxn modelId="{23DC4250-97DE-4A62-B70C-7ECEAACF3372}" type="presParOf" srcId="{C30976B7-7E9E-4642-A90F-A5F056DF6025}" destId="{14683BC1-B224-42C6-9764-619072191146}" srcOrd="0" destOrd="0" presId="urn:microsoft.com/office/officeart/2005/8/layout/orgChart1"/>
    <dgm:cxn modelId="{7F7A21DD-D3AD-4C28-8110-36C25B29280A}" type="presParOf" srcId="{14683BC1-B224-42C6-9764-619072191146}" destId="{E4EC394D-BBC0-4673-AFC6-041D96F674E3}" srcOrd="0" destOrd="0" presId="urn:microsoft.com/office/officeart/2005/8/layout/orgChart1"/>
    <dgm:cxn modelId="{98E7BFCE-E34A-4B87-A690-56614CC5F83A}" type="presParOf" srcId="{14683BC1-B224-42C6-9764-619072191146}" destId="{5142A52F-22AD-4AB7-B7EC-5723DCE2C920}" srcOrd="1" destOrd="0" presId="urn:microsoft.com/office/officeart/2005/8/layout/orgChart1"/>
    <dgm:cxn modelId="{454D5086-DA96-4960-8DB4-7828FDD4FF5B}" type="presParOf" srcId="{C30976B7-7E9E-4642-A90F-A5F056DF6025}" destId="{B01502FC-CA3E-402A-9303-132808CBA4E0}" srcOrd="1" destOrd="0" presId="urn:microsoft.com/office/officeart/2005/8/layout/orgChart1"/>
    <dgm:cxn modelId="{BC93D082-5BBD-483C-9D9B-E64745D00339}" type="presParOf" srcId="{C30976B7-7E9E-4642-A90F-A5F056DF6025}" destId="{3596B6A4-318D-400F-9B5A-8234FC36137A}" srcOrd="2" destOrd="0" presId="urn:microsoft.com/office/officeart/2005/8/layout/orgChart1"/>
    <dgm:cxn modelId="{950A2B94-AB76-4DEF-A9B9-91F5EC65264D}" type="presParOf" srcId="{7B4DADAE-6CC6-4A71-ABDA-3CECF9A61E50}" destId="{2E1ED778-E861-489F-A3D7-7178BDA70B54}" srcOrd="2" destOrd="0" presId="urn:microsoft.com/office/officeart/2005/8/layout/orgChart1"/>
    <dgm:cxn modelId="{7A467565-A9AF-4C7F-99C1-A25B6E0A4490}" type="presParOf" srcId="{E57AD496-58D8-4D34-9CA1-CE2B7AEA2C4D}" destId="{AB41484E-50B5-4A04-A245-E8B8FF4A3F11}"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25FC22-4A12-43D3-8933-59B2A0F44689}">
      <dsp:nvSpPr>
        <dsp:cNvPr id="0" name=""/>
        <dsp:cNvSpPr/>
      </dsp:nvSpPr>
      <dsp:spPr>
        <a:xfrm>
          <a:off x="4317771" y="1272177"/>
          <a:ext cx="157565" cy="483199"/>
        </a:xfrm>
        <a:custGeom>
          <a:avLst/>
          <a:gdLst/>
          <a:ahLst/>
          <a:cxnLst/>
          <a:rect l="0" t="0" r="0" b="0"/>
          <a:pathLst>
            <a:path>
              <a:moveTo>
                <a:pt x="0" y="0"/>
              </a:moveTo>
              <a:lnTo>
                <a:pt x="0" y="723551"/>
              </a:lnTo>
              <a:lnTo>
                <a:pt x="235940" y="723551"/>
              </a:lnTo>
            </a:path>
          </a:pathLst>
        </a:custGeom>
        <a:noFill/>
        <a:ln w="12700" cap="flat" cmpd="sng" algn="ctr">
          <a:solidFill>
            <a:srgbClr val="4472C4">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95CAA1B6-2EBE-4E71-8594-A716B1BDAAA3}">
      <dsp:nvSpPr>
        <dsp:cNvPr id="0" name=""/>
        <dsp:cNvSpPr/>
      </dsp:nvSpPr>
      <dsp:spPr>
        <a:xfrm>
          <a:off x="2831406" y="526368"/>
          <a:ext cx="1906538" cy="220591"/>
        </a:xfrm>
        <a:custGeom>
          <a:avLst/>
          <a:gdLst/>
          <a:ahLst/>
          <a:cxnLst/>
          <a:rect l="0" t="0" r="0" b="0"/>
          <a:pathLst>
            <a:path>
              <a:moveTo>
                <a:pt x="0" y="0"/>
              </a:moveTo>
              <a:lnTo>
                <a:pt x="0" y="165158"/>
              </a:lnTo>
              <a:lnTo>
                <a:pt x="2854884" y="165158"/>
              </a:lnTo>
              <a:lnTo>
                <a:pt x="2854884" y="330317"/>
              </a:lnTo>
            </a:path>
          </a:pathLst>
        </a:custGeom>
        <a:noFill/>
        <a:ln w="12700" cap="flat" cmpd="sng" algn="ctr">
          <a:solidFill>
            <a:srgbClr val="70AD47">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2D94DD4-3E25-46C5-B60B-68948E5F9266}">
      <dsp:nvSpPr>
        <dsp:cNvPr id="0" name=""/>
        <dsp:cNvSpPr/>
      </dsp:nvSpPr>
      <dsp:spPr>
        <a:xfrm>
          <a:off x="2469565" y="2507114"/>
          <a:ext cx="374007" cy="483199"/>
        </a:xfrm>
        <a:custGeom>
          <a:avLst/>
          <a:gdLst/>
          <a:ahLst/>
          <a:cxnLst/>
          <a:rect l="0" t="0" r="0" b="0"/>
          <a:pathLst>
            <a:path>
              <a:moveTo>
                <a:pt x="0" y="0"/>
              </a:moveTo>
              <a:lnTo>
                <a:pt x="0" y="723551"/>
              </a:lnTo>
              <a:lnTo>
                <a:pt x="394228" y="723551"/>
              </a:lnTo>
            </a:path>
          </a:pathLst>
        </a:custGeom>
        <a:noFill/>
        <a:ln w="12700" cap="flat" cmpd="sng" algn="ctr">
          <a:solidFill>
            <a:srgbClr val="ED7D31">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AA76BC45-A5FF-478B-8BEF-F377FDC0E76F}">
      <dsp:nvSpPr>
        <dsp:cNvPr id="0" name=""/>
        <dsp:cNvSpPr/>
      </dsp:nvSpPr>
      <dsp:spPr>
        <a:xfrm>
          <a:off x="3421199" y="2017985"/>
          <a:ext cx="91440" cy="220591"/>
        </a:xfrm>
        <a:custGeom>
          <a:avLst/>
          <a:gdLst/>
          <a:ahLst/>
          <a:cxnLst/>
          <a:rect l="0" t="0" r="0" b="0"/>
          <a:pathLst>
            <a:path>
              <a:moveTo>
                <a:pt x="45720" y="0"/>
              </a:moveTo>
              <a:lnTo>
                <a:pt x="45720" y="330317"/>
              </a:lnTo>
            </a:path>
          </a:pathLst>
        </a:custGeom>
        <a:noFill/>
        <a:ln w="12700" cap="flat" cmpd="sng" algn="ctr">
          <a:solidFill>
            <a:srgbClr val="ED7D31">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20E4981-1A46-4324-9783-F79C1BEB28A4}">
      <dsp:nvSpPr>
        <dsp:cNvPr id="0" name=""/>
        <dsp:cNvSpPr/>
      </dsp:nvSpPr>
      <dsp:spPr>
        <a:xfrm>
          <a:off x="3421199" y="1272177"/>
          <a:ext cx="91440" cy="220591"/>
        </a:xfrm>
        <a:custGeom>
          <a:avLst/>
          <a:gdLst/>
          <a:ahLst/>
          <a:cxnLst/>
          <a:rect l="0" t="0" r="0" b="0"/>
          <a:pathLst>
            <a:path>
              <a:moveTo>
                <a:pt x="45720" y="0"/>
              </a:moveTo>
              <a:lnTo>
                <a:pt x="45720" y="330317"/>
              </a:lnTo>
            </a:path>
          </a:pathLst>
        </a:custGeom>
        <a:noFill/>
        <a:ln w="12700" cap="flat" cmpd="sng" algn="ctr">
          <a:solidFill>
            <a:srgbClr val="4472C4">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16118DCE-5BBB-4FC1-9AD8-6AE5AE0BA1C5}">
      <dsp:nvSpPr>
        <dsp:cNvPr id="0" name=""/>
        <dsp:cNvSpPr/>
      </dsp:nvSpPr>
      <dsp:spPr>
        <a:xfrm>
          <a:off x="2831406" y="526368"/>
          <a:ext cx="635512" cy="220591"/>
        </a:xfrm>
        <a:custGeom>
          <a:avLst/>
          <a:gdLst/>
          <a:ahLst/>
          <a:cxnLst/>
          <a:rect l="0" t="0" r="0" b="0"/>
          <a:pathLst>
            <a:path>
              <a:moveTo>
                <a:pt x="0" y="0"/>
              </a:moveTo>
              <a:lnTo>
                <a:pt x="0" y="165158"/>
              </a:lnTo>
              <a:lnTo>
                <a:pt x="951628" y="165158"/>
              </a:lnTo>
              <a:lnTo>
                <a:pt x="951628" y="330317"/>
              </a:lnTo>
            </a:path>
          </a:pathLst>
        </a:custGeom>
        <a:noFill/>
        <a:ln w="12700" cap="flat" cmpd="sng" algn="ctr">
          <a:solidFill>
            <a:srgbClr val="70AD47">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C909BF0F-84EE-4015-A336-DBF16951F86D}">
      <dsp:nvSpPr>
        <dsp:cNvPr id="0" name=""/>
        <dsp:cNvSpPr/>
      </dsp:nvSpPr>
      <dsp:spPr>
        <a:xfrm>
          <a:off x="2195893" y="526368"/>
          <a:ext cx="635512" cy="220591"/>
        </a:xfrm>
        <a:custGeom>
          <a:avLst/>
          <a:gdLst/>
          <a:ahLst/>
          <a:cxnLst/>
          <a:rect l="0" t="0" r="0" b="0"/>
          <a:pathLst>
            <a:path>
              <a:moveTo>
                <a:pt x="951628" y="0"/>
              </a:moveTo>
              <a:lnTo>
                <a:pt x="951628" y="165158"/>
              </a:lnTo>
              <a:lnTo>
                <a:pt x="0" y="165158"/>
              </a:lnTo>
              <a:lnTo>
                <a:pt x="0" y="330317"/>
              </a:lnTo>
            </a:path>
          </a:pathLst>
        </a:custGeom>
        <a:noFill/>
        <a:ln w="12700" cap="flat" cmpd="sng" algn="ctr">
          <a:solidFill>
            <a:srgbClr val="70AD47">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9738B144-FEA9-465F-9539-E40CAA184263}">
      <dsp:nvSpPr>
        <dsp:cNvPr id="0" name=""/>
        <dsp:cNvSpPr/>
      </dsp:nvSpPr>
      <dsp:spPr>
        <a:xfrm>
          <a:off x="504694" y="1272177"/>
          <a:ext cx="573736" cy="483199"/>
        </a:xfrm>
        <a:custGeom>
          <a:avLst/>
          <a:gdLst/>
          <a:ahLst/>
          <a:cxnLst/>
          <a:rect l="0" t="0" r="0" b="0"/>
          <a:pathLst>
            <a:path>
              <a:moveTo>
                <a:pt x="0" y="0"/>
              </a:moveTo>
              <a:lnTo>
                <a:pt x="0" y="723551"/>
              </a:lnTo>
              <a:lnTo>
                <a:pt x="859123" y="723551"/>
              </a:lnTo>
            </a:path>
          </a:pathLst>
        </a:custGeom>
        <a:noFill/>
        <a:ln w="12700" cap="flat" cmpd="sng" algn="ctr">
          <a:solidFill>
            <a:srgbClr val="4472C4">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6533E4F6-5FD5-4C72-AF67-F4507ED658B0}">
      <dsp:nvSpPr>
        <dsp:cNvPr id="0" name=""/>
        <dsp:cNvSpPr/>
      </dsp:nvSpPr>
      <dsp:spPr>
        <a:xfrm>
          <a:off x="924868" y="526368"/>
          <a:ext cx="1906538" cy="220591"/>
        </a:xfrm>
        <a:custGeom>
          <a:avLst/>
          <a:gdLst/>
          <a:ahLst/>
          <a:cxnLst/>
          <a:rect l="0" t="0" r="0" b="0"/>
          <a:pathLst>
            <a:path>
              <a:moveTo>
                <a:pt x="2854884" y="0"/>
              </a:moveTo>
              <a:lnTo>
                <a:pt x="2854884" y="165158"/>
              </a:lnTo>
              <a:lnTo>
                <a:pt x="0" y="165158"/>
              </a:lnTo>
              <a:lnTo>
                <a:pt x="0" y="330317"/>
              </a:lnTo>
            </a:path>
          </a:pathLst>
        </a:custGeom>
        <a:noFill/>
        <a:ln w="12700" cap="flat" cmpd="sng" algn="ctr">
          <a:solidFill>
            <a:srgbClr val="70AD47">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CB8B70A5-6618-442D-9174-84F7EC0109B2}">
      <dsp:nvSpPr>
        <dsp:cNvPr id="0" name=""/>
        <dsp:cNvSpPr/>
      </dsp:nvSpPr>
      <dsp:spPr>
        <a:xfrm>
          <a:off x="1596243" y="1151"/>
          <a:ext cx="2470327" cy="525217"/>
        </a:xfrm>
        <a:prstGeom prst="rect">
          <a:avLst/>
        </a:prstGeom>
        <a:solidFill>
          <a:schemeClr val="tx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ru-RU" sz="1000" kern="1200" dirty="0">
              <a:solidFill>
                <a:sysClr val="window" lastClr="FFFFFF"/>
              </a:solidFill>
              <a:latin typeface="Calibri"/>
              <a:ea typeface="+mn-ea"/>
              <a:cs typeface="+mn-cs"/>
            </a:rPr>
            <a:t>Область с наличием </a:t>
          </a:r>
          <a:r>
            <a:rPr lang="en-US" sz="1000" kern="1200" dirty="0">
              <a:solidFill>
                <a:sysClr val="window" lastClr="FFFFFF"/>
              </a:solidFill>
              <a:latin typeface="Calibri"/>
              <a:ea typeface="+mn-ea"/>
              <a:cs typeface="+mn-cs"/>
            </a:rPr>
            <a:t>&gt;20 </a:t>
          </a:r>
          <a:r>
            <a:rPr lang="ru-RU" sz="1000" kern="1200" dirty="0">
              <a:solidFill>
                <a:sysClr val="window" lastClr="FFFFFF"/>
              </a:solidFill>
              <a:latin typeface="Calibri"/>
              <a:ea typeface="+mn-ea"/>
              <a:cs typeface="+mn-cs"/>
            </a:rPr>
            <a:t>клеток, пригодных для подсчета</a:t>
          </a:r>
        </a:p>
      </dsp:txBody>
      <dsp:txXfrm>
        <a:off x="1596243" y="1151"/>
        <a:ext cx="2470327" cy="525217"/>
      </dsp:txXfrm>
    </dsp:sp>
    <dsp:sp modelId="{20F67BC3-CDA9-40E8-909E-F18188CF9825}">
      <dsp:nvSpPr>
        <dsp:cNvPr id="0" name=""/>
        <dsp:cNvSpPr/>
      </dsp:nvSpPr>
      <dsp:spPr>
        <a:xfrm>
          <a:off x="399651" y="746960"/>
          <a:ext cx="1050434" cy="525217"/>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en-US" sz="1000" kern="1200" dirty="0">
              <a:solidFill>
                <a:sysClr val="window" lastClr="FFFFFF"/>
              </a:solidFill>
              <a:latin typeface="Calibri"/>
              <a:ea typeface="+mn-ea"/>
              <a:cs typeface="+mn-cs"/>
            </a:rPr>
            <a:t>HER2/CEP17</a:t>
          </a:r>
          <a:r>
            <a:rPr lang="ru-RU" sz="1000" kern="1200" dirty="0">
              <a:solidFill>
                <a:sysClr val="window" lastClr="FFFFFF"/>
              </a:solidFill>
              <a:latin typeface="Calibri"/>
              <a:ea typeface="+mn-ea"/>
              <a:cs typeface="+mn-cs"/>
            </a:rPr>
            <a:t>:</a:t>
          </a:r>
          <a:r>
            <a:rPr lang="en-US" sz="1000" kern="1200" dirty="0">
              <a:solidFill>
                <a:sysClr val="window" lastClr="FFFFFF"/>
              </a:solidFill>
              <a:latin typeface="Calibri"/>
              <a:ea typeface="+mn-ea"/>
              <a:cs typeface="+mn-cs"/>
            </a:rPr>
            <a:t> ≥2</a:t>
          </a:r>
          <a:endParaRPr lang="ru-RU" sz="1000" kern="1200" dirty="0">
            <a:solidFill>
              <a:sysClr val="window" lastClr="FFFFFF"/>
            </a:solidFill>
            <a:latin typeface="Calibri"/>
            <a:ea typeface="+mn-ea"/>
            <a:cs typeface="+mn-cs"/>
          </a:endParaRPr>
        </a:p>
      </dsp:txBody>
      <dsp:txXfrm>
        <a:off x="399651" y="746960"/>
        <a:ext cx="1050434" cy="525217"/>
      </dsp:txXfrm>
    </dsp:sp>
    <dsp:sp modelId="{CEBE01A2-B80A-4BD1-8BF5-AD9AFDD9F18A}">
      <dsp:nvSpPr>
        <dsp:cNvPr id="0" name=""/>
        <dsp:cNvSpPr/>
      </dsp:nvSpPr>
      <dsp:spPr>
        <a:xfrm>
          <a:off x="1078431" y="1492768"/>
          <a:ext cx="1050434" cy="525217"/>
        </a:xfrm>
        <a:prstGeom prst="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ru-RU" sz="1000" kern="1200" dirty="0">
              <a:solidFill>
                <a:sysClr val="window" lastClr="FFFFFF"/>
              </a:solidFill>
              <a:latin typeface="Calibri"/>
              <a:ea typeface="+mn-ea"/>
              <a:cs typeface="+mn-cs"/>
            </a:rPr>
            <a:t>Позитивный</a:t>
          </a:r>
        </a:p>
      </dsp:txBody>
      <dsp:txXfrm>
        <a:off x="1078431" y="1492768"/>
        <a:ext cx="1050434" cy="525217"/>
      </dsp:txXfrm>
    </dsp:sp>
    <dsp:sp modelId="{BBCEA591-FD71-423A-9F2D-EB7FFCA81512}">
      <dsp:nvSpPr>
        <dsp:cNvPr id="0" name=""/>
        <dsp:cNvSpPr/>
      </dsp:nvSpPr>
      <dsp:spPr>
        <a:xfrm>
          <a:off x="1670676" y="746960"/>
          <a:ext cx="1050434" cy="525217"/>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en-US" sz="1000" kern="1200" dirty="0">
              <a:solidFill>
                <a:sysClr val="window" lastClr="FFFFFF"/>
              </a:solidFill>
              <a:latin typeface="Calibri"/>
              <a:ea typeface="+mn-ea"/>
              <a:cs typeface="+mn-cs"/>
            </a:rPr>
            <a:t>HER2/CEP17</a:t>
          </a:r>
          <a:r>
            <a:rPr lang="ru-RU" sz="1000" kern="1200" dirty="0">
              <a:solidFill>
                <a:sysClr val="window" lastClr="FFFFFF"/>
              </a:solidFill>
              <a:latin typeface="Calibri"/>
              <a:ea typeface="+mn-ea"/>
              <a:cs typeface="+mn-cs"/>
            </a:rPr>
            <a:t>:</a:t>
          </a:r>
          <a:r>
            <a:rPr lang="en-US" sz="1000" kern="1200" dirty="0">
              <a:solidFill>
                <a:sysClr val="window" lastClr="FFFFFF"/>
              </a:solidFill>
              <a:latin typeface="Calibri"/>
              <a:ea typeface="+mn-ea"/>
              <a:cs typeface="+mn-cs"/>
            </a:rPr>
            <a:t> &lt;2</a:t>
          </a:r>
          <a:br>
            <a:rPr lang="en-US" sz="1000" kern="1200" dirty="0">
              <a:solidFill>
                <a:sysClr val="window" lastClr="FFFFFF"/>
              </a:solidFill>
              <a:latin typeface="Calibri"/>
              <a:ea typeface="+mn-ea"/>
              <a:cs typeface="+mn-cs"/>
            </a:rPr>
          </a:br>
          <a:r>
            <a:rPr lang="en-US" sz="1000" kern="1200" dirty="0">
              <a:solidFill>
                <a:sysClr val="window" lastClr="FFFFFF"/>
              </a:solidFill>
              <a:latin typeface="Calibri"/>
              <a:ea typeface="+mn-ea"/>
              <a:cs typeface="+mn-cs"/>
            </a:rPr>
            <a:t>HER2 ≥6</a:t>
          </a:r>
          <a:endParaRPr lang="ru-RU" sz="1000" kern="1200" dirty="0">
            <a:solidFill>
              <a:sysClr val="window" lastClr="FFFFFF"/>
            </a:solidFill>
            <a:latin typeface="Calibri"/>
            <a:ea typeface="+mn-ea"/>
            <a:cs typeface="+mn-cs"/>
          </a:endParaRPr>
        </a:p>
      </dsp:txBody>
      <dsp:txXfrm>
        <a:off x="1670676" y="746960"/>
        <a:ext cx="1050434" cy="525217"/>
      </dsp:txXfrm>
    </dsp:sp>
    <dsp:sp modelId="{4AB099A5-AB15-4F45-BC4B-5C812D123F69}">
      <dsp:nvSpPr>
        <dsp:cNvPr id="0" name=""/>
        <dsp:cNvSpPr/>
      </dsp:nvSpPr>
      <dsp:spPr>
        <a:xfrm>
          <a:off x="2941702" y="746960"/>
          <a:ext cx="1050434" cy="525217"/>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en-US" sz="1000" kern="1200" dirty="0">
              <a:solidFill>
                <a:sysClr val="window" lastClr="FFFFFF"/>
              </a:solidFill>
              <a:latin typeface="Calibri"/>
              <a:ea typeface="+mn-ea"/>
              <a:cs typeface="+mn-cs"/>
            </a:rPr>
            <a:t>HER2/CEP17</a:t>
          </a:r>
          <a:r>
            <a:rPr lang="ru-RU" sz="1000" kern="1200" dirty="0">
              <a:solidFill>
                <a:sysClr val="window" lastClr="FFFFFF"/>
              </a:solidFill>
              <a:latin typeface="Calibri"/>
              <a:ea typeface="+mn-ea"/>
              <a:cs typeface="+mn-cs"/>
            </a:rPr>
            <a:t>:</a:t>
          </a:r>
          <a:r>
            <a:rPr lang="en-US" sz="1000" kern="1200" dirty="0">
              <a:solidFill>
                <a:sysClr val="window" lastClr="FFFFFF"/>
              </a:solidFill>
              <a:latin typeface="Calibri"/>
              <a:ea typeface="+mn-ea"/>
              <a:cs typeface="+mn-cs"/>
            </a:rPr>
            <a:t> &lt;2</a:t>
          </a:r>
          <a:br>
            <a:rPr lang="en-US" sz="1000" kern="1200" dirty="0">
              <a:solidFill>
                <a:sysClr val="window" lastClr="FFFFFF"/>
              </a:solidFill>
              <a:latin typeface="Calibri"/>
              <a:ea typeface="+mn-ea"/>
              <a:cs typeface="+mn-cs"/>
            </a:rPr>
          </a:br>
          <a:r>
            <a:rPr lang="en-US" sz="1000" kern="1200" dirty="0">
              <a:solidFill>
                <a:sysClr val="window" lastClr="FFFFFF"/>
              </a:solidFill>
              <a:latin typeface="Calibri"/>
              <a:ea typeface="+mn-ea"/>
              <a:cs typeface="+mn-cs"/>
            </a:rPr>
            <a:t>HER2 4-6</a:t>
          </a:r>
          <a:endParaRPr lang="ru-RU" sz="1000" kern="1200" dirty="0">
            <a:solidFill>
              <a:sysClr val="window" lastClr="FFFFFF"/>
            </a:solidFill>
            <a:latin typeface="Calibri"/>
            <a:ea typeface="+mn-ea"/>
            <a:cs typeface="+mn-cs"/>
          </a:endParaRPr>
        </a:p>
      </dsp:txBody>
      <dsp:txXfrm>
        <a:off x="2941702" y="746960"/>
        <a:ext cx="1050434" cy="525217"/>
      </dsp:txXfrm>
    </dsp:sp>
    <dsp:sp modelId="{3C9F7C71-5627-417B-890D-92E1C604B535}">
      <dsp:nvSpPr>
        <dsp:cNvPr id="0" name=""/>
        <dsp:cNvSpPr/>
      </dsp:nvSpPr>
      <dsp:spPr>
        <a:xfrm>
          <a:off x="2941702" y="1492768"/>
          <a:ext cx="1050434" cy="525217"/>
        </a:xfrm>
        <a:prstGeom prst="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ru-RU" sz="1000" kern="1200" dirty="0">
              <a:solidFill>
                <a:sysClr val="window" lastClr="FFFFFF"/>
              </a:solidFill>
              <a:latin typeface="Calibri"/>
              <a:ea typeface="+mn-ea"/>
              <a:cs typeface="+mn-cs"/>
            </a:rPr>
            <a:t>Неопределенный</a:t>
          </a:r>
        </a:p>
      </dsp:txBody>
      <dsp:txXfrm>
        <a:off x="2941702" y="1492768"/>
        <a:ext cx="1050434" cy="525217"/>
      </dsp:txXfrm>
    </dsp:sp>
    <dsp:sp modelId="{487704DD-5C2E-453F-A2A6-AE692328716D}">
      <dsp:nvSpPr>
        <dsp:cNvPr id="0" name=""/>
        <dsp:cNvSpPr/>
      </dsp:nvSpPr>
      <dsp:spPr>
        <a:xfrm>
          <a:off x="2220227" y="2238576"/>
          <a:ext cx="2493384" cy="268538"/>
        </a:xfrm>
        <a:prstGeom prst="rect">
          <a:avLst/>
        </a:prstGeom>
        <a:solidFill>
          <a:schemeClr val="tx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ru-RU" sz="1000" kern="1200" dirty="0">
              <a:solidFill>
                <a:sysClr val="window" lastClr="FFFFFF"/>
              </a:solidFill>
              <a:latin typeface="Calibri"/>
              <a:ea typeface="+mn-ea"/>
              <a:cs typeface="+mn-cs"/>
            </a:rPr>
            <a:t>Добавить к подсчету 20 клеток</a:t>
          </a:r>
        </a:p>
      </dsp:txBody>
      <dsp:txXfrm>
        <a:off x="2220227" y="2238576"/>
        <a:ext cx="2493384" cy="268538"/>
      </dsp:txXfrm>
    </dsp:sp>
    <dsp:sp modelId="{3B836E98-F202-4FC3-855B-D460A6863F17}">
      <dsp:nvSpPr>
        <dsp:cNvPr id="0" name=""/>
        <dsp:cNvSpPr/>
      </dsp:nvSpPr>
      <dsp:spPr>
        <a:xfrm>
          <a:off x="2843573" y="2727706"/>
          <a:ext cx="3965284" cy="525217"/>
        </a:xfrm>
        <a:prstGeom prst="rect">
          <a:avLst/>
        </a:prstGeom>
        <a:solidFill>
          <a:schemeClr val="tx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Font typeface="Arial" panose="020B0604020202020204" pitchFamily="34" charset="0"/>
            <a:buNone/>
          </a:pPr>
          <a:r>
            <a:rPr lang="ru-RU" sz="1000" kern="1200" dirty="0">
              <a:solidFill>
                <a:sysClr val="window" lastClr="FFFFFF"/>
              </a:solidFill>
              <a:latin typeface="Calibri"/>
              <a:ea typeface="+mn-ea"/>
              <a:cs typeface="+mn-cs"/>
            </a:rPr>
            <a:t>- Привлечь второго специалиста</a:t>
          </a:r>
          <a:br>
            <a:rPr lang="ru-RU" sz="1000" kern="1200" dirty="0">
              <a:solidFill>
                <a:sysClr val="window" lastClr="FFFFFF"/>
              </a:solidFill>
              <a:latin typeface="Calibri"/>
              <a:ea typeface="+mn-ea"/>
              <a:cs typeface="+mn-cs"/>
            </a:rPr>
          </a:br>
          <a:r>
            <a:rPr lang="ru-RU" sz="1000" kern="1200" dirty="0">
              <a:solidFill>
                <a:sysClr val="window" lastClr="FFFFFF"/>
              </a:solidFill>
              <a:latin typeface="Calibri"/>
              <a:ea typeface="+mn-ea"/>
              <a:cs typeface="+mn-cs"/>
            </a:rPr>
            <a:t>- Повторить исследование, по возможности, на другом блоке</a:t>
          </a:r>
        </a:p>
      </dsp:txBody>
      <dsp:txXfrm>
        <a:off x="2843573" y="2727706"/>
        <a:ext cx="3965284" cy="525217"/>
      </dsp:txXfrm>
    </dsp:sp>
    <dsp:sp modelId="{52F0019C-6F20-4FCB-80B5-8778FDFAE5C8}">
      <dsp:nvSpPr>
        <dsp:cNvPr id="0" name=""/>
        <dsp:cNvSpPr/>
      </dsp:nvSpPr>
      <dsp:spPr>
        <a:xfrm>
          <a:off x="4212727" y="746960"/>
          <a:ext cx="1050434" cy="525217"/>
        </a:xfrm>
        <a:prstGeom prst="rect">
          <a:avLst/>
        </a:prstGeom>
        <a:solidFill>
          <a:schemeClr val="accent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en-US" sz="1000" kern="1200" dirty="0">
              <a:solidFill>
                <a:sysClr val="window" lastClr="FFFFFF"/>
              </a:solidFill>
              <a:latin typeface="Calibri"/>
              <a:ea typeface="+mn-ea"/>
              <a:cs typeface="+mn-cs"/>
            </a:rPr>
            <a:t>HER2/CEP17</a:t>
          </a:r>
          <a:r>
            <a:rPr lang="ru-RU" sz="1000" kern="1200" dirty="0">
              <a:solidFill>
                <a:sysClr val="window" lastClr="FFFFFF"/>
              </a:solidFill>
              <a:latin typeface="Calibri"/>
              <a:ea typeface="+mn-ea"/>
              <a:cs typeface="+mn-cs"/>
            </a:rPr>
            <a:t>:</a:t>
          </a:r>
          <a:r>
            <a:rPr lang="en-US" sz="1000" kern="1200" dirty="0">
              <a:solidFill>
                <a:sysClr val="window" lastClr="FFFFFF"/>
              </a:solidFill>
              <a:latin typeface="Calibri"/>
              <a:ea typeface="+mn-ea"/>
              <a:cs typeface="+mn-cs"/>
            </a:rPr>
            <a:t> &lt;2</a:t>
          </a:r>
          <a:br>
            <a:rPr lang="en-US" sz="1000" kern="1200" dirty="0">
              <a:solidFill>
                <a:sysClr val="window" lastClr="FFFFFF"/>
              </a:solidFill>
              <a:latin typeface="Calibri"/>
              <a:ea typeface="+mn-ea"/>
              <a:cs typeface="+mn-cs"/>
            </a:rPr>
          </a:br>
          <a:r>
            <a:rPr lang="en-US" sz="1000" kern="1200" dirty="0">
              <a:solidFill>
                <a:sysClr val="window" lastClr="FFFFFF"/>
              </a:solidFill>
              <a:latin typeface="Calibri"/>
              <a:ea typeface="+mn-ea"/>
              <a:cs typeface="+mn-cs"/>
            </a:rPr>
            <a:t>HER2 &lt;4</a:t>
          </a:r>
          <a:endParaRPr lang="ru-RU" sz="1000" kern="1200" dirty="0">
            <a:solidFill>
              <a:sysClr val="window" lastClr="FFFFFF"/>
            </a:solidFill>
            <a:latin typeface="Calibri"/>
            <a:ea typeface="+mn-ea"/>
            <a:cs typeface="+mn-cs"/>
          </a:endParaRPr>
        </a:p>
      </dsp:txBody>
      <dsp:txXfrm>
        <a:off x="4212727" y="746960"/>
        <a:ext cx="1050434" cy="525217"/>
      </dsp:txXfrm>
    </dsp:sp>
    <dsp:sp modelId="{E4EC394D-BBC0-4673-AFC6-041D96F674E3}">
      <dsp:nvSpPr>
        <dsp:cNvPr id="0" name=""/>
        <dsp:cNvSpPr/>
      </dsp:nvSpPr>
      <dsp:spPr>
        <a:xfrm>
          <a:off x="4475336" y="1492768"/>
          <a:ext cx="1050434" cy="525217"/>
        </a:xfrm>
        <a:prstGeom prst="rect">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ru-RU" sz="1000" kern="1200" dirty="0">
              <a:solidFill>
                <a:sysClr val="window" lastClr="FFFFFF"/>
              </a:solidFill>
              <a:latin typeface="Calibri"/>
              <a:ea typeface="+mn-ea"/>
              <a:cs typeface="+mn-cs"/>
            </a:rPr>
            <a:t>Негативный</a:t>
          </a:r>
        </a:p>
      </dsp:txBody>
      <dsp:txXfrm>
        <a:off x="4475336" y="1492768"/>
        <a:ext cx="1050434" cy="525217"/>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08704" y="0"/>
            <a:ext cx="3066733" cy="468154"/>
          </a:xfrm>
          <a:prstGeom prst="rect">
            <a:avLst/>
          </a:prstGeom>
        </p:spPr>
        <p:txBody>
          <a:bodyPr vert="horz" lIns="91440" tIns="45720" rIns="91440" bIns="45720" rtlCol="0"/>
          <a:lstStyle>
            <a:lvl1pPr algn="r">
              <a:defRPr sz="1200"/>
            </a:lvl1pPr>
          </a:lstStyle>
          <a:p>
            <a:fld id="{3BBED7E8-0829-F34C-B479-A757805E6C1B}" type="datetimeFigureOut">
              <a:rPr lang="en-US" smtClean="0"/>
              <a:pPr/>
              <a:t>6/29/2023</a:t>
            </a:fld>
            <a:endParaRPr lang="en-US" dirty="0"/>
          </a:p>
        </p:txBody>
      </p:sp>
      <p:sp>
        <p:nvSpPr>
          <p:cNvPr id="4" name="Footer Placeholder 3"/>
          <p:cNvSpPr>
            <a:spLocks noGrp="1"/>
          </p:cNvSpPr>
          <p:nvPr>
            <p:ph type="ftr" sz="quarter" idx="2"/>
          </p:nvPr>
        </p:nvSpPr>
        <p:spPr>
          <a:xfrm>
            <a:off x="0" y="8893296"/>
            <a:ext cx="3066733" cy="468154"/>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704" y="8893296"/>
            <a:ext cx="3066733" cy="468154"/>
          </a:xfrm>
          <a:prstGeom prst="rect">
            <a:avLst/>
          </a:prstGeom>
        </p:spPr>
        <p:txBody>
          <a:bodyPr vert="horz" lIns="91440" tIns="45720" rIns="91440" bIns="45720" rtlCol="0" anchor="b"/>
          <a:lstStyle>
            <a:lvl1pPr algn="r">
              <a:defRPr sz="1200"/>
            </a:lvl1pPr>
          </a:lstStyle>
          <a:p>
            <a:fld id="{053334D3-7666-C24C-995B-669B029DDF20}" type="slidenum">
              <a:rPr lang="en-US" smtClean="0"/>
              <a:pPr/>
              <a:t>‹#›</a:t>
            </a:fld>
            <a:endParaRPr lang="en-US" dirty="0"/>
          </a:p>
        </p:txBody>
      </p:sp>
    </p:spTree>
    <p:extLst>
      <p:ext uri="{BB962C8B-B14F-4D97-AF65-F5344CB8AC3E}">
        <p14:creationId xmlns:p14="http://schemas.microsoft.com/office/powerpoint/2010/main" val="2465314765"/>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11T13:13:32.706"/>
    </inkml:context>
    <inkml:brush xml:id="br0">
      <inkml:brushProperty name="width" value="0.1" units="cm"/>
      <inkml:brushProperty name="height" value="0.6" units="cm"/>
      <inkml:brushProperty name="color" value="#849398"/>
      <inkml:brushProperty name="inkEffects" value="pencil"/>
    </inkml:brush>
  </inkml:definitions>
  <inkml:trace contextRef="#ctx0" brushRef="#br0">1 0 16383,'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11T13:13:46.259"/>
    </inkml:context>
    <inkml:brush xml:id="br0">
      <inkml:brushProperty name="width" value="0.025" units="cm"/>
      <inkml:brushProperty name="height" value="0.025" units="cm"/>
      <inkml:brushProperty name="color" value="#5B2D90"/>
    </inkml:brush>
  </inkml:definitions>
  <inkml:trace contextRef="#ctx0" brushRef="#br0">0 1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11T13:13:46.440"/>
    </inkml:context>
    <inkml:brush xml:id="br0">
      <inkml:brushProperty name="width" value="0.025" units="cm"/>
      <inkml:brushProperty name="height" value="0.025" units="cm"/>
      <inkml:brushProperty name="color" value="#5B2D90"/>
    </inkml:brush>
  </inkml:definitions>
  <inkml:trace contextRef="#ctx0" brushRef="#br0">0 1 24575,'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11T13:13:46.640"/>
    </inkml:context>
    <inkml:brush xml:id="br0">
      <inkml:brushProperty name="width" value="0.025" units="cm"/>
      <inkml:brushProperty name="height" value="0.025" units="cm"/>
      <inkml:brushProperty name="color" value="#5B2D90"/>
    </inkml:brush>
  </inkml:definitions>
  <inkml:trace contextRef="#ctx0" brushRef="#br0">0 1 24575,'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11T13:14:03.560"/>
    </inkml:context>
    <inkml:brush xml:id="br0">
      <inkml:brushProperty name="width" value="0.05" units="cm"/>
      <inkml:brushProperty name="height" value="0.05" units="cm"/>
      <inkml:brushProperty name="color" value="#66CC00"/>
    </inkml:brush>
  </inkml:definitions>
  <inkml:trace contextRef="#ctx0" brushRef="#br0">1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008704" y="0"/>
            <a:ext cx="3066733" cy="468154"/>
          </a:xfrm>
          <a:prstGeom prst="rect">
            <a:avLst/>
          </a:prstGeom>
        </p:spPr>
        <p:txBody>
          <a:bodyPr vert="horz" lIns="91440" tIns="45720" rIns="91440" bIns="45720" rtlCol="0"/>
          <a:lstStyle>
            <a:lvl1pPr algn="r">
              <a:defRPr sz="1200"/>
            </a:lvl1pPr>
          </a:lstStyle>
          <a:p>
            <a:fld id="{6C7E4F11-7667-5045-A00B-01970EA44BB5}" type="datetimeFigureOut">
              <a:rPr lang="en-US" smtClean="0"/>
              <a:pPr/>
              <a:t>6/29/2023</a:t>
            </a:fld>
            <a:endParaRPr lang="en-US" dirty="0"/>
          </a:p>
        </p:txBody>
      </p:sp>
      <p:sp>
        <p:nvSpPr>
          <p:cNvPr id="4" name="Slide Image Placeholder 3"/>
          <p:cNvSpPr>
            <a:spLocks noGrp="1" noRot="1" noChangeAspect="1"/>
          </p:cNvSpPr>
          <p:nvPr>
            <p:ph type="sldImg" idx="2"/>
          </p:nvPr>
        </p:nvSpPr>
        <p:spPr>
          <a:xfrm>
            <a:off x="419100" y="703263"/>
            <a:ext cx="6238875" cy="350996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893296"/>
            <a:ext cx="3066733" cy="46815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704" y="8893296"/>
            <a:ext cx="3066733" cy="468154"/>
          </a:xfrm>
          <a:prstGeom prst="rect">
            <a:avLst/>
          </a:prstGeom>
        </p:spPr>
        <p:txBody>
          <a:bodyPr vert="horz" lIns="91440" tIns="45720" rIns="91440" bIns="45720" rtlCol="0" anchor="b"/>
          <a:lstStyle>
            <a:lvl1pPr algn="r">
              <a:defRPr sz="1200"/>
            </a:lvl1pPr>
          </a:lstStyle>
          <a:p>
            <a:fld id="{FAD751AE-7ABC-314D-AFAD-47B860ED6FFE}" type="slidenum">
              <a:rPr lang="en-US" smtClean="0"/>
              <a:pPr/>
              <a:t>‹#›</a:t>
            </a:fld>
            <a:endParaRPr lang="en-US" dirty="0"/>
          </a:p>
        </p:txBody>
      </p:sp>
    </p:spTree>
    <p:extLst>
      <p:ext uri="{BB962C8B-B14F-4D97-AF65-F5344CB8AC3E}">
        <p14:creationId xmlns:p14="http://schemas.microsoft.com/office/powerpoint/2010/main" val="156244540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r>
              <a:rPr lang="ru" b="1" dirty="0"/>
              <a:t>Key Takeaways:</a:t>
            </a:r>
          </a:p>
          <a:p>
            <a:pPr marL="187038" indent="-187038" rtl="0">
              <a:buFont typeface="Arial" panose="020B0604020202020204" pitchFamily="34" charset="0"/>
              <a:buChar char="•"/>
            </a:pPr>
            <a:r>
              <a:rPr lang="ru" dirty="0"/>
              <a:t>HER2 is 1 of 4 receptors in the HER family (HER1-4)</a:t>
            </a:r>
            <a:r>
              <a:rPr lang="ru" baseline="30000" dirty="0"/>
              <a:t>1</a:t>
            </a:r>
            <a:endParaRPr kumimoji="1" lang="en-US" dirty="0"/>
          </a:p>
          <a:p>
            <a:pPr marL="187038" indent="-187038" rtl="0">
              <a:buFont typeface="Arial" panose="020B0604020202020204" pitchFamily="34" charset="0"/>
              <a:buChar char="•"/>
            </a:pPr>
            <a:r>
              <a:rPr lang="ru" dirty="0"/>
              <a:t>HER1-4 are transmembrane receptor tyrosine kinases</a:t>
            </a:r>
            <a:r>
              <a:rPr lang="ru" baseline="30000" dirty="0"/>
              <a:t>2</a:t>
            </a:r>
          </a:p>
          <a:p>
            <a:pPr marL="187038" indent="-187038" rtl="0">
              <a:buFont typeface="Arial" panose="020B0604020202020204" pitchFamily="34" charset="0"/>
              <a:buChar char="•"/>
            </a:pPr>
            <a:r>
              <a:rPr lang="ru" dirty="0"/>
              <a:t>The HER structure is generally composed of an extracellular ligand-binding domain, a transmembrane domain, and an intracellular tyrosine kinase domain</a:t>
            </a:r>
            <a:r>
              <a:rPr lang="ru" baseline="30000" dirty="0"/>
              <a:t>1</a:t>
            </a:r>
          </a:p>
          <a:p>
            <a:pPr marL="187038" indent="-187038" rtl="0">
              <a:buFont typeface="Arial" panose="020B0604020202020204" pitchFamily="34" charset="0"/>
              <a:buChar char="•"/>
            </a:pPr>
            <a:r>
              <a:rPr lang="ru" dirty="0"/>
              <a:t>HER1, 3, and 4 are activated by binding of growth factor ligands</a:t>
            </a:r>
            <a:r>
              <a:rPr lang="ru" baseline="30000" dirty="0"/>
              <a:t>1,2</a:t>
            </a:r>
            <a:endParaRPr kumimoji="1" lang="en-US" dirty="0"/>
          </a:p>
          <a:p>
            <a:pPr marL="187038" indent="-187038" rtl="0">
              <a:buFont typeface="Arial" panose="020B0604020202020204" pitchFamily="34" charset="0"/>
              <a:buChar char="•"/>
            </a:pPr>
            <a:r>
              <a:rPr lang="ru" dirty="0"/>
              <a:t>HER2 has no known direct activating ligand and may exist in a constitutively active state</a:t>
            </a:r>
            <a:r>
              <a:rPr lang="ru" baseline="30000" dirty="0"/>
              <a:t>1,</a:t>
            </a:r>
          </a:p>
          <a:p>
            <a:pPr marL="187038" indent="-187038" rtl="0">
              <a:buFont typeface="Arial" panose="020B0604020202020204" pitchFamily="34" charset="0"/>
              <a:buChar char="•"/>
            </a:pPr>
            <a:r>
              <a:rPr lang="ru" dirty="0"/>
              <a:t>Ligand binding induces HER receptors to undergo homo- or heterodimerization and subsequent activation of their intracellular domains</a:t>
            </a:r>
            <a:r>
              <a:rPr lang="ru" baseline="30000" dirty="0"/>
              <a:t>1,3</a:t>
            </a:r>
          </a:p>
          <a:p>
            <a:pPr rtl="0"/>
            <a:endParaRPr lang="en-US" dirty="0"/>
          </a:p>
        </p:txBody>
      </p:sp>
      <p:sp>
        <p:nvSpPr>
          <p:cNvPr id="4" name="Номер слайда 3"/>
          <p:cNvSpPr>
            <a:spLocks noGrp="1"/>
          </p:cNvSpPr>
          <p:nvPr>
            <p:ph type="sldNum" sz="quarter" idx="5"/>
          </p:nvPr>
        </p:nvSpPr>
        <p:spPr/>
        <p:txBody>
          <a:bodyPr/>
          <a:lstStyle/>
          <a:p>
            <a:pPr marL="0" marR="0" lvl="0" indent="0" algn="r" defTabSz="1209145" rtl="0" eaLnBrk="1" fontAlgn="auto" latinLnBrk="0" hangingPunct="1">
              <a:lnSpc>
                <a:spcPct val="100000"/>
              </a:lnSpc>
              <a:spcBef>
                <a:spcPts val="0"/>
              </a:spcBef>
              <a:spcAft>
                <a:spcPts val="0"/>
              </a:spcAft>
              <a:buClrTx/>
              <a:buSzTx/>
              <a:buFontTx/>
              <a:buNone/>
              <a:tabLst/>
              <a:defRPr/>
            </a:pPr>
            <a:fld id="{75A7A9AC-F3F2-4BA7-9694-2E8F1C10C2D7}" type="slidenum">
              <a:rPr kumimoji="0" lang="ru-RU"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1209145"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465177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32</a:t>
            </a:fld>
            <a:endParaRPr lang="en-US" dirty="0"/>
          </a:p>
        </p:txBody>
      </p:sp>
    </p:spTree>
    <p:extLst>
      <p:ext uri="{BB962C8B-B14F-4D97-AF65-F5344CB8AC3E}">
        <p14:creationId xmlns:p14="http://schemas.microsoft.com/office/powerpoint/2010/main" val="4154578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36</a:t>
            </a:fld>
            <a:endParaRPr lang="en-US" dirty="0"/>
          </a:p>
        </p:txBody>
      </p:sp>
    </p:spTree>
    <p:extLst>
      <p:ext uri="{BB962C8B-B14F-4D97-AF65-F5344CB8AC3E}">
        <p14:creationId xmlns:p14="http://schemas.microsoft.com/office/powerpoint/2010/main" val="489567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310890"/>
          </a:xfrm>
        </p:spPr>
        <p:txBody>
          <a:bodyPr rtlCol="0"/>
          <a:lstStyle/>
          <a:p>
            <a:pPr rtl="0"/>
            <a:r>
              <a:rPr lang="ru" b="1"/>
              <a:t>Key Takeaways: </a:t>
            </a:r>
          </a:p>
          <a:p>
            <a:pPr marL="171450" indent="-171450" rtl="0">
              <a:buFont typeface="Arial" panose="020B0604020202020204" pitchFamily="34" charset="0"/>
              <a:buChar char="•"/>
            </a:pPr>
            <a:r>
              <a:rPr lang="ru"/>
              <a:t>Current NCCN, ESMO, and CAP/IASLC/AMP guidelines do not provide recommendations for testing for HER2 protein overexpression or gene amplification in patients with advanced NSCLC</a:t>
            </a:r>
            <a:r>
              <a:rPr lang="ru" baseline="30000"/>
              <a:t>1-4</a:t>
            </a:r>
            <a:endParaRPr lang="en-US" dirty="0"/>
          </a:p>
          <a:p>
            <a:pPr marL="171450" indent="-171450" rtl="0">
              <a:buFont typeface="Arial" panose="020B0604020202020204" pitchFamily="34" charset="0"/>
              <a:buChar char="•"/>
            </a:pPr>
            <a:r>
              <a:rPr lang="ru"/>
              <a:t>However, CAP/IASLC/AMP guidelines advise testing for </a:t>
            </a:r>
            <a:r>
              <a:rPr lang="ru" i="1"/>
              <a:t>HER2</a:t>
            </a:r>
            <a:r>
              <a:rPr lang="ru"/>
              <a:t> mutation can be included in any expanded or comprehensive panel if offered for patients with advanced lung cancer</a:t>
            </a:r>
            <a:r>
              <a:rPr lang="ru" baseline="30000"/>
              <a:t>1</a:t>
            </a:r>
            <a:endParaRPr lang="en-US" dirty="0"/>
          </a:p>
          <a:p>
            <a:pPr marL="171450" indent="-171450" rtl="0">
              <a:buFont typeface="Arial" panose="020B0604020202020204" pitchFamily="34" charset="0"/>
              <a:buChar char="•"/>
            </a:pPr>
            <a:r>
              <a:rPr lang="ru"/>
              <a:t>In addition to routine biomarker analysis, NCCN Guidelines advise broader molecular profiling to identify emerging biomarkers such as </a:t>
            </a:r>
            <a:r>
              <a:rPr lang="ru" i="1"/>
              <a:t>HER2</a:t>
            </a:r>
            <a:r>
              <a:rPr lang="ru"/>
              <a:t> mutations</a:t>
            </a:r>
            <a:r>
              <a:rPr lang="ru" baseline="30000"/>
              <a:t>2</a:t>
            </a:r>
            <a:endParaRPr lang="en-US" dirty="0"/>
          </a:p>
          <a:p>
            <a:pPr marL="171450" indent="-171450" rtl="0">
              <a:buFont typeface="Arial" panose="020B0604020202020204" pitchFamily="34" charset="0"/>
              <a:buChar char="•"/>
            </a:pPr>
            <a:endParaRPr lang="en-US" dirty="0"/>
          </a:p>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98E6C9E7-D88F-41AF-B27B-CCE2436A1C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xmlns="" id="{4C3B9BA6-6B88-4F9F-8768-AC87FBDF3E51}"/>
              </a:ext>
            </a:extLst>
          </p:cNvPr>
          <p:cNvSpPr/>
          <p:nvPr/>
        </p:nvSpPr>
        <p:spPr>
          <a:xfrm>
            <a:off x="952586" y="202109"/>
            <a:ext cx="1752852" cy="523220"/>
          </a:xfrm>
          <a:prstGeom prst="rect">
            <a:avLst/>
          </a:prstGeom>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a:ln>
                  <a:noFill/>
                </a:ln>
                <a:solidFill>
                  <a:prstClr val="black"/>
                </a:solidFill>
                <a:effectLst/>
                <a:uLnTx/>
                <a:uFillTx/>
                <a:latin typeface="Calibri" panose="020F0502020204030204"/>
                <a:ea typeface="+mn-ea"/>
                <a:cs typeface="+mn-cs"/>
              </a:rPr>
              <a:t>CAP/IASLC/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1/Lindeman/p330/col1/para1/ln4-11/ para2/ln1-11/ p339/col2/para2/ln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xmlns="" id="{81FB2301-6033-4573-8C91-1B3C945834F5}"/>
              </a:ext>
            </a:extLst>
          </p:cNvPr>
          <p:cNvSpPr/>
          <p:nvPr/>
        </p:nvSpPr>
        <p:spPr>
          <a:xfrm>
            <a:off x="2887769" y="190054"/>
            <a:ext cx="1752852" cy="446276"/>
          </a:xfrm>
          <a:prstGeom prst="rect">
            <a:avLst/>
          </a:prstGeom>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a:ln>
                  <a:noFill/>
                </a:ln>
                <a:solidFill>
                  <a:prstClr val="black"/>
                </a:solidFill>
                <a:effectLst/>
                <a:uLnTx/>
                <a:uFillTx/>
                <a:latin typeface="Calibri" panose="020F0502020204030204"/>
                <a:ea typeface="+mn-ea"/>
                <a:cs typeface="+mn-cs"/>
              </a:rPr>
              <a:t>NCC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2/</a:t>
            </a:r>
            <a:r>
              <a:rPr kumimoji="0" lang="ru" sz="800" b="0" i="0" u="none" strike="noStrike" kern="1200" cap="none" spc="0" normalizeH="0" baseline="0" noProof="0">
                <a:ln>
                  <a:noFill/>
                </a:ln>
                <a:solidFill>
                  <a:prstClr val="black"/>
                </a:solidFill>
                <a:effectLst/>
                <a:uLnTx/>
                <a:uFillTx/>
                <a:latin typeface="Calibri"/>
                <a:ea typeface="+mn-ea"/>
                <a:cs typeface="+mn-cs"/>
              </a:rPr>
              <a:t> NCCN NSCLC/V3 2021_Feb16/p99/col2/para2/ln1-16</a:t>
            </a:r>
            <a:endParaRPr kumimoji="0" lang="en-US" sz="700" b="0" i="0" u="none" strike="sngStrike" kern="1200" cap="none" spc="0" normalizeH="0" baseline="0" noProof="0" dirty="0">
              <a:ln>
                <a:noFill/>
              </a:ln>
              <a:solidFill>
                <a:prstClr val="black"/>
              </a:solidFill>
              <a:effectLst/>
              <a:highlight>
                <a:srgbClr val="FFFF00"/>
              </a:highligh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xmlns="" id="{3AE41755-E3B5-4AF0-9D4B-7A44552C389F}"/>
              </a:ext>
            </a:extLst>
          </p:cNvPr>
          <p:cNvSpPr/>
          <p:nvPr/>
        </p:nvSpPr>
        <p:spPr>
          <a:xfrm>
            <a:off x="4822952" y="244838"/>
            <a:ext cx="1752852" cy="523220"/>
          </a:xfrm>
          <a:prstGeom prst="rect">
            <a:avLst/>
          </a:prstGeom>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a:ln>
                  <a:noFill/>
                </a:ln>
                <a:solidFill>
                  <a:prstClr val="black"/>
                </a:solidFill>
                <a:effectLst/>
                <a:uLnTx/>
                <a:uFillTx/>
                <a:latin typeface="Calibri" panose="020F0502020204030204"/>
                <a:ea typeface="+mn-ea"/>
                <a:cs typeface="+mn-cs"/>
              </a:rPr>
              <a:t>ESM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3/Planchard/2018/piv194/Table1; piv218/Patients with NSCLC with other actionable oncogenic driver/Bullets2,5</a:t>
            </a:r>
          </a:p>
        </p:txBody>
      </p:sp>
      <p:sp>
        <p:nvSpPr>
          <p:cNvPr id="8" name="Rectangle 7">
            <a:extLst>
              <a:ext uri="{FF2B5EF4-FFF2-40B4-BE49-F238E27FC236}">
                <a16:creationId xmlns:a16="http://schemas.microsoft.com/office/drawing/2014/main" xmlns="" id="{7B10C05E-88AB-484C-9742-196C22B1FCE8}"/>
              </a:ext>
            </a:extLst>
          </p:cNvPr>
          <p:cNvSpPr/>
          <p:nvPr/>
        </p:nvSpPr>
        <p:spPr>
          <a:xfrm>
            <a:off x="6402388" y="1336000"/>
            <a:ext cx="684212" cy="2462213"/>
          </a:xfrm>
          <a:prstGeom prst="rect">
            <a:avLst/>
          </a:prstGeom>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a:ln>
                  <a:noFill/>
                </a:ln>
                <a:solidFill>
                  <a:prstClr val="black"/>
                </a:solidFill>
                <a:effectLst/>
                <a:uLnTx/>
                <a:uFillTx/>
                <a:latin typeface="Calibri" panose="020F0502020204030204"/>
                <a:ea typeface="+mn-ea"/>
                <a:cs typeface="+mn-cs"/>
              </a:rPr>
              <a:t>Bull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1/Lindeman/2018/p334/col2/para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2/NCCN NSCLCv3/2021_Feb16/ p99/col2/para2/ln1-15/ 3/Planchard/2018/piv218/Patients with NSCLC with other actionable oncogenic driver/Bullets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4/Pennell/2019/p532/col1/Table1; col2/para2,3</a:t>
            </a:r>
          </a:p>
        </p:txBody>
      </p:sp>
      <p:sp>
        <p:nvSpPr>
          <p:cNvPr id="10" name="Rectangle 9">
            <a:extLst>
              <a:ext uri="{FF2B5EF4-FFF2-40B4-BE49-F238E27FC236}">
                <a16:creationId xmlns:a16="http://schemas.microsoft.com/office/drawing/2014/main" xmlns="" id="{522F2C40-8D1C-4F60-B2B3-DCBF50575B69}"/>
              </a:ext>
            </a:extLst>
          </p:cNvPr>
          <p:cNvSpPr/>
          <p:nvPr/>
        </p:nvSpPr>
        <p:spPr>
          <a:xfrm>
            <a:off x="6128100" y="5054543"/>
            <a:ext cx="684212" cy="523220"/>
          </a:xfrm>
          <a:prstGeom prst="rect">
            <a:avLst/>
          </a:prstGeom>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a:ln>
                  <a:noFill/>
                </a:ln>
                <a:solidFill>
                  <a:prstClr val="black"/>
                </a:solidFill>
                <a:effectLst/>
                <a:uLnTx/>
                <a:uFillTx/>
                <a:latin typeface="Calibri" panose="020F0502020204030204"/>
                <a:ea typeface="+mn-ea"/>
                <a:cs typeface="+mn-cs"/>
              </a:rPr>
              <a:t>Bullet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1/Lindeman/2018/p334/col2/para5</a:t>
            </a:r>
          </a:p>
        </p:txBody>
      </p:sp>
      <p:sp>
        <p:nvSpPr>
          <p:cNvPr id="11" name="Rectangle 10">
            <a:extLst>
              <a:ext uri="{FF2B5EF4-FFF2-40B4-BE49-F238E27FC236}">
                <a16:creationId xmlns:a16="http://schemas.microsoft.com/office/drawing/2014/main" xmlns="" id="{5F43E185-83EE-42E1-9E7C-FD0231D91629}"/>
              </a:ext>
            </a:extLst>
          </p:cNvPr>
          <p:cNvSpPr/>
          <p:nvPr/>
        </p:nvSpPr>
        <p:spPr>
          <a:xfrm>
            <a:off x="6098650" y="5760643"/>
            <a:ext cx="759350" cy="815608"/>
          </a:xfrm>
          <a:prstGeom prst="rect">
            <a:avLst/>
          </a:prstGeom>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a:ln>
                  <a:noFill/>
                </a:ln>
                <a:solidFill>
                  <a:prstClr val="black"/>
                </a:solidFill>
                <a:effectLst/>
                <a:uLnTx/>
                <a:uFillTx/>
                <a:latin typeface="Calibri" panose="020F0502020204030204"/>
                <a:ea typeface="+mn-ea"/>
                <a:cs typeface="+mn-cs"/>
              </a:rPr>
              <a:t>Bullet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2/</a:t>
            </a:r>
            <a:r>
              <a:rPr kumimoji="0" lang="ru" sz="800" b="0" i="0" u="none" strike="noStrike" kern="1200" cap="none" spc="0" normalizeH="0" baseline="0" noProof="0">
                <a:ln>
                  <a:noFill/>
                </a:ln>
                <a:solidFill>
                  <a:prstClr val="black"/>
                </a:solidFill>
                <a:effectLst/>
                <a:uLnTx/>
                <a:uFillTx/>
                <a:latin typeface="Calibri"/>
                <a:ea typeface="+mn-ea"/>
                <a:cs typeface="+mn-cs"/>
              </a:rPr>
              <a:t>NCCN NSCLC/V3 2021_Feb16/p99/col2/para2/ln1-16</a:t>
            </a:r>
            <a:endParaRPr kumimoji="0" lang="en-US" sz="7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xmlns="" id="{E32CC4DC-D5F9-44FC-B39D-B0FE4C017619}"/>
              </a:ext>
            </a:extLst>
          </p:cNvPr>
          <p:cNvSpPr/>
          <p:nvPr/>
        </p:nvSpPr>
        <p:spPr>
          <a:xfrm>
            <a:off x="0" y="4367146"/>
            <a:ext cx="759351" cy="2539157"/>
          </a:xfrm>
          <a:prstGeom prst="rect">
            <a:avLst/>
          </a:prstGeom>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a:ln>
                  <a:noFill/>
                </a:ln>
                <a:solidFill>
                  <a:prstClr val="black"/>
                </a:solidFill>
                <a:effectLst/>
                <a:uLnTx/>
                <a:uFillTx/>
                <a:latin typeface="Calibri" panose="020F0502020204030204"/>
                <a:ea typeface="+mn-ea"/>
                <a:cs typeface="+mn-cs"/>
              </a:rPr>
              <a:t>Bullet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1/Lindeman/2018/p334/col2/para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2/ NCCN NSCLC/V3 2021_Feb16/p99/col2/para2/ln1-16</a:t>
            </a:r>
            <a:endParaRPr kumimoji="0" lang="en-US" sz="7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3/Planchard/2018/piv218/Patients with NSCLC with other actionable oncogenic driver/Bullets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prstClr val="black"/>
                </a:solidFill>
                <a:effectLst/>
                <a:uLnTx/>
                <a:uFillTx/>
                <a:latin typeface="Calibri" panose="020F0502020204030204"/>
                <a:ea typeface="+mn-ea"/>
                <a:cs typeface="+mn-cs"/>
              </a:rPr>
              <a:t>4/Pennell/2019/p532/col1/Table1; col2/para2,3</a:t>
            </a:r>
          </a:p>
        </p:txBody>
      </p:sp>
      <p:sp>
        <p:nvSpPr>
          <p:cNvPr id="13" name="Rectangle 12">
            <a:extLst>
              <a:ext uri="{FF2B5EF4-FFF2-40B4-BE49-F238E27FC236}">
                <a16:creationId xmlns:a16="http://schemas.microsoft.com/office/drawing/2014/main" xmlns="" id="{0D588090-640B-4AD3-A305-E4485064A4E2}"/>
              </a:ext>
            </a:extLst>
          </p:cNvPr>
          <p:cNvSpPr/>
          <p:nvPr/>
        </p:nvSpPr>
        <p:spPr>
          <a:xfrm>
            <a:off x="1262" y="8000925"/>
            <a:ext cx="6725541" cy="1338828"/>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0"/>
              </a:spcAft>
              <a:buClr>
                <a:prstClr val="black">
                  <a:lumMod val="50000"/>
                  <a:lumOff val="50000"/>
                </a:prstClr>
              </a:buClr>
              <a:buSzTx/>
              <a:buFontTx/>
              <a:buNone/>
              <a:tabLst/>
              <a:defRPr/>
            </a:pPr>
            <a:r>
              <a:rPr kumimoji="0" lang="ru" sz="900" b="1" i="0" u="none" strike="noStrike" kern="1200" cap="none" spc="0" normalizeH="0" baseline="0" noProof="0">
                <a:ln>
                  <a:noFill/>
                </a:ln>
                <a:solidFill>
                  <a:prstClr val="black"/>
                </a:solidFill>
                <a:effectLst/>
                <a:uLnTx/>
                <a:uFillTx/>
                <a:latin typeface="Calibri" panose="020F0502020204030204"/>
                <a:ea typeface="+mn-ea"/>
                <a:cs typeface="+mn-cs"/>
              </a:rPr>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900" b="1" i="0" u="none" strike="noStrike" kern="1200" cap="none" spc="0" normalizeH="0" baseline="0" noProof="0">
                <a:ln>
                  <a:noFill/>
                </a:ln>
                <a:solidFill>
                  <a:prstClr val="black"/>
                </a:solidFill>
                <a:effectLst/>
                <a:uLnTx/>
                <a:uFillTx/>
                <a:latin typeface="Calibri" panose="020F0502020204030204"/>
                <a:ea typeface="+mn-ea"/>
                <a:cs typeface="+mn-cs"/>
              </a:rPr>
              <a:t>1. </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Lindeman NI, Cagle PT, Aisner DL, et al. Updated molecular testing guideline for the selection of lung cancer patients for treatment with targeted tyrosine kinase inhibitors: guideline from the College of American Pathologists, the International Association for the Study of Lung Cancer, and the Association for Molecular Pathology. </a:t>
            </a:r>
            <a:r>
              <a:rPr kumimoji="0" lang="ru" sz="900" b="0" i="1" u="none" strike="noStrike" kern="1200" cap="none" spc="0" normalizeH="0" baseline="0" noProof="0">
                <a:ln>
                  <a:noFill/>
                </a:ln>
                <a:solidFill>
                  <a:prstClr val="black"/>
                </a:solidFill>
                <a:effectLst/>
                <a:uLnTx/>
                <a:uFillTx/>
                <a:latin typeface="Calibri" panose="020F0502020204030204"/>
                <a:ea typeface="+mn-ea"/>
                <a:cs typeface="+mn-cs"/>
              </a:rPr>
              <a:t>J Thoracic Oncol. </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2018;13(3):323-358. </a:t>
            </a:r>
            <a:r>
              <a:rPr kumimoji="0" lang="ru" sz="900" b="1" i="0" u="none" strike="noStrike" kern="1200" cap="none" spc="0" normalizeH="0" baseline="0" noProof="0">
                <a:ln>
                  <a:noFill/>
                </a:ln>
                <a:solidFill>
                  <a:prstClr val="black"/>
                </a:solidFill>
                <a:effectLst/>
                <a:uLnTx/>
                <a:uFillTx/>
                <a:latin typeface="Calibri" panose="020F0502020204030204"/>
                <a:ea typeface="+mn-ea"/>
                <a:cs typeface="+mn-cs"/>
              </a:rPr>
              <a:t>2. </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Referenced with permission from the NCCN Clinical Practice Guidelines in Oncology (NCCN Guidelines®) for Non Small Cell Lung Cancer V3.2021. ©National Comprehensive Cancer Network, Inc 2021. All rights reserved. Accessed February 16, 2021. To view the most recent and complete version of the guideline, go online to NCCN.org. </a:t>
            </a:r>
            <a:r>
              <a:rPr kumimoji="0" lang="ru" sz="900" b="1" i="0" u="none" strike="noStrike" kern="1200" cap="none" spc="0" normalizeH="0" baseline="0" noProof="0">
                <a:ln>
                  <a:noFill/>
                </a:ln>
                <a:solidFill>
                  <a:prstClr val="black"/>
                </a:solidFill>
                <a:effectLst/>
                <a:uLnTx/>
                <a:uFillTx/>
                <a:latin typeface="Calibri" panose="020F0502020204030204"/>
                <a:ea typeface="+mn-ea"/>
                <a:cs typeface="+mn-cs"/>
              </a:rPr>
              <a:t>3. </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Planchard D, Popat S, Kerr K, et al. Metastatic non-small cell lung cancer: ESMO Clinical Practice Guidelines for diagnosis, treatment and follow-up. </a:t>
            </a:r>
            <a:r>
              <a:rPr kumimoji="0" lang="ru" sz="900" b="0" i="1" u="none" strike="noStrike" kern="1200" cap="none" spc="0" normalizeH="0" baseline="0" noProof="0">
                <a:ln>
                  <a:noFill/>
                </a:ln>
                <a:solidFill>
                  <a:prstClr val="black"/>
                </a:solidFill>
                <a:effectLst/>
                <a:uLnTx/>
                <a:uFillTx/>
                <a:latin typeface="Calibri" panose="020F0502020204030204"/>
                <a:ea typeface="+mn-ea"/>
                <a:cs typeface="+mn-cs"/>
              </a:rPr>
              <a:t>Ann Oncol</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 2018;29(suppl 4):iv192-iv237. </a:t>
            </a:r>
            <a:r>
              <a:rPr kumimoji="0" lang="ru" sz="900" b="1" i="0" u="none" strike="noStrike" kern="1200" cap="none" spc="0" normalizeH="0" baseline="0" noProof="0">
                <a:ln>
                  <a:noFill/>
                </a:ln>
                <a:solidFill>
                  <a:prstClr val="black"/>
                </a:solidFill>
                <a:effectLst/>
                <a:uLnTx/>
                <a:uFillTx/>
                <a:latin typeface="Calibri" panose="020F0502020204030204"/>
                <a:ea typeface="+mn-ea"/>
                <a:cs typeface="+mn-cs"/>
              </a:rPr>
              <a:t>4. </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Pennell NA, Arcila ME, Gandara DR, West H. Biomarker testing for patients with advanced non–small cell lung cancer: real-world issues and tough choices. </a:t>
            </a:r>
            <a:r>
              <a:rPr kumimoji="0" lang="ru" sz="900" b="0" i="1" u="none" strike="noStrike" kern="1200" cap="none" spc="0" normalizeH="0" baseline="0" noProof="0">
                <a:ln>
                  <a:noFill/>
                </a:ln>
                <a:solidFill>
                  <a:prstClr val="black"/>
                </a:solidFill>
                <a:effectLst/>
                <a:uLnTx/>
                <a:uFillTx/>
                <a:latin typeface="Calibri" panose="020F0502020204030204"/>
                <a:ea typeface="+mn-ea"/>
                <a:cs typeface="+mn-cs"/>
              </a:rPr>
              <a:t>Am Soc Clin Oncol Educ Book</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 2019;39:531-542. </a:t>
            </a:r>
          </a:p>
        </p:txBody>
      </p:sp>
    </p:spTree>
    <p:extLst>
      <p:ext uri="{BB962C8B-B14F-4D97-AF65-F5344CB8AC3E}">
        <p14:creationId xmlns:p14="http://schemas.microsoft.com/office/powerpoint/2010/main" val="16351010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lnSpc>
                <a:spcPct val="95000"/>
              </a:lnSpc>
              <a:spcAft>
                <a:spcPts val="0"/>
              </a:spcAft>
            </a:pPr>
            <a:r>
              <a:rPr lang="ru" sz="1000" b="1" dirty="0"/>
              <a:t>Key Takeaways: </a:t>
            </a:r>
          </a:p>
          <a:p>
            <a:pPr marL="176131" indent="-176131" rtl="0">
              <a:lnSpc>
                <a:spcPct val="95000"/>
              </a:lnSpc>
              <a:spcAft>
                <a:spcPts val="0"/>
              </a:spcAft>
              <a:buFont typeface="Arial" panose="020B0604020202020204" pitchFamily="34" charset="0"/>
              <a:buChar char="•"/>
            </a:pPr>
            <a:r>
              <a:rPr lang="ru" sz="1000" dirty="0"/>
              <a:t>The majority of lung adenocarcinoma cases are associated with a genetic oncogenic alteration</a:t>
            </a:r>
            <a:r>
              <a:rPr lang="ru" sz="1000" baseline="30000" dirty="0"/>
              <a:t>1</a:t>
            </a:r>
            <a:endParaRPr lang="en-US" sz="1000" dirty="0"/>
          </a:p>
          <a:p>
            <a:pPr marL="645812" lvl="1" indent="-176131" rtl="0">
              <a:lnSpc>
                <a:spcPct val="95000"/>
              </a:lnSpc>
              <a:spcAft>
                <a:spcPts val="0"/>
              </a:spcAft>
              <a:buFont typeface="Arial" panose="020B0604020202020204" pitchFamily="34" charset="0"/>
              <a:buChar char="•"/>
            </a:pPr>
            <a:r>
              <a:rPr lang="ru" sz="1000" dirty="0"/>
              <a:t>Of patients with advanced NSCLC, up to 69% have a potentially actionable molecular target</a:t>
            </a:r>
            <a:r>
              <a:rPr lang="ru" sz="1000" baseline="30000" dirty="0"/>
              <a:t>2</a:t>
            </a:r>
            <a:endParaRPr lang="en-US" sz="1000" dirty="0"/>
          </a:p>
          <a:p>
            <a:pPr marL="176131" indent="-176131" rtl="0">
              <a:lnSpc>
                <a:spcPct val="95000"/>
              </a:lnSpc>
              <a:spcAft>
                <a:spcPts val="0"/>
              </a:spcAft>
              <a:buFont typeface="Arial" panose="020B0604020202020204" pitchFamily="34" charset="0"/>
              <a:buChar char="•"/>
            </a:pPr>
            <a:r>
              <a:rPr lang="ru" sz="1000" dirty="0"/>
              <a:t>HER2, also known as ERBB2 alterations in lung cancer, include</a:t>
            </a:r>
            <a:r>
              <a:rPr lang="ru" sz="1000" baseline="30000" dirty="0"/>
              <a:t>3</a:t>
            </a:r>
            <a:r>
              <a:rPr lang="ru" sz="1000" dirty="0"/>
              <a:t>:</a:t>
            </a:r>
          </a:p>
          <a:p>
            <a:pPr marL="645812" lvl="1" indent="-176131" rtl="0">
              <a:lnSpc>
                <a:spcPct val="95000"/>
              </a:lnSpc>
              <a:spcAft>
                <a:spcPts val="0"/>
              </a:spcAft>
              <a:buFont typeface="Arial" panose="020B0604020202020204" pitchFamily="34" charset="0"/>
              <a:buChar char="•"/>
            </a:pPr>
            <a:r>
              <a:rPr lang="ru" sz="1000" dirty="0"/>
              <a:t>2%-4% of </a:t>
            </a:r>
            <a:r>
              <a:rPr lang="ru" sz="1000" i="1" dirty="0"/>
              <a:t>HER2 </a:t>
            </a:r>
            <a:r>
              <a:rPr lang="ru" sz="1000" dirty="0"/>
              <a:t>gene mutations</a:t>
            </a:r>
            <a:r>
              <a:rPr lang="ru" sz="1000" baseline="30000" dirty="0"/>
              <a:t>3-6</a:t>
            </a:r>
            <a:endParaRPr lang="en-US" sz="1000" dirty="0"/>
          </a:p>
          <a:p>
            <a:pPr marL="645812" lvl="1" indent="-176131" rtl="0">
              <a:lnSpc>
                <a:spcPct val="95000"/>
              </a:lnSpc>
              <a:spcAft>
                <a:spcPts val="0"/>
              </a:spcAft>
              <a:buFont typeface="Arial" panose="020B0604020202020204" pitchFamily="34" charset="0"/>
              <a:buChar char="•"/>
            </a:pPr>
            <a:r>
              <a:rPr lang="ru" sz="1000" dirty="0"/>
              <a:t>10%-20% of </a:t>
            </a:r>
            <a:r>
              <a:rPr lang="ru" sz="1000" i="1" dirty="0"/>
              <a:t>HER2 </a:t>
            </a:r>
            <a:r>
              <a:rPr lang="ru" sz="1000" dirty="0"/>
              <a:t>gene amplification</a:t>
            </a:r>
            <a:r>
              <a:rPr lang="ru" sz="1000" baseline="30000" dirty="0"/>
              <a:t>3,7-9</a:t>
            </a:r>
            <a:endParaRPr lang="en-US" sz="1000" dirty="0"/>
          </a:p>
          <a:p>
            <a:pPr marL="645812" lvl="1" indent="-176131" rtl="0">
              <a:lnSpc>
                <a:spcPct val="95000"/>
              </a:lnSpc>
              <a:spcAft>
                <a:spcPts val="0"/>
              </a:spcAft>
              <a:buFont typeface="Arial" panose="020B0604020202020204" pitchFamily="34" charset="0"/>
              <a:buChar char="•"/>
            </a:pPr>
            <a:r>
              <a:rPr lang="ru" sz="1000" dirty="0"/>
              <a:t>6%-35% of HER2 protein overexpression—prevalence of HER2 overexpression varied depending on criteria used to define protein overexpression</a:t>
            </a:r>
            <a:r>
              <a:rPr lang="ru" sz="1000" baseline="30000" dirty="0"/>
              <a:t>3,10-12</a:t>
            </a:r>
            <a:endParaRPr lang="en-US" sz="1000" dirty="0"/>
          </a:p>
          <a:p>
            <a:pPr marL="188612" indent="-176131" rtl="0">
              <a:lnSpc>
                <a:spcPct val="95000"/>
              </a:lnSpc>
              <a:spcAft>
                <a:spcPts val="0"/>
              </a:spcAft>
              <a:buFont typeface="Arial" panose="020B0604020202020204" pitchFamily="34" charset="0"/>
              <a:buChar char="•"/>
            </a:pPr>
            <a:r>
              <a:rPr lang="ru" sz="1000" dirty="0"/>
              <a:t>Concordance between HER2 IHC and ISH in cases with HER2 IHC scores 0/1+ or 3+ could be important because these cases are confirmed without additional ISH tests. Approximately 2%-6% of NSCLC cases are HER2 IHC 3+, with most cases falling between IHC 0/1+ through 2+</a:t>
            </a:r>
            <a:r>
              <a:rPr lang="ru" sz="1000" baseline="30000" dirty="0"/>
              <a:t>13</a:t>
            </a:r>
          </a:p>
          <a:p>
            <a:pPr marL="645812" lvl="1" indent="-176131" rtl="0">
              <a:lnSpc>
                <a:spcPct val="95000"/>
              </a:lnSpc>
              <a:spcAft>
                <a:spcPts val="0"/>
              </a:spcAft>
              <a:buFont typeface="Arial" panose="020B0604020202020204" pitchFamily="34" charset="0"/>
              <a:buChar char="•"/>
            </a:pPr>
            <a:r>
              <a:rPr lang="ru" sz="1000" dirty="0"/>
              <a:t>Discordance of HER2 IHC and ISH could arise due to several factors (eg, ISH methods, IHC antibodies/methods, specimen types, and molecular tests)</a:t>
            </a:r>
            <a:endParaRPr lang="en-US" sz="1000" baseline="30000" dirty="0"/>
          </a:p>
          <a:p>
            <a:pPr marL="188612" indent="-176131" rtl="0">
              <a:lnSpc>
                <a:spcPct val="95000"/>
              </a:lnSpc>
              <a:spcAft>
                <a:spcPts val="0"/>
              </a:spcAft>
              <a:buFont typeface="Arial" panose="020B0604020202020204" pitchFamily="34" charset="0"/>
              <a:buChar char="•"/>
            </a:pPr>
            <a:r>
              <a:rPr lang="ru" sz="1000" dirty="0"/>
              <a:t>A review of 7 studies including 1217 patients showed an overall concordance rate of 0.795 between HER2 overexpression (IHC) and gene amplification (ISH). HER2 IHC was well concordant with ISH at low IHC scores. However, IHC 2+ scores show much lower concordance with ISH</a:t>
            </a:r>
            <a:r>
              <a:rPr lang="ru" sz="1000" baseline="30000" dirty="0"/>
              <a:t>13</a:t>
            </a:r>
          </a:p>
          <a:p>
            <a:pPr marL="645812" lvl="1" indent="-176131" rtl="0">
              <a:lnSpc>
                <a:spcPct val="95000"/>
              </a:lnSpc>
              <a:spcAft>
                <a:spcPts val="0"/>
              </a:spcAft>
              <a:buFont typeface="Arial" panose="020B0604020202020204" pitchFamily="34" charset="0"/>
              <a:buChar char="•"/>
            </a:pPr>
            <a:r>
              <a:rPr lang="ru" sz="1000" dirty="0"/>
              <a:t>Agreement rates between HER2 IHC and ISH were used to calculate concordance rates</a:t>
            </a:r>
          </a:p>
          <a:p>
            <a:pPr marL="188612" lvl="0" indent="-176131" rtl="0">
              <a:lnSpc>
                <a:spcPct val="95000"/>
              </a:lnSpc>
              <a:spcAft>
                <a:spcPts val="0"/>
              </a:spcAft>
              <a:buFont typeface="Arial" panose="020B0604020202020204" pitchFamily="34" charset="0"/>
              <a:buChar char="•"/>
            </a:pPr>
            <a:r>
              <a:rPr lang="ru" sz="1000" dirty="0"/>
              <a:t>There was no difference in concordance rates between FISH and chromogenic in situ hybridization (CISH).</a:t>
            </a:r>
            <a:r>
              <a:rPr lang="ru" sz="1000" baseline="30000" dirty="0"/>
              <a:t>13</a:t>
            </a:r>
            <a:r>
              <a:rPr lang="ru" sz="1000" dirty="0"/>
              <a:t> Silver in situ hybridization (SISH) is also commonly used in laboratories.</a:t>
            </a:r>
            <a:r>
              <a:rPr lang="ru" sz="1000" baseline="30000" dirty="0"/>
              <a:t> </a:t>
            </a:r>
            <a:r>
              <a:rPr lang="ru" sz="1000" dirty="0"/>
              <a:t>Dual ISH is used in breast cancer but is still experimental in NSCLC</a:t>
            </a:r>
            <a:r>
              <a:rPr lang="ru" sz="1000" baseline="30000" dirty="0"/>
              <a:t>14</a:t>
            </a:r>
          </a:p>
          <a:p>
            <a:pPr marL="469681" lvl="1" rtl="0">
              <a:lnSpc>
                <a:spcPct val="95000"/>
              </a:lnSpc>
              <a:spcAft>
                <a:spcPts val="0"/>
              </a:spcAft>
            </a:pPr>
            <a:endParaRPr lang="en-US" sz="1000" dirty="0"/>
          </a:p>
          <a:p>
            <a:endParaRPr lang="ru-RU" dirty="0"/>
          </a:p>
        </p:txBody>
      </p:sp>
      <p:sp>
        <p:nvSpPr>
          <p:cNvPr id="4" name="Номер слайда 3"/>
          <p:cNvSpPr>
            <a:spLocks noGrp="1"/>
          </p:cNvSpPr>
          <p:nvPr>
            <p:ph type="sldNum" sz="quarter" idx="5"/>
          </p:nvPr>
        </p:nvSpPr>
        <p:spPr/>
        <p:txBody>
          <a:bodyPr/>
          <a:lstStyle/>
          <a:p>
            <a:fld id="{54783FA0-D77B-49D9-B090-1A08F987D3C7}" type="slidenum">
              <a:rPr lang="ru-RU" smtClean="0"/>
              <a:t>39</a:t>
            </a:fld>
            <a:endParaRPr lang="ru-RU"/>
          </a:p>
        </p:txBody>
      </p:sp>
    </p:spTree>
    <p:extLst>
      <p:ext uri="{BB962C8B-B14F-4D97-AF65-F5344CB8AC3E}">
        <p14:creationId xmlns:p14="http://schemas.microsoft.com/office/powerpoint/2010/main" val="1666385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42</a:t>
            </a:fld>
            <a:endParaRPr lang="en-US" dirty="0"/>
          </a:p>
        </p:txBody>
      </p:sp>
    </p:spTree>
    <p:extLst>
      <p:ext uri="{BB962C8B-B14F-4D97-AF65-F5344CB8AC3E}">
        <p14:creationId xmlns:p14="http://schemas.microsoft.com/office/powerpoint/2010/main" val="35564438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dirty="0">
                <a:ln>
                  <a:noFill/>
                </a:ln>
                <a:solidFill>
                  <a:prstClr val="black"/>
                </a:solidFill>
                <a:effectLst/>
                <a:uLnTx/>
                <a:uFillTx/>
                <a:latin typeface="Calibri"/>
                <a:ea typeface="+mn-ea"/>
                <a:cs typeface="+mn-cs"/>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1200" b="0" i="1" u="none" strike="noStrike" kern="1200" cap="none" spc="0" normalizeH="0" baseline="0" noProof="0" dirty="0">
                <a:ln>
                  <a:noFill/>
                </a:ln>
                <a:solidFill>
                  <a:prstClr val="black"/>
                </a:solidFill>
                <a:effectLst/>
                <a:uLnTx/>
                <a:uFillTx/>
                <a:latin typeface="Calibri"/>
                <a:ea typeface="+mn-ea"/>
                <a:cs typeface="+mn-cs"/>
              </a:rPr>
              <a:t>[Dr Longshore to speak to slide, huge detail on mutations isn’t needed but please highlight anything that is consider in clinical decision making etc]</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endParaRPr lang="ru-RU" dirty="0"/>
          </a:p>
        </p:txBody>
      </p:sp>
      <p:sp>
        <p:nvSpPr>
          <p:cNvPr id="4" name="Номер слайда 3"/>
          <p:cNvSpPr>
            <a:spLocks noGrp="1"/>
          </p:cNvSpPr>
          <p:nvPr>
            <p:ph type="sldNum" sz="quarter" idx="5"/>
          </p:nvPr>
        </p:nvSpPr>
        <p:spPr/>
        <p:txBody>
          <a:bodyPr/>
          <a:lstStyle/>
          <a:p>
            <a:fld id="{54783FA0-D77B-49D9-B090-1A08F987D3C7}" type="slidenum">
              <a:rPr lang="ru-RU" smtClean="0"/>
              <a:t>43</a:t>
            </a:fld>
            <a:endParaRPr lang="ru-RU"/>
          </a:p>
        </p:txBody>
      </p:sp>
    </p:spTree>
    <p:extLst>
      <p:ext uri="{BB962C8B-B14F-4D97-AF65-F5344CB8AC3E}">
        <p14:creationId xmlns:p14="http://schemas.microsoft.com/office/powerpoint/2010/main" val="14009408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r>
              <a:rPr lang="ru" b="1" dirty="0"/>
              <a:t>Key Takeaways: </a:t>
            </a:r>
          </a:p>
          <a:p>
            <a:pPr marL="171450" indent="-171450" rtl="0">
              <a:buFont typeface="Arial" panose="020B0604020202020204" pitchFamily="34" charset="0"/>
              <a:buChar char="•"/>
            </a:pPr>
            <a:r>
              <a:rPr lang="ru" i="1" dirty="0"/>
              <a:t>HER2 </a:t>
            </a:r>
            <a:r>
              <a:rPr lang="ru" dirty="0"/>
              <a:t>mutation status in NSCLC is currently not routinely assessed by a single-gene test due to a lack of targeted therapies</a:t>
            </a:r>
            <a:r>
              <a:rPr lang="ru" baseline="30000" dirty="0"/>
              <a:t>1</a:t>
            </a:r>
            <a:r>
              <a:rPr lang="ru" dirty="0"/>
              <a:t> </a:t>
            </a:r>
          </a:p>
          <a:p>
            <a:pPr marL="171450" indent="-171450" rtl="0">
              <a:buFont typeface="Arial" panose="020B0604020202020204" pitchFamily="34" charset="0"/>
              <a:buChar char="•"/>
            </a:pPr>
            <a:r>
              <a:rPr lang="ru" dirty="0"/>
              <a:t>As part of broader molecular profiling, NGS can identify </a:t>
            </a:r>
            <a:r>
              <a:rPr lang="ru" i="1" dirty="0"/>
              <a:t>HER2</a:t>
            </a:r>
            <a:r>
              <a:rPr lang="ru" dirty="0"/>
              <a:t> mutation status in NSCLC</a:t>
            </a:r>
            <a:r>
              <a:rPr lang="ru" baseline="30000" dirty="0"/>
              <a:t>1</a:t>
            </a:r>
            <a:r>
              <a:rPr lang="ru" dirty="0"/>
              <a:t> </a:t>
            </a:r>
          </a:p>
          <a:p>
            <a:pPr marL="628650" lvl="1" indent="-171450" rtl="0">
              <a:buFont typeface="Arial" panose="020B0604020202020204" pitchFamily="34" charset="0"/>
              <a:buChar char="•"/>
            </a:pPr>
            <a:r>
              <a:rPr lang="ru" dirty="0"/>
              <a:t>NGS is an established method for identification of HER2 alterations, which also allows for simultaneous testing of other driver alternations</a:t>
            </a:r>
            <a:r>
              <a:rPr lang="ru" baseline="30000" dirty="0"/>
              <a:t>2</a:t>
            </a:r>
            <a:endParaRPr lang="en-US" dirty="0"/>
          </a:p>
          <a:p>
            <a:pPr marL="171450" indent="-171450" rtl="0">
              <a:buFont typeface="Arial" panose="020B0604020202020204" pitchFamily="34" charset="0"/>
              <a:buChar char="•"/>
            </a:pPr>
            <a:r>
              <a:rPr lang="ru" dirty="0"/>
              <a:t>Additionally, IHC and FISH are tissue-based assays used to quantify the amount of HER2 protein and copies of the </a:t>
            </a:r>
            <a:r>
              <a:rPr lang="ru" i="1" dirty="0"/>
              <a:t>HER2</a:t>
            </a:r>
            <a:r>
              <a:rPr lang="ru" dirty="0"/>
              <a:t> gene in NSCLC</a:t>
            </a:r>
            <a:r>
              <a:rPr lang="ru" baseline="30000" dirty="0"/>
              <a:t>2</a:t>
            </a:r>
            <a:endParaRPr lang="en-US" dirty="0"/>
          </a:p>
          <a:p>
            <a:pPr rtl="0"/>
            <a:endParaRPr lang="en-US" dirty="0"/>
          </a:p>
          <a:p>
            <a:endParaRPr lang="ru-RU" dirty="0"/>
          </a:p>
        </p:txBody>
      </p:sp>
      <p:sp>
        <p:nvSpPr>
          <p:cNvPr id="4" name="Номер слайда 3"/>
          <p:cNvSpPr>
            <a:spLocks noGrp="1"/>
          </p:cNvSpPr>
          <p:nvPr>
            <p:ph type="sldNum" sz="quarter" idx="5"/>
          </p:nvPr>
        </p:nvSpPr>
        <p:spPr/>
        <p:txBody>
          <a:bodyPr/>
          <a:lstStyle/>
          <a:p>
            <a:fld id="{54783FA0-D77B-49D9-B090-1A08F987D3C7}" type="slidenum">
              <a:rPr lang="ru-RU" smtClean="0"/>
              <a:t>44</a:t>
            </a:fld>
            <a:endParaRPr lang="ru-RU"/>
          </a:p>
        </p:txBody>
      </p:sp>
    </p:spTree>
    <p:extLst>
      <p:ext uri="{BB962C8B-B14F-4D97-AF65-F5344CB8AC3E}">
        <p14:creationId xmlns:p14="http://schemas.microsoft.com/office/powerpoint/2010/main" val="2520382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r>
              <a:rPr lang="ru" b="1" dirty="0"/>
              <a:t>Key Takeaways: </a:t>
            </a:r>
          </a:p>
          <a:p>
            <a:pPr marL="171450" indent="-171450" rtl="0">
              <a:buFont typeface="Arial" panose="020B0604020202020204" pitchFamily="34" charset="0"/>
              <a:buChar char="•"/>
            </a:pPr>
            <a:r>
              <a:rPr lang="ru" dirty="0"/>
              <a:t>Adenocarcinoma even with bronchoalveolar features, high morphologic grade and peculiar clinical presentations such as disseminated lung nodules and tumor excavation are specific clinicopathological features of NSCLC with </a:t>
            </a:r>
            <a:r>
              <a:rPr lang="ru" i="1" dirty="0"/>
              <a:t>HER2</a:t>
            </a:r>
            <a:r>
              <a:rPr lang="ru" dirty="0"/>
              <a:t> mutations</a:t>
            </a:r>
            <a:r>
              <a:rPr lang="ru" baseline="30000" dirty="0"/>
              <a:t>1</a:t>
            </a:r>
            <a:r>
              <a:rPr lang="ru" dirty="0"/>
              <a:t> </a:t>
            </a:r>
          </a:p>
          <a:p>
            <a:pPr marL="171450" indent="-171450" rtl="0">
              <a:buFont typeface="Arial" panose="020B0604020202020204" pitchFamily="34" charset="0"/>
              <a:buChar char="•"/>
            </a:pPr>
            <a:r>
              <a:rPr lang="ru" dirty="0"/>
              <a:t>There is a similar prevalence of </a:t>
            </a:r>
            <a:r>
              <a:rPr lang="ru" i="1" dirty="0"/>
              <a:t>HER2 </a:t>
            </a:r>
            <a:r>
              <a:rPr lang="ru" dirty="0"/>
              <a:t>mutations in Asian and Caucasian populations. Additionally, being female, a younger age at diagnosis and never smoking are all features of patients with mutated </a:t>
            </a:r>
            <a:r>
              <a:rPr lang="ru" i="1" dirty="0"/>
              <a:t>HER2</a:t>
            </a:r>
            <a:r>
              <a:rPr lang="ru" baseline="30000" dirty="0"/>
              <a:t>2,3</a:t>
            </a:r>
            <a:r>
              <a:rPr lang="ru" dirty="0"/>
              <a:t> </a:t>
            </a:r>
          </a:p>
          <a:p>
            <a:pPr marL="171450" indent="-171450" rtl="0">
              <a:buFont typeface="Arial" panose="020B0604020202020204" pitchFamily="34" charset="0"/>
              <a:buChar char="•"/>
            </a:pPr>
            <a:r>
              <a:rPr lang="ru" i="1" dirty="0"/>
              <a:t>HER2 </a:t>
            </a:r>
            <a:r>
              <a:rPr lang="ru" dirty="0"/>
              <a:t>mutations can lead to a conformational or functional change in the resultant encoded protein</a:t>
            </a:r>
            <a:r>
              <a:rPr lang="ru" baseline="30000" dirty="0"/>
              <a:t>4</a:t>
            </a:r>
            <a:endParaRPr lang="en-US" dirty="0"/>
          </a:p>
          <a:p>
            <a:pPr marL="171450" indent="-171450" rtl="0">
              <a:buFont typeface="Arial" panose="020B0604020202020204" pitchFamily="34" charset="0"/>
              <a:buChar char="•"/>
            </a:pPr>
            <a:r>
              <a:rPr lang="ru" dirty="0"/>
              <a:t>Somatic mutations primarily consist of exon 20 insertions</a:t>
            </a:r>
            <a:r>
              <a:rPr lang="ru" baseline="30000" dirty="0"/>
              <a:t>2</a:t>
            </a:r>
            <a:endParaRPr lang="en-US" dirty="0"/>
          </a:p>
          <a:p>
            <a:pPr marL="171450" indent="-171450" rtl="0">
              <a:buFont typeface="Arial" panose="020B0604020202020204" pitchFamily="34" charset="0"/>
              <a:buChar char="•"/>
            </a:pPr>
            <a:r>
              <a:rPr lang="ru" dirty="0"/>
              <a:t>Predominantly mutually exclusive of other potentially actionable oncogenic drivers</a:t>
            </a:r>
            <a:r>
              <a:rPr lang="ru" baseline="30000" dirty="0"/>
              <a:t>2,5</a:t>
            </a:r>
          </a:p>
          <a:p>
            <a:pPr marL="171450" indent="-171450" rtl="0">
              <a:buFont typeface="Arial" panose="020B0604020202020204" pitchFamily="34" charset="0"/>
              <a:buChar char="•"/>
            </a:pPr>
            <a:r>
              <a:rPr lang="ru" dirty="0"/>
              <a:t>Can be detected using NGS</a:t>
            </a:r>
            <a:r>
              <a:rPr lang="ru" baseline="30000" dirty="0"/>
              <a:t>6</a:t>
            </a:r>
            <a:endParaRPr lang="en-US" dirty="0"/>
          </a:p>
          <a:p>
            <a:endParaRPr lang="ru-RU" dirty="0"/>
          </a:p>
        </p:txBody>
      </p:sp>
      <p:sp>
        <p:nvSpPr>
          <p:cNvPr id="4" name="Номер слайда 3"/>
          <p:cNvSpPr>
            <a:spLocks noGrp="1"/>
          </p:cNvSpPr>
          <p:nvPr>
            <p:ph type="sldNum" sz="quarter" idx="5"/>
          </p:nvPr>
        </p:nvSpPr>
        <p:spPr/>
        <p:txBody>
          <a:bodyPr/>
          <a:lstStyle/>
          <a:p>
            <a:fld id="{54783FA0-D77B-49D9-B090-1A08F987D3C7}" type="slidenum">
              <a:rPr lang="ru-RU" smtClean="0"/>
              <a:t>45</a:t>
            </a:fld>
            <a:endParaRPr lang="ru-RU"/>
          </a:p>
        </p:txBody>
      </p:sp>
    </p:spTree>
    <p:extLst>
      <p:ext uri="{BB962C8B-B14F-4D97-AF65-F5344CB8AC3E}">
        <p14:creationId xmlns:p14="http://schemas.microsoft.com/office/powerpoint/2010/main" val="3904147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r>
              <a:rPr lang="ru" b="1" dirty="0"/>
              <a:t>Key Takeaways: </a:t>
            </a:r>
          </a:p>
          <a:p>
            <a:pPr marL="171450" indent="-171450" rtl="0">
              <a:buFont typeface="Arial" panose="020B0604020202020204" pitchFamily="34" charset="0"/>
              <a:buChar char="•"/>
            </a:pPr>
            <a:r>
              <a:rPr lang="ru" dirty="0"/>
              <a:t>HER2 alterations are a marker of poor prognosis in NSCLC</a:t>
            </a:r>
            <a:r>
              <a:rPr lang="ru" baseline="30000" dirty="0"/>
              <a:t>1</a:t>
            </a:r>
          </a:p>
          <a:p>
            <a:pPr marL="171450" indent="-171450" rtl="0">
              <a:buFont typeface="Arial" panose="020B0604020202020204" pitchFamily="34" charset="0"/>
              <a:buChar char="•"/>
            </a:pPr>
            <a:r>
              <a:rPr lang="ru" dirty="0"/>
              <a:t>In a prospective study of 920 patients with advanced lung adenocarcinoma, patients with </a:t>
            </a:r>
            <a:r>
              <a:rPr lang="ru" i="1" dirty="0"/>
              <a:t>HER2 </a:t>
            </a:r>
            <a:r>
              <a:rPr lang="ru" dirty="0"/>
              <a:t>mutated advanced NSCLC were associated with lower median overall survival compared with patients with other oncogenic drivers</a:t>
            </a:r>
            <a:r>
              <a:rPr lang="ru" baseline="30000" dirty="0"/>
              <a:t>2</a:t>
            </a:r>
            <a:endParaRPr lang="en-US" dirty="0"/>
          </a:p>
          <a:p>
            <a:pPr marL="171450" indent="-171450" rtl="0">
              <a:buFont typeface="Arial" panose="020B0604020202020204" pitchFamily="34" charset="0"/>
              <a:buChar char="•"/>
            </a:pPr>
            <a:r>
              <a:rPr lang="ru" dirty="0"/>
              <a:t>In another study of 468 patients with advanced NSCLC evaluating survival outcomes in patients with </a:t>
            </a:r>
            <a:r>
              <a:rPr lang="ru" i="1" dirty="0"/>
              <a:t>HER2</a:t>
            </a:r>
            <a:r>
              <a:rPr lang="ru" dirty="0"/>
              <a:t> mutations (mOS 19 months) vs other known alterations, median overall survival appeared shorter in </a:t>
            </a:r>
            <a:r>
              <a:rPr lang="ru" i="1" dirty="0"/>
              <a:t>HER2 </a:t>
            </a:r>
            <a:r>
              <a:rPr lang="ru" dirty="0"/>
              <a:t>mutated patients compared to those with </a:t>
            </a:r>
            <a:r>
              <a:rPr lang="ru" i="1" dirty="0"/>
              <a:t>EGFR</a:t>
            </a:r>
            <a:r>
              <a:rPr lang="ru" dirty="0"/>
              <a:t> mutations (mOS 30 months) or </a:t>
            </a:r>
            <a:r>
              <a:rPr lang="ru" i="1" dirty="0"/>
              <a:t>ALK</a:t>
            </a:r>
            <a:r>
              <a:rPr lang="ru" dirty="0"/>
              <a:t> rearrangements (mOS 25 months)</a:t>
            </a:r>
            <a:r>
              <a:rPr lang="ru" baseline="30000" dirty="0"/>
              <a:t>3</a:t>
            </a:r>
            <a:r>
              <a:rPr lang="ru" dirty="0"/>
              <a:t> </a:t>
            </a:r>
          </a:p>
          <a:p>
            <a:pPr rtl="0"/>
            <a:endParaRPr lang="en-US" dirty="0"/>
          </a:p>
          <a:p>
            <a:endParaRPr lang="ru-RU" dirty="0"/>
          </a:p>
        </p:txBody>
      </p:sp>
      <p:sp>
        <p:nvSpPr>
          <p:cNvPr id="4" name="Номер слайда 3"/>
          <p:cNvSpPr>
            <a:spLocks noGrp="1"/>
          </p:cNvSpPr>
          <p:nvPr>
            <p:ph type="sldNum" sz="quarter" idx="5"/>
          </p:nvPr>
        </p:nvSpPr>
        <p:spPr/>
        <p:txBody>
          <a:bodyPr/>
          <a:lstStyle/>
          <a:p>
            <a:fld id="{54783FA0-D77B-49D9-B090-1A08F987D3C7}" type="slidenum">
              <a:rPr lang="ru-RU" smtClean="0"/>
              <a:t>46</a:t>
            </a:fld>
            <a:endParaRPr lang="ru-RU"/>
          </a:p>
        </p:txBody>
      </p:sp>
    </p:spTree>
    <p:extLst>
      <p:ext uri="{BB962C8B-B14F-4D97-AF65-F5344CB8AC3E}">
        <p14:creationId xmlns:p14="http://schemas.microsoft.com/office/powerpoint/2010/main" val="18745968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rtl="0">
              <a:lnSpc>
                <a:spcPct val="95000"/>
              </a:lnSpc>
              <a:spcAft>
                <a:spcPts val="0"/>
              </a:spcAft>
            </a:pPr>
            <a:r>
              <a:rPr lang="ru" sz="1000" b="1" dirty="0"/>
              <a:t>Key Takeaways: </a:t>
            </a:r>
          </a:p>
          <a:p>
            <a:pPr marL="176131" indent="-176131" rtl="0">
              <a:lnSpc>
                <a:spcPct val="95000"/>
              </a:lnSpc>
              <a:spcAft>
                <a:spcPts val="0"/>
              </a:spcAft>
              <a:buFont typeface="Arial" panose="020B0604020202020204" pitchFamily="34" charset="0"/>
              <a:buChar char="•"/>
            </a:pPr>
            <a:r>
              <a:rPr lang="ru" sz="1000" dirty="0"/>
              <a:t>The majority of lung adenocarcinoma cases are associated with a genetic oncogenic alteration</a:t>
            </a:r>
            <a:r>
              <a:rPr lang="ru" sz="1000" baseline="30000" dirty="0"/>
              <a:t>1</a:t>
            </a:r>
            <a:endParaRPr lang="en-US" sz="1000" dirty="0"/>
          </a:p>
          <a:p>
            <a:pPr marL="645812" lvl="1" indent="-176131" rtl="0">
              <a:lnSpc>
                <a:spcPct val="95000"/>
              </a:lnSpc>
              <a:spcAft>
                <a:spcPts val="0"/>
              </a:spcAft>
              <a:buFont typeface="Arial" panose="020B0604020202020204" pitchFamily="34" charset="0"/>
              <a:buChar char="•"/>
            </a:pPr>
            <a:r>
              <a:rPr lang="ru" sz="1000" dirty="0"/>
              <a:t>Of patients with advanced NSCLC, up to 69% have a potentially actionable molecular target</a:t>
            </a:r>
            <a:r>
              <a:rPr lang="ru" sz="1000" baseline="30000" dirty="0"/>
              <a:t>2</a:t>
            </a:r>
            <a:endParaRPr lang="en-US" sz="1000" dirty="0"/>
          </a:p>
          <a:p>
            <a:pPr marL="176131" indent="-176131" rtl="0">
              <a:lnSpc>
                <a:spcPct val="95000"/>
              </a:lnSpc>
              <a:spcAft>
                <a:spcPts val="0"/>
              </a:spcAft>
              <a:buFont typeface="Arial" panose="020B0604020202020204" pitchFamily="34" charset="0"/>
              <a:buChar char="•"/>
            </a:pPr>
            <a:r>
              <a:rPr lang="ru" sz="1000" dirty="0"/>
              <a:t>HER2, also known as ERBB2 alterations in lung cancer, include</a:t>
            </a:r>
            <a:r>
              <a:rPr lang="ru" sz="1000" baseline="30000" dirty="0"/>
              <a:t>3</a:t>
            </a:r>
            <a:r>
              <a:rPr lang="ru" sz="1000" dirty="0"/>
              <a:t>:</a:t>
            </a:r>
          </a:p>
          <a:p>
            <a:pPr marL="645812" lvl="1" indent="-176131" rtl="0">
              <a:lnSpc>
                <a:spcPct val="95000"/>
              </a:lnSpc>
              <a:spcAft>
                <a:spcPts val="0"/>
              </a:spcAft>
              <a:buFont typeface="Arial" panose="020B0604020202020204" pitchFamily="34" charset="0"/>
              <a:buChar char="•"/>
            </a:pPr>
            <a:r>
              <a:rPr lang="ru" sz="1000" dirty="0"/>
              <a:t>2%-4% of </a:t>
            </a:r>
            <a:r>
              <a:rPr lang="ru" sz="1000" i="1" dirty="0"/>
              <a:t>HER2 </a:t>
            </a:r>
            <a:r>
              <a:rPr lang="ru" sz="1000" dirty="0"/>
              <a:t>gene mutations</a:t>
            </a:r>
            <a:r>
              <a:rPr lang="ru" sz="1000" baseline="30000" dirty="0"/>
              <a:t>3-6</a:t>
            </a:r>
            <a:endParaRPr lang="en-US" sz="1000" dirty="0"/>
          </a:p>
          <a:p>
            <a:pPr marL="645812" lvl="1" indent="-176131" rtl="0">
              <a:lnSpc>
                <a:spcPct val="95000"/>
              </a:lnSpc>
              <a:spcAft>
                <a:spcPts val="0"/>
              </a:spcAft>
              <a:buFont typeface="Arial" panose="020B0604020202020204" pitchFamily="34" charset="0"/>
              <a:buChar char="•"/>
            </a:pPr>
            <a:r>
              <a:rPr lang="ru" sz="1000" dirty="0"/>
              <a:t>10%-20% of </a:t>
            </a:r>
            <a:r>
              <a:rPr lang="ru" sz="1000" i="1" dirty="0"/>
              <a:t>HER2 </a:t>
            </a:r>
            <a:r>
              <a:rPr lang="ru" sz="1000" dirty="0"/>
              <a:t>gene amplification</a:t>
            </a:r>
            <a:r>
              <a:rPr lang="ru" sz="1000" baseline="30000" dirty="0"/>
              <a:t>3,7-9</a:t>
            </a:r>
            <a:endParaRPr lang="en-US" sz="1000" dirty="0"/>
          </a:p>
          <a:p>
            <a:pPr marL="645812" lvl="1" indent="-176131" rtl="0">
              <a:lnSpc>
                <a:spcPct val="95000"/>
              </a:lnSpc>
              <a:spcAft>
                <a:spcPts val="0"/>
              </a:spcAft>
              <a:buFont typeface="Arial" panose="020B0604020202020204" pitchFamily="34" charset="0"/>
              <a:buChar char="•"/>
            </a:pPr>
            <a:r>
              <a:rPr lang="ru" sz="1000" dirty="0"/>
              <a:t>6%-35% of HER2 protein overexpression—prevalence of HER2 overexpression varied depending on criteria used to define protein overexpression</a:t>
            </a:r>
            <a:r>
              <a:rPr lang="ru" sz="1000" baseline="30000" dirty="0"/>
              <a:t>3,10-12</a:t>
            </a:r>
            <a:endParaRPr lang="en-US" sz="1000" dirty="0"/>
          </a:p>
          <a:p>
            <a:pPr marL="188612" indent="-176131" rtl="0">
              <a:lnSpc>
                <a:spcPct val="95000"/>
              </a:lnSpc>
              <a:spcAft>
                <a:spcPts val="0"/>
              </a:spcAft>
              <a:buFont typeface="Arial" panose="020B0604020202020204" pitchFamily="34" charset="0"/>
              <a:buChar char="•"/>
            </a:pPr>
            <a:r>
              <a:rPr lang="ru" sz="1000" dirty="0"/>
              <a:t>Concordance between HER2 IHC and ISH in cases with HER2 IHC scores 0/1+ or 3+ could be important because these cases are confirmed without additional ISH tests. Approximately 2%-6% of NSCLC cases are HER2 IHC 3+, with most cases falling between IHC 0/1+ through 2+</a:t>
            </a:r>
            <a:r>
              <a:rPr lang="ru" sz="1000" baseline="30000" dirty="0"/>
              <a:t>13</a:t>
            </a:r>
          </a:p>
          <a:p>
            <a:pPr marL="645812" lvl="1" indent="-176131" rtl="0">
              <a:lnSpc>
                <a:spcPct val="95000"/>
              </a:lnSpc>
              <a:spcAft>
                <a:spcPts val="0"/>
              </a:spcAft>
              <a:buFont typeface="Arial" panose="020B0604020202020204" pitchFamily="34" charset="0"/>
              <a:buChar char="•"/>
            </a:pPr>
            <a:r>
              <a:rPr lang="ru" sz="1000" dirty="0"/>
              <a:t>Discordance of HER2 IHC and ISH could arise due to several factors (eg, ISH methods, IHC antibodies/methods, specimen types, and molecular tests)</a:t>
            </a:r>
            <a:endParaRPr lang="en-US" sz="1000" baseline="30000" dirty="0"/>
          </a:p>
          <a:p>
            <a:pPr marL="188612" indent="-176131" rtl="0">
              <a:lnSpc>
                <a:spcPct val="95000"/>
              </a:lnSpc>
              <a:spcAft>
                <a:spcPts val="0"/>
              </a:spcAft>
              <a:buFont typeface="Arial" panose="020B0604020202020204" pitchFamily="34" charset="0"/>
              <a:buChar char="•"/>
            </a:pPr>
            <a:r>
              <a:rPr lang="ru" sz="1000" dirty="0"/>
              <a:t>A review of 7 studies including 1217 patients showed an overall concordance rate of 0.795 between HER2 overexpression (IHC) and gene amplification (ISH). HER2 IHC was well concordant with ISH at low IHC scores. However, IHC 2+ scores show much lower concordance with ISH</a:t>
            </a:r>
            <a:r>
              <a:rPr lang="ru" sz="1000" baseline="30000" dirty="0"/>
              <a:t>13</a:t>
            </a:r>
          </a:p>
          <a:p>
            <a:pPr marL="645812" lvl="1" indent="-176131" rtl="0">
              <a:lnSpc>
                <a:spcPct val="95000"/>
              </a:lnSpc>
              <a:spcAft>
                <a:spcPts val="0"/>
              </a:spcAft>
              <a:buFont typeface="Arial" panose="020B0604020202020204" pitchFamily="34" charset="0"/>
              <a:buChar char="•"/>
            </a:pPr>
            <a:r>
              <a:rPr lang="ru" sz="1000" dirty="0"/>
              <a:t>Agreement rates between HER2 IHC and ISH were used to calculate concordance rates</a:t>
            </a:r>
          </a:p>
          <a:p>
            <a:pPr marL="188612" lvl="0" indent="-176131" rtl="0">
              <a:lnSpc>
                <a:spcPct val="95000"/>
              </a:lnSpc>
              <a:spcAft>
                <a:spcPts val="0"/>
              </a:spcAft>
              <a:buFont typeface="Arial" panose="020B0604020202020204" pitchFamily="34" charset="0"/>
              <a:buChar char="•"/>
            </a:pPr>
            <a:r>
              <a:rPr lang="ru" sz="1000" dirty="0"/>
              <a:t>There was no difference in concordance rates between FISH and chromogenic in situ hybridization (CISH).</a:t>
            </a:r>
            <a:r>
              <a:rPr lang="ru" sz="1000" baseline="30000" dirty="0"/>
              <a:t>13</a:t>
            </a:r>
            <a:r>
              <a:rPr lang="ru" sz="1000" dirty="0"/>
              <a:t> Silver in situ hybridization (SISH) is also commonly used in laboratories.</a:t>
            </a:r>
            <a:r>
              <a:rPr lang="ru" sz="1000" baseline="30000" dirty="0"/>
              <a:t> </a:t>
            </a:r>
            <a:r>
              <a:rPr lang="ru" sz="1000" dirty="0"/>
              <a:t>Dual ISH is used in breast cancer but is still experimental in NSCLC</a:t>
            </a:r>
            <a:r>
              <a:rPr lang="ru" sz="1000" baseline="30000" dirty="0"/>
              <a:t>14</a:t>
            </a:r>
          </a:p>
          <a:p>
            <a:pPr marL="469681" lvl="1" rtl="0">
              <a:lnSpc>
                <a:spcPct val="95000"/>
              </a:lnSpc>
              <a:spcAft>
                <a:spcPts val="0"/>
              </a:spcAft>
            </a:pPr>
            <a:endParaRPr lang="en-US" sz="1000" dirty="0"/>
          </a:p>
          <a:p>
            <a:endParaRPr lang="ru-RU" dirty="0"/>
          </a:p>
        </p:txBody>
      </p:sp>
      <p:sp>
        <p:nvSpPr>
          <p:cNvPr id="4" name="Номер слайда 3"/>
          <p:cNvSpPr>
            <a:spLocks noGrp="1"/>
          </p:cNvSpPr>
          <p:nvPr>
            <p:ph type="sldNum" sz="quarter" idx="5"/>
          </p:nvPr>
        </p:nvSpPr>
        <p:spPr/>
        <p:txBody>
          <a:bodyPr/>
          <a:lstStyle/>
          <a:p>
            <a:fld id="{54783FA0-D77B-49D9-B090-1A08F987D3C7}" type="slidenum">
              <a:rPr lang="ru-RU" smtClean="0"/>
              <a:t>47</a:t>
            </a:fld>
            <a:endParaRPr lang="ru-RU"/>
          </a:p>
        </p:txBody>
      </p:sp>
    </p:spTree>
    <p:extLst>
      <p:ext uri="{BB962C8B-B14F-4D97-AF65-F5344CB8AC3E}">
        <p14:creationId xmlns:p14="http://schemas.microsoft.com/office/powerpoint/2010/main" val="4231028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6</a:t>
            </a:fld>
            <a:endParaRPr lang="en-US" dirty="0"/>
          </a:p>
        </p:txBody>
      </p:sp>
    </p:spTree>
    <p:extLst>
      <p:ext uri="{BB962C8B-B14F-4D97-AF65-F5344CB8AC3E}">
        <p14:creationId xmlns:p14="http://schemas.microsoft.com/office/powerpoint/2010/main" val="2191884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smtClean="0"/>
              <a:t>Трастузумаб</a:t>
            </a:r>
            <a:r>
              <a:rPr lang="ru-RU" dirty="0" smtClean="0"/>
              <a:t> </a:t>
            </a:r>
            <a:r>
              <a:rPr lang="ru-RU" dirty="0" err="1" smtClean="0"/>
              <a:t>дерустекан</a:t>
            </a:r>
            <a:endParaRPr lang="ru-RU" dirty="0"/>
          </a:p>
        </p:txBody>
      </p:sp>
      <p:sp>
        <p:nvSpPr>
          <p:cNvPr id="4" name="Номер слайда 3"/>
          <p:cNvSpPr>
            <a:spLocks noGrp="1"/>
          </p:cNvSpPr>
          <p:nvPr>
            <p:ph type="sldNum" sz="quarter" idx="10"/>
          </p:nvPr>
        </p:nvSpPr>
        <p:spPr/>
        <p:txBody>
          <a:bodyPr/>
          <a:lstStyle/>
          <a:p>
            <a:fld id="{FAD751AE-7ABC-314D-AFAD-47B860ED6FFE}" type="slidenum">
              <a:rPr lang="en-US" smtClean="0"/>
              <a:pPr/>
              <a:t>48</a:t>
            </a:fld>
            <a:endParaRPr lang="en-US" dirty="0"/>
          </a:p>
        </p:txBody>
      </p:sp>
    </p:spTree>
    <p:extLst>
      <p:ext uri="{BB962C8B-B14F-4D97-AF65-F5344CB8AC3E}">
        <p14:creationId xmlns:p14="http://schemas.microsoft.com/office/powerpoint/2010/main" val="39088667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49</a:t>
            </a:fld>
            <a:endParaRPr lang="en-US" dirty="0"/>
          </a:p>
        </p:txBody>
      </p:sp>
    </p:spTree>
    <p:extLst>
      <p:ext uri="{BB962C8B-B14F-4D97-AF65-F5344CB8AC3E}">
        <p14:creationId xmlns:p14="http://schemas.microsoft.com/office/powerpoint/2010/main" val="35989587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smtClean="0"/>
              <a:t>Трастузумаб</a:t>
            </a:r>
            <a:r>
              <a:rPr lang="ru-RU" dirty="0" smtClean="0"/>
              <a:t> </a:t>
            </a:r>
            <a:r>
              <a:rPr lang="ru-RU" dirty="0" err="1" smtClean="0"/>
              <a:t>дерустекан</a:t>
            </a:r>
            <a:endParaRPr lang="ru-RU" dirty="0"/>
          </a:p>
        </p:txBody>
      </p:sp>
      <p:sp>
        <p:nvSpPr>
          <p:cNvPr id="4" name="Номер слайда 3"/>
          <p:cNvSpPr>
            <a:spLocks noGrp="1"/>
          </p:cNvSpPr>
          <p:nvPr>
            <p:ph type="sldNum" sz="quarter" idx="10"/>
          </p:nvPr>
        </p:nvSpPr>
        <p:spPr/>
        <p:txBody>
          <a:bodyPr/>
          <a:lstStyle/>
          <a:p>
            <a:fld id="{FAD751AE-7ABC-314D-AFAD-47B860ED6FFE}" type="slidenum">
              <a:rPr lang="en-US" smtClean="0"/>
              <a:pPr/>
              <a:t>50</a:t>
            </a:fld>
            <a:endParaRPr lang="en-US" dirty="0"/>
          </a:p>
        </p:txBody>
      </p:sp>
    </p:spTree>
    <p:extLst>
      <p:ext uri="{BB962C8B-B14F-4D97-AF65-F5344CB8AC3E}">
        <p14:creationId xmlns:p14="http://schemas.microsoft.com/office/powerpoint/2010/main" val="3908866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13</a:t>
            </a:fld>
            <a:endParaRPr lang="en-US" dirty="0"/>
          </a:p>
        </p:txBody>
      </p:sp>
    </p:spTree>
    <p:extLst>
      <p:ext uri="{BB962C8B-B14F-4D97-AF65-F5344CB8AC3E}">
        <p14:creationId xmlns:p14="http://schemas.microsoft.com/office/powerpoint/2010/main" val="3132317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14</a:t>
            </a:fld>
            <a:endParaRPr lang="en-US" dirty="0"/>
          </a:p>
        </p:txBody>
      </p:sp>
    </p:spTree>
    <p:extLst>
      <p:ext uri="{BB962C8B-B14F-4D97-AF65-F5344CB8AC3E}">
        <p14:creationId xmlns:p14="http://schemas.microsoft.com/office/powerpoint/2010/main" val="3522080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15</a:t>
            </a:fld>
            <a:endParaRPr lang="en-US" dirty="0"/>
          </a:p>
        </p:txBody>
      </p:sp>
    </p:spTree>
    <p:extLst>
      <p:ext uri="{BB962C8B-B14F-4D97-AF65-F5344CB8AC3E}">
        <p14:creationId xmlns:p14="http://schemas.microsoft.com/office/powerpoint/2010/main" val="2619809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17</a:t>
            </a:fld>
            <a:endParaRPr lang="en-US" dirty="0"/>
          </a:p>
        </p:txBody>
      </p:sp>
    </p:spTree>
    <p:extLst>
      <p:ext uri="{BB962C8B-B14F-4D97-AF65-F5344CB8AC3E}">
        <p14:creationId xmlns:p14="http://schemas.microsoft.com/office/powerpoint/2010/main" val="13580280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20</a:t>
            </a:fld>
            <a:endParaRPr lang="en-US" dirty="0"/>
          </a:p>
        </p:txBody>
      </p:sp>
    </p:spTree>
    <p:extLst>
      <p:ext uri="{BB962C8B-B14F-4D97-AF65-F5344CB8AC3E}">
        <p14:creationId xmlns:p14="http://schemas.microsoft.com/office/powerpoint/2010/main" val="776131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25</a:t>
            </a:fld>
            <a:endParaRPr lang="en-US" dirty="0"/>
          </a:p>
        </p:txBody>
      </p:sp>
    </p:spTree>
    <p:extLst>
      <p:ext uri="{BB962C8B-B14F-4D97-AF65-F5344CB8AC3E}">
        <p14:creationId xmlns:p14="http://schemas.microsoft.com/office/powerpoint/2010/main" val="3035750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27</a:t>
            </a:fld>
            <a:endParaRPr lang="en-US" dirty="0"/>
          </a:p>
        </p:txBody>
      </p:sp>
    </p:spTree>
    <p:extLst>
      <p:ext uri="{BB962C8B-B14F-4D97-AF65-F5344CB8AC3E}">
        <p14:creationId xmlns:p14="http://schemas.microsoft.com/office/powerpoint/2010/main" val="11910890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5.jp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2.jpeg"/><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3.jpeg"/><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4.jpe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5.jpg"/><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7.jpeg"/><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8.jpe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0.jpeg"/><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2.jpeg"/><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7.jpe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8.jpeg"/><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5.emf"/><Relationship Id="rId4" Type="http://schemas.openxmlformats.org/officeDocument/2006/relationships/oleObject" Target="../embeddings/oleObject2.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5.jpg"/><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6.jpg"/><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4.jpeg"/><Relationship Id="rId1" Type="http://schemas.openxmlformats.org/officeDocument/2006/relationships/slideMaster" Target="../slideMasters/slideMaster17.xml"/><Relationship Id="rId4" Type="http://schemas.openxmlformats.org/officeDocument/2006/relationships/slide" Target="../slides/slide38.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7.xml"/><Relationship Id="rId4" Type="http://schemas.openxmlformats.org/officeDocument/2006/relationships/slide" Target="../slides/slide38.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jpeg"/><Relationship Id="rId1" Type="http://schemas.openxmlformats.org/officeDocument/2006/relationships/slideMaster" Target="../slideMasters/slideMaster17.xml"/><Relationship Id="rId4" Type="http://schemas.openxmlformats.org/officeDocument/2006/relationships/slide" Target="../slides/slide38.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jpeg"/><Relationship Id="rId1" Type="http://schemas.openxmlformats.org/officeDocument/2006/relationships/slideMaster" Target="../slideMasters/slideMaster17.xml"/><Relationship Id="rId4" Type="http://schemas.openxmlformats.org/officeDocument/2006/relationships/slide" Target="../slides/slide3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jpeg"/><Relationship Id="rId1" Type="http://schemas.openxmlformats.org/officeDocument/2006/relationships/slideMaster" Target="../slideMasters/slideMaster17.xml"/><Relationship Id="rId4" Type="http://schemas.openxmlformats.org/officeDocument/2006/relationships/slide" Target="../slides/slide3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3.jpeg"/><Relationship Id="rId1" Type="http://schemas.openxmlformats.org/officeDocument/2006/relationships/slideMaster" Target="../slideMasters/slideMaster17.xml"/><Relationship Id="rId4" Type="http://schemas.openxmlformats.org/officeDocument/2006/relationships/slide" Target="../slides/slide3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25.jpg"/><Relationship Id="rId1" Type="http://schemas.openxmlformats.org/officeDocument/2006/relationships/slideMaster" Target="../slideMasters/slideMaster17.xml"/><Relationship Id="rId4" Type="http://schemas.openxmlformats.org/officeDocument/2006/relationships/slide" Target="../slides/slide38.xml"/></Relationships>
</file>

<file path=ppt/slideLayouts/_rels/slideLayout27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17.xml"/><Relationship Id="rId1" Type="http://schemas.openxmlformats.org/officeDocument/2006/relationships/tags" Target="../tags/tag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Master" Target="../slideMasters/slideMaster17.xml"/><Relationship Id="rId1" Type="http://schemas.openxmlformats.org/officeDocument/2006/relationships/tags" Target="../tags/tag7.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 Target="../slides/slide39.xml"/><Relationship Id="rId1"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9.xml"/><Relationship Id="rId4" Type="http://schemas.openxmlformats.org/officeDocument/2006/relationships/image" Target="../media/image52.pn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9.xml"/><Relationship Id="rId4" Type="http://schemas.openxmlformats.org/officeDocument/2006/relationships/image" Target="../media/image52.pn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9.xml"/><Relationship Id="rId4" Type="http://schemas.openxmlformats.org/officeDocument/2006/relationships/image" Target="../media/image53.png"/></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9.xml"/><Relationship Id="rId4" Type="http://schemas.openxmlformats.org/officeDocument/2006/relationships/image" Target="../media/image5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9.xml"/><Relationship Id="rId4" Type="http://schemas.openxmlformats.org/officeDocument/2006/relationships/image" Target="../media/image53.pn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7.png"/><Relationship Id="rId1" Type="http://schemas.openxmlformats.org/officeDocument/2006/relationships/slideMaster" Target="../slideMasters/slideMaster19.xml"/><Relationship Id="rId4" Type="http://schemas.openxmlformats.org/officeDocument/2006/relationships/image" Target="../media/image58.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png"/><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0.png"/><Relationship Id="rId1" Type="http://schemas.openxmlformats.org/officeDocument/2006/relationships/slideMaster" Target="../slideMasters/slideMaster19.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19.xml"/><Relationship Id="rId4" Type="http://schemas.openxmlformats.org/officeDocument/2006/relationships/image" Target="../media/image52.pn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0.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2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20.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2.jpeg"/><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2.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2.jpeg"/><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Master" Target="../slideMasters/slideMaster23.xml"/><Relationship Id="rId4" Type="http://schemas.openxmlformats.org/officeDocument/2006/relationships/image" Target="../media/image76.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9.jpeg"/><Relationship Id="rId1" Type="http://schemas.openxmlformats.org/officeDocument/2006/relationships/slideMaster" Target="../slideMasters/slideMaster23.xml"/><Relationship Id="rId4" Type="http://schemas.openxmlformats.org/officeDocument/2006/relationships/image" Target="../media/image76.pn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80.jpeg"/><Relationship Id="rId1" Type="http://schemas.openxmlformats.org/officeDocument/2006/relationships/slideMaster" Target="../slideMasters/slideMaster23.xml"/><Relationship Id="rId4" Type="http://schemas.openxmlformats.org/officeDocument/2006/relationships/image" Target="../media/image76.pn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81.jpeg"/><Relationship Id="rId1" Type="http://schemas.openxmlformats.org/officeDocument/2006/relationships/slideMaster" Target="../slideMasters/slideMaster23.xml"/><Relationship Id="rId4" Type="http://schemas.openxmlformats.org/officeDocument/2006/relationships/image" Target="../media/image76.pn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81.jpeg"/><Relationship Id="rId1" Type="http://schemas.openxmlformats.org/officeDocument/2006/relationships/slideMaster" Target="../slideMasters/slideMaster23.xml"/><Relationship Id="rId4" Type="http://schemas.openxmlformats.org/officeDocument/2006/relationships/image" Target="../media/image76.png"/></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3.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0.jpeg"/><Relationship Id="rId1" Type="http://schemas.openxmlformats.org/officeDocument/2006/relationships/slideMaster" Target="../slideMasters/slideMaster23.xml"/><Relationship Id="rId4" Type="http://schemas.openxmlformats.org/officeDocument/2006/relationships/image" Target="../media/image76.pn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4.png"/><Relationship Id="rId1" Type="http://schemas.openxmlformats.org/officeDocument/2006/relationships/slideMaster" Target="../slideMasters/slideMaster23.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3.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3.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10.emf"/><Relationship Id="rId1" Type="http://schemas.openxmlformats.org/officeDocument/2006/relationships/slideMaster" Target="../slideMasters/slideMaster23.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6.jpeg"/><Relationship Id="rId1" Type="http://schemas.openxmlformats.org/officeDocument/2006/relationships/slideMaster" Target="../slideMasters/slideMaster23.xml"/><Relationship Id="rId4" Type="http://schemas.openxmlformats.org/officeDocument/2006/relationships/image" Target="../media/image85.png"/></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6.jpeg"/><Relationship Id="rId1" Type="http://schemas.openxmlformats.org/officeDocument/2006/relationships/slideMaster" Target="../slideMasters/slideMaster23.xml"/><Relationship Id="rId4" Type="http://schemas.openxmlformats.org/officeDocument/2006/relationships/image" Target="../media/image85.png"/></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6.jpeg"/><Relationship Id="rId1" Type="http://schemas.openxmlformats.org/officeDocument/2006/relationships/slideMaster" Target="../slideMasters/slideMaster23.xml"/><Relationship Id="rId4" Type="http://schemas.openxmlformats.org/officeDocument/2006/relationships/image" Target="../media/image85.pn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86.jpeg"/><Relationship Id="rId1" Type="http://schemas.openxmlformats.org/officeDocument/2006/relationships/slideMaster" Target="../slideMasters/slideMaster23.xml"/><Relationship Id="rId5" Type="http://schemas.openxmlformats.org/officeDocument/2006/relationships/image" Target="../media/image85.png"/><Relationship Id="rId4" Type="http://schemas.openxmlformats.org/officeDocument/2006/relationships/image" Target="../media/image76.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2977861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1422112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arma_Science_3">
    <p:spTree>
      <p:nvGrpSpPr>
        <p:cNvPr id="1" name=""/>
        <p:cNvGrpSpPr/>
        <p:nvPr/>
      </p:nvGrpSpPr>
      <p:grpSpPr>
        <a:xfrm>
          <a:off x="0" y="0"/>
          <a:ext cx="0" cy="0"/>
          <a:chOff x="0" y="0"/>
          <a:chExt cx="0" cy="0"/>
        </a:xfrm>
      </p:grpSpPr>
      <p:pic>
        <p:nvPicPr>
          <p:cNvPr id="5" name="Picture 4" descr="A picture containing cake, tree, reef, indoor&#10;&#10;Description automatically generated">
            <a:extLst>
              <a:ext uri="{FF2B5EF4-FFF2-40B4-BE49-F238E27FC236}">
                <a16:creationId xmlns:a16="http://schemas.microsoft.com/office/drawing/2014/main" xmlns="" id="{D76CA433-D431-E044-8CA9-F947822F2520}"/>
              </a:ext>
            </a:extLst>
          </p:cNvPr>
          <p:cNvPicPr>
            <a:picLocks noChangeAspect="1"/>
          </p:cNvPicPr>
          <p:nvPr userDrawn="1"/>
        </p:nvPicPr>
        <p:blipFill rotWithShape="1">
          <a:blip r:embed="rId2"/>
          <a:srcRect t="28772" b="28772"/>
          <a:stretch/>
        </p:blipFill>
        <p:spPr>
          <a:xfrm>
            <a:off x="144000" y="2877964"/>
            <a:ext cx="8852400" cy="2113994"/>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8966352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Neuro">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13" descr="AZ1383_screen rotate.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Tree>
    <p:extLst>
      <p:ext uri="{BB962C8B-B14F-4D97-AF65-F5344CB8AC3E}">
        <p14:creationId xmlns:p14="http://schemas.microsoft.com/office/powerpoint/2010/main" val="13664585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ection">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Tree>
    <p:extLst>
      <p:ext uri="{BB962C8B-B14F-4D97-AF65-F5344CB8AC3E}">
        <p14:creationId xmlns:p14="http://schemas.microsoft.com/office/powerpoint/2010/main" val="5341830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Genomics">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2875" y="2889534"/>
            <a:ext cx="8856000" cy="2113995"/>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5028709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VRM_TA">
    <p:spTree>
      <p:nvGrpSpPr>
        <p:cNvPr id="1" name=""/>
        <p:cNvGrpSpPr/>
        <p:nvPr/>
      </p:nvGrpSpPr>
      <p:grpSpPr>
        <a:xfrm>
          <a:off x="0" y="0"/>
          <a:ext cx="0" cy="0"/>
          <a:chOff x="0" y="0"/>
          <a:chExt cx="0" cy="0"/>
        </a:xfrm>
      </p:grpSpPr>
      <p:pic>
        <p:nvPicPr>
          <p:cNvPr id="6" name="Picture Placeholder 17">
            <a:extLst>
              <a:ext uri="{FF2B5EF4-FFF2-40B4-BE49-F238E27FC236}">
                <a16:creationId xmlns:a16="http://schemas.microsoft.com/office/drawing/2014/main" xmlns=""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000" y="2867773"/>
            <a:ext cx="8853082" cy="2123399"/>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5885424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Renal_Cardio">
    <p:spTree>
      <p:nvGrpSpPr>
        <p:cNvPr id="1" name=""/>
        <p:cNvGrpSpPr/>
        <p:nvPr/>
      </p:nvGrpSpPr>
      <p:grpSpPr>
        <a:xfrm>
          <a:off x="0" y="0"/>
          <a:ext cx="0" cy="0"/>
          <a:chOff x="0" y="0"/>
          <a:chExt cx="0" cy="0"/>
        </a:xfrm>
      </p:grpSpPr>
      <p:pic>
        <p:nvPicPr>
          <p:cNvPr id="5" name="Picture Placeholder 17">
            <a:extLst>
              <a:ext uri="{FF2B5EF4-FFF2-40B4-BE49-F238E27FC236}">
                <a16:creationId xmlns:a16="http://schemas.microsoft.com/office/drawing/2014/main" xmlns=""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000" y="2888490"/>
            <a:ext cx="8853082" cy="2123399"/>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13154955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UK Scientis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Placeholder 23" descr="AZ138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21863745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cientist Examining Placenta">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3" descr="AZ142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3666017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ross-Section of Cell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7" descr="AZ1466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4399286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cientist in Lab 1">
    <p:spTree>
      <p:nvGrpSpPr>
        <p:cNvPr id="1" name=""/>
        <p:cNvGrpSpPr/>
        <p:nvPr/>
      </p:nvGrpSpPr>
      <p:grpSpPr>
        <a:xfrm>
          <a:off x="0" y="0"/>
          <a:ext cx="0" cy="0"/>
          <a:chOff x="0" y="0"/>
          <a:chExt cx="0" cy="0"/>
        </a:xfrm>
      </p:grpSpPr>
      <p:pic>
        <p:nvPicPr>
          <p:cNvPr id="5" name="Picture Placeholder 13" descr="AZ1486_screen.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486836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Текст 2">
    <p:spTree>
      <p:nvGrpSpPr>
        <p:cNvPr id="1" name=""/>
        <p:cNvGrpSpPr/>
        <p:nvPr/>
      </p:nvGrpSpPr>
      <p:grpSpPr>
        <a:xfrm>
          <a:off x="0" y="0"/>
          <a:ext cx="0" cy="0"/>
          <a:chOff x="0" y="0"/>
          <a:chExt cx="0" cy="0"/>
        </a:xfrm>
      </p:grpSpPr>
      <p:pic>
        <p:nvPicPr>
          <p:cNvPr id="1026" name="Picture 2" descr="C:\Grishagina Maria\Tempo\AZON 2022 2023\РЛ Москва 2-3 апреля\Темплейт\Картинки\image1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6" y="250031"/>
            <a:ext cx="6801020"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3" name="Rectangle 2">
            <a:extLst>
              <a:ext uri="{FF2B5EF4-FFF2-40B4-BE49-F238E27FC236}">
                <a16:creationId xmlns:a16="http://schemas.microsoft.com/office/drawing/2014/main" xmlns="" id="{7E104B2F-94FF-4DC7-9F66-9C3578FE49A4}"/>
              </a:ext>
            </a:extLst>
          </p:cNvPr>
          <p:cNvSpPr/>
          <p:nvPr userDrawn="1"/>
        </p:nvSpPr>
        <p:spPr>
          <a:xfrm>
            <a:off x="6176558" y="250031"/>
            <a:ext cx="1238639" cy="6477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Tree>
    <p:extLst>
      <p:ext uri="{BB962C8B-B14F-4D97-AF65-F5344CB8AC3E}">
        <p14:creationId xmlns:p14="http://schemas.microsoft.com/office/powerpoint/2010/main" val="1445072987"/>
      </p:ext>
    </p:extLst>
  </p:cSld>
  <p:clrMapOvr>
    <a:masterClrMapping/>
  </p:clrMapOvr>
  <p:extLst>
    <p:ext uri="{DCECCB84-F9BA-43D5-87BE-67443E8EF086}">
      <p15:sldGuideLst xmlns:p15="http://schemas.microsoft.com/office/powerpoint/2012/main" xmlns=""/>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cientist in Lab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Deepal_P_Shot_2-02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8544" y="2876550"/>
            <a:ext cx="8856000" cy="2133600"/>
          </a:xfrm>
          <a:prstGeom prst="rect">
            <a:avLst/>
          </a:prstGeom>
        </p:spPr>
      </p:pic>
    </p:spTree>
    <p:extLst>
      <p:ext uri="{BB962C8B-B14F-4D97-AF65-F5344CB8AC3E}">
        <p14:creationId xmlns:p14="http://schemas.microsoft.com/office/powerpoint/2010/main" val="23973460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cientist in Lab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rew_M-05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1"/>
            <a:ext cx="8856662" cy="2133600"/>
          </a:xfrm>
          <a:prstGeom prst="rect">
            <a:avLst/>
          </a:prstGeom>
        </p:spPr>
      </p:pic>
    </p:spTree>
    <p:extLst>
      <p:ext uri="{BB962C8B-B14F-4D97-AF65-F5344CB8AC3E}">
        <p14:creationId xmlns:p14="http://schemas.microsoft.com/office/powerpoint/2010/main" val="30114652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quipm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Shot_1-060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49"/>
            <a:ext cx="8856000" cy="2133601"/>
          </a:xfrm>
          <a:prstGeom prst="rect">
            <a:avLst/>
          </a:prstGeom>
        </p:spPr>
      </p:pic>
    </p:spTree>
    <p:extLst>
      <p:ext uri="{BB962C8B-B14F-4D97-AF65-F5344CB8AC3E}">
        <p14:creationId xmlns:p14="http://schemas.microsoft.com/office/powerpoint/2010/main" val="16763431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quipm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Shot_3-03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662" cy="2133600"/>
          </a:xfrm>
          <a:prstGeom prst="rect">
            <a:avLst/>
          </a:prstGeom>
        </p:spPr>
      </p:pic>
    </p:spTree>
    <p:extLst>
      <p:ext uri="{BB962C8B-B14F-4D97-AF65-F5344CB8AC3E}">
        <p14:creationId xmlns:p14="http://schemas.microsoft.com/office/powerpoint/2010/main" val="19604343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ati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2" name="Picture 1" descr="Meryl_G-15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3538" y="2876551"/>
            <a:ext cx="8856000" cy="2133600"/>
          </a:xfrm>
          <a:prstGeom prst="rect">
            <a:avLst/>
          </a:prstGeom>
        </p:spPr>
      </p:pic>
    </p:spTree>
    <p:extLst>
      <p:ext uri="{BB962C8B-B14F-4D97-AF65-F5344CB8AC3E}">
        <p14:creationId xmlns:p14="http://schemas.microsoft.com/office/powerpoint/2010/main" val="13674353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ati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Liam_S-137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56000" cy="2133601"/>
          </a:xfrm>
          <a:prstGeom prst="rect">
            <a:avLst/>
          </a:prstGeom>
        </p:spPr>
      </p:pic>
    </p:spTree>
    <p:extLst>
      <p:ext uri="{BB962C8B-B14F-4D97-AF65-F5344CB8AC3E}">
        <p14:creationId xmlns:p14="http://schemas.microsoft.com/office/powerpoint/2010/main" val="28873401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atient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Jasmine_A-141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64600" cy="2133601"/>
          </a:xfrm>
          <a:prstGeom prst="rect">
            <a:avLst/>
          </a:prstGeom>
        </p:spPr>
      </p:pic>
    </p:spTree>
    <p:extLst>
      <p:ext uri="{BB962C8B-B14F-4D97-AF65-F5344CB8AC3E}">
        <p14:creationId xmlns:p14="http://schemas.microsoft.com/office/powerpoint/2010/main" val="16970054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2" y="1164513"/>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89" indent="0">
              <a:buNone/>
              <a:defRPr sz="2400"/>
            </a:lvl2pPr>
            <a:lvl3pPr marL="914378" indent="0">
              <a:buNone/>
              <a:defRPr sz="2400"/>
            </a:lvl3pPr>
            <a:lvl4pPr marL="1371566" indent="0">
              <a:buNone/>
              <a:defRPr sz="2400"/>
            </a:lvl4pPr>
            <a:lvl5pPr marL="1828754"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0338701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378"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36722300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chemeClr val="tx2"/>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750977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Разделитель 2">
    <p:spTree>
      <p:nvGrpSpPr>
        <p:cNvPr id="1" name=""/>
        <p:cNvGrpSpPr/>
        <p:nvPr/>
      </p:nvGrpSpPr>
      <p:grpSpPr>
        <a:xfrm>
          <a:off x="0" y="0"/>
          <a:ext cx="0" cy="0"/>
          <a:chOff x="0" y="0"/>
          <a:chExt cx="0" cy="0"/>
        </a:xfrm>
      </p:grpSpPr>
      <p:pic>
        <p:nvPicPr>
          <p:cNvPr id="2050" name="Picture 2" descr="C:\Grishagina Maria\Tempo\AZON 2022 2023\РЛ Москва 2-3 апреля\Темплейт\Картинки\image1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hasCustomPrompt="1"/>
          </p:nvPr>
        </p:nvSpPr>
        <p:spPr>
          <a:xfrm>
            <a:off x="2776816" y="1021976"/>
            <a:ext cx="5898635" cy="1721223"/>
          </a:xfrm>
        </p:spPr>
        <p:txBody>
          <a:bodyPr anchor="ctr">
            <a:normAutofit/>
          </a:bodyPr>
          <a:lstStyle>
            <a:lvl1pPr algn="r">
              <a:defRPr sz="2100" b="1" baseline="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Заголовок разделителя</a:t>
            </a:r>
          </a:p>
        </p:txBody>
      </p:sp>
      <p:sp>
        <p:nvSpPr>
          <p:cNvPr id="3" name="Подзаголовок 2"/>
          <p:cNvSpPr>
            <a:spLocks noGrp="1"/>
          </p:cNvSpPr>
          <p:nvPr>
            <p:ph type="subTitle" idx="1"/>
          </p:nvPr>
        </p:nvSpPr>
        <p:spPr>
          <a:xfrm>
            <a:off x="4854388" y="2757872"/>
            <a:ext cx="3821064" cy="959013"/>
          </a:xfrm>
        </p:spPr>
        <p:txBody>
          <a:bodyPr anchor="t">
            <a:normAutofit/>
          </a:bodyPr>
          <a:lstStyle>
            <a:lvl1pPr marL="0" indent="0" algn="r">
              <a:buNone/>
              <a:defRPr sz="1350" b="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a:t>Образец подзаголовка</a:t>
            </a:r>
          </a:p>
        </p:txBody>
      </p:sp>
    </p:spTree>
    <p:extLst>
      <p:ext uri="{BB962C8B-B14F-4D97-AF65-F5344CB8AC3E}">
        <p14:creationId xmlns:p14="http://schemas.microsoft.com/office/powerpoint/2010/main" val="1172606264"/>
      </p:ext>
    </p:extLst>
  </p:cSld>
  <p:clrMapOvr>
    <a:masterClrMapping/>
  </p:clrMapOvr>
  <p:extLst>
    <p:ext uri="{DCECCB84-F9BA-43D5-87BE-67443E8EF086}">
      <p15:sldGuideLst xmlns:p15="http://schemas.microsoft.com/office/powerpoint/2012/main" xmlns=""/>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1320954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7601286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72764233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18508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9"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8"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155593714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19782484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39528970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82171329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783"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9418929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4990" indent="-134997">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996" indent="-179996">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996" indent="-179996">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958302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S AZ_Title, Subtitle and Tex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4E26D3C-57EC-4CEF-A2A8-A07986F7F862}"/>
              </a:ext>
            </a:extLst>
          </p:cNvPr>
          <p:cNvSpPr>
            <a:spLocks noGrp="1"/>
          </p:cNvSpPr>
          <p:nvPr>
            <p:ph type="sldNum" sz="quarter" idx="10"/>
          </p:nvPr>
        </p:nvSpPr>
        <p:spPr/>
        <p:txBody>
          <a:bodyPr rtlCol="0"/>
          <a:lstStyle/>
          <a:p>
            <a:pPr rtl="0"/>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pic>
        <p:nvPicPr>
          <p:cNvPr id="12" name="Picture 11" descr="DSI-AZ-hor-COLOR.png"/>
          <p:cNvPicPr>
            <a:picLocks noChangeAspect="1"/>
          </p:cNvPicPr>
          <p:nvPr userDrawn="1"/>
        </p:nvPicPr>
        <p:blipFill rotWithShape="1">
          <a:blip r:embed="rId2">
            <a:extLst>
              <a:ext uri="{28A0092B-C50C-407E-A947-70E740481C1C}">
                <a14:useLocalDpi xmlns:a14="http://schemas.microsoft.com/office/drawing/2010/main" val="0"/>
              </a:ext>
            </a:extLst>
          </a:blip>
          <a:srcRect l="55567" t="1755"/>
          <a:stretch/>
        </p:blipFill>
        <p:spPr>
          <a:xfrm>
            <a:off x="1433245" y="4639499"/>
            <a:ext cx="1146086" cy="504001"/>
          </a:xfrm>
          <a:prstGeom prst="rect">
            <a:avLst/>
          </a:prstGeom>
        </p:spPr>
      </p:pic>
      <p:sp>
        <p:nvSpPr>
          <p:cNvPr id="16" name="Title 8">
            <a:extLst>
              <a:ext uri="{FF2B5EF4-FFF2-40B4-BE49-F238E27FC236}">
                <a16:creationId xmlns:a16="http://schemas.microsoft.com/office/drawing/2014/main" xmlns="" id="{DAAD880F-186C-4797-8B60-F942A0CBF0D9}"/>
              </a:ext>
            </a:extLst>
          </p:cNvPr>
          <p:cNvSpPr>
            <a:spLocks noGrp="1"/>
          </p:cNvSpPr>
          <p:nvPr>
            <p:ph type="title" hasCustomPrompt="1"/>
          </p:nvPr>
        </p:nvSpPr>
        <p:spPr>
          <a:xfrm>
            <a:off x="304799" y="357060"/>
            <a:ext cx="8524875" cy="504000"/>
          </a:xfrm>
          <a:prstGeom prst="rect">
            <a:avLst/>
          </a:prstGeom>
        </p:spPr>
        <p:txBody>
          <a:bodyPr vert="horz" lIns="0" rtlCol="0"/>
          <a:lstStyle>
            <a:lvl1pPr algn="l">
              <a:defRPr sz="2600" b="1" baseline="0">
                <a:solidFill>
                  <a:schemeClr val="tx2"/>
                </a:solidFill>
                <a:latin typeface="Arial" pitchFamily="34" charset="0"/>
                <a:cs typeface="Arial" pitchFamily="34" charset="0"/>
              </a:defRPr>
            </a:lvl1pPr>
          </a:lstStyle>
          <a:p>
            <a:pPr rtl="0"/>
            <a:r>
              <a:rPr lang="ru" noProof="0"/>
              <a:t>Click to add slide title</a:t>
            </a:r>
          </a:p>
        </p:txBody>
      </p:sp>
      <p:sp>
        <p:nvSpPr>
          <p:cNvPr id="17" name="Subtitle 2">
            <a:extLst>
              <a:ext uri="{FF2B5EF4-FFF2-40B4-BE49-F238E27FC236}">
                <a16:creationId xmlns:a16="http://schemas.microsoft.com/office/drawing/2014/main" xmlns="" id="{398572C5-B722-46A9-9CC8-4DF78C5FB7BD}"/>
              </a:ext>
            </a:extLst>
          </p:cNvPr>
          <p:cNvSpPr>
            <a:spLocks noGrp="1"/>
          </p:cNvSpPr>
          <p:nvPr>
            <p:ph type="subTitle" idx="12" hasCustomPrompt="1"/>
          </p:nvPr>
        </p:nvSpPr>
        <p:spPr>
          <a:xfrm>
            <a:off x="304801" y="141978"/>
            <a:ext cx="8524874" cy="212704"/>
          </a:xfrm>
          <a:prstGeom prst="rect">
            <a:avLst/>
          </a:prstGeom>
        </p:spPr>
        <p:txBody>
          <a:bodyPr lIns="0" rtlCol="0" anchor="ctr"/>
          <a:lstStyle>
            <a:lvl1pPr marL="0" indent="0" algn="l">
              <a:lnSpc>
                <a:spcPct val="100000"/>
              </a:lnSpc>
              <a:spcBef>
                <a:spcPts val="0"/>
              </a:spcBef>
              <a:buNone/>
              <a:defRPr sz="1800" i="1">
                <a:solidFill>
                  <a:schemeClr val="accent2"/>
                </a:solidFill>
                <a:latin typeface="Arial" pitchFamily="34" charset="0"/>
                <a:cs typeface="Arial"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pPr rtl="0"/>
            <a:r>
              <a:rPr lang="ru" noProof="0"/>
              <a:t>Click to add subtitle</a:t>
            </a:r>
          </a:p>
        </p:txBody>
      </p:sp>
    </p:spTree>
    <p:extLst>
      <p:ext uri="{BB962C8B-B14F-4D97-AF65-F5344CB8AC3E}">
        <p14:creationId xmlns:p14="http://schemas.microsoft.com/office/powerpoint/2010/main" val="1584430696"/>
      </p:ext>
    </p:extLst>
  </p:cSld>
  <p:clrMapOvr>
    <a:masterClrMapping/>
  </p:clrMapOvr>
  <p:extLst>
    <p:ext uri="{DCECCB84-F9BA-43D5-87BE-67443E8EF086}">
      <p15:sldGuideLst xmlns:p15="http://schemas.microsoft.com/office/powerpoint/2012/main" xmlns="">
        <p15:guide id="1" orient="horz" pos="75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4990" indent="-134997">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4997" indent="-134997">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4990" indent="-134997">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4997" indent="-134997">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4990" indent="-134997">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259035144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284783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7339516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48211343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9100742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94158526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4716639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28347712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783"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40402973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783"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1208960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0927089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783"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84517274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68" indent="-269868">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488" indent="-134997">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36318235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5431126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495565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arma_Science_3">
    <p:spTree>
      <p:nvGrpSpPr>
        <p:cNvPr id="1" name=""/>
        <p:cNvGrpSpPr/>
        <p:nvPr/>
      </p:nvGrpSpPr>
      <p:grpSpPr>
        <a:xfrm>
          <a:off x="0" y="0"/>
          <a:ext cx="0" cy="0"/>
          <a:chOff x="0" y="0"/>
          <a:chExt cx="0" cy="0"/>
        </a:xfrm>
      </p:grpSpPr>
      <p:pic>
        <p:nvPicPr>
          <p:cNvPr id="3" name="Picture 2" descr="A picture containing cake, tree, reef, indoor&#10;&#10;Description automatically generated">
            <a:extLst>
              <a:ext uri="{FF2B5EF4-FFF2-40B4-BE49-F238E27FC236}">
                <a16:creationId xmlns:a16="http://schemas.microsoft.com/office/drawing/2014/main" xmlns="" id="{D70BBD08-7D34-5548-A954-46F975288B59}"/>
              </a:ext>
            </a:extLst>
          </p:cNvPr>
          <p:cNvPicPr>
            <a:picLocks noChangeAspect="1"/>
          </p:cNvPicPr>
          <p:nvPr userDrawn="1"/>
        </p:nvPicPr>
        <p:blipFill rotWithShape="1">
          <a:blip r:embed="rId2"/>
          <a:srcRect t="28772" b="28772"/>
          <a:stretch/>
        </p:blipFill>
        <p:spPr>
          <a:xfrm>
            <a:off x="144000" y="2877964"/>
            <a:ext cx="8852400" cy="211399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0268141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3" name="Text Placeholder 2">
            <a:extLst>
              <a:ext uri="{FF2B5EF4-FFF2-40B4-BE49-F238E27FC236}">
                <a16:creationId xmlns:a16="http://schemas.microsoft.com/office/drawing/2014/main" xmlns="" id="{45B05F92-A6E1-49DD-B2BF-740F47BFE38A}"/>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94341717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50258846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31917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25464765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a:extLst>
              <a:ext uri="{FF2B5EF4-FFF2-40B4-BE49-F238E27FC236}">
                <a16:creationId xmlns:a16="http://schemas.microsoft.com/office/drawing/2014/main" xmlns="" id="{82284421-4DBC-4A98-B1A5-A1E4BDED171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95081D33-DA41-4A14-BA78-778402EB5031}"/>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035500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Только заголовок">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3" y="217481"/>
            <a:ext cx="8765651" cy="504000"/>
          </a:xfrm>
          <a:prstGeom prst="rect">
            <a:avLst/>
          </a:prstGeom>
        </p:spPr>
        <p:txBody>
          <a:bodyPr vert="horz"/>
          <a:lstStyle>
            <a:lvl1pPr algn="l" defTabSz="457189" rtl="0" eaLnBrk="1" latinLnBrk="0" hangingPunct="1">
              <a:lnSpc>
                <a:spcPct val="100000"/>
              </a:lnSpc>
              <a:spcBef>
                <a:spcPct val="0"/>
              </a:spcBef>
              <a:buNone/>
              <a:defRPr lang="en-GB" sz="18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3" name="Прямоугольник 2"/>
          <p:cNvSpPr/>
          <p:nvPr userDrawn="1"/>
        </p:nvSpPr>
        <p:spPr>
          <a:xfrm>
            <a:off x="8380142" y="4407520"/>
            <a:ext cx="593803" cy="652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sz="1350"/>
          </a:p>
        </p:txBody>
      </p:sp>
    </p:spTree>
    <p:extLst>
      <p:ext uri="{BB962C8B-B14F-4D97-AF65-F5344CB8AC3E}">
        <p14:creationId xmlns:p14="http://schemas.microsoft.com/office/powerpoint/2010/main" val="4045858304"/>
      </p:ext>
    </p:extLst>
  </p:cSld>
  <p:clrMapOvr>
    <a:masterClrMapping/>
  </p:clrMapOvr>
  <p:hf hdr="0" ftr="0" dt="0"/>
  <p:extLst>
    <p:ext uri="{DCECCB84-F9BA-43D5-87BE-67443E8EF086}">
      <p15:sldGuideLst xmlns:p15="http://schemas.microsoft.com/office/powerpoint/2012/main" xmlns=""/>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a:extLst>
              <a:ext uri="{FF2B5EF4-FFF2-40B4-BE49-F238E27FC236}">
                <a16:creationId xmlns:a16="http://schemas.microsoft.com/office/drawing/2014/main" xmlns="" id="{095C53C1-D2C2-4A31-A19C-AD687FB606AF}"/>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FA868DCC-F3EE-4958-AB4B-9AE8452159CA}"/>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1294245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7" name="Slide Number Placeholder 5">
            <a:extLst>
              <a:ext uri="{FF2B5EF4-FFF2-40B4-BE49-F238E27FC236}">
                <a16:creationId xmlns:a16="http://schemas.microsoft.com/office/drawing/2014/main" xmlns="" id="{E25CC177-6F30-43A9-9021-54B08B026A8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D5B24FA1-C74F-46E5-8CD9-588D3D3B66C4}"/>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17472982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Slide Number Placeholder 5">
            <a:extLst>
              <a:ext uri="{FF2B5EF4-FFF2-40B4-BE49-F238E27FC236}">
                <a16:creationId xmlns:a16="http://schemas.microsoft.com/office/drawing/2014/main" xmlns="" id="{96D2657A-83A8-4446-9ECF-4DB7606ED02A}"/>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C4792A31-1DD7-4419-BF85-A22A5AAAA082}"/>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543483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0" name="Slide Number Placeholder 5">
            <a:extLst>
              <a:ext uri="{FF2B5EF4-FFF2-40B4-BE49-F238E27FC236}">
                <a16:creationId xmlns:a16="http://schemas.microsoft.com/office/drawing/2014/main" xmlns="" id="{40C2E6E0-F6D1-4D1F-A758-178F3CC735E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ext Placeholder 2">
            <a:extLst>
              <a:ext uri="{FF2B5EF4-FFF2-40B4-BE49-F238E27FC236}">
                <a16:creationId xmlns:a16="http://schemas.microsoft.com/office/drawing/2014/main" xmlns="" id="{91393206-1C2B-4281-BDBB-3892541BB948}"/>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9109486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2" name="Slide Number Placeholder 5">
            <a:extLst>
              <a:ext uri="{FF2B5EF4-FFF2-40B4-BE49-F238E27FC236}">
                <a16:creationId xmlns:a16="http://schemas.microsoft.com/office/drawing/2014/main" xmlns="" id="{3868649E-2D6E-4A70-AD6B-9DF91B43E7ED}"/>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3" name="Text Placeholder 2">
            <a:extLst>
              <a:ext uri="{FF2B5EF4-FFF2-40B4-BE49-F238E27FC236}">
                <a16:creationId xmlns:a16="http://schemas.microsoft.com/office/drawing/2014/main" xmlns="" id="{5365073C-39D3-4247-9899-2091B548CB65}"/>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4987739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a:extLst>
              <a:ext uri="{FF2B5EF4-FFF2-40B4-BE49-F238E27FC236}">
                <a16:creationId xmlns:a16="http://schemas.microsoft.com/office/drawing/2014/main" xmlns="" id="{F90A50C5-55F4-48CB-97F0-EF059BC90FFB}"/>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B9312268-9416-496F-900C-346AC1FB7BE9}"/>
              </a:ext>
            </a:extLst>
          </p:cNvPr>
          <p:cNvSpPr>
            <a:spLocks noGrp="1"/>
          </p:cNvSpPr>
          <p:nvPr>
            <p:ph type="body" sz="quarter" idx="13"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48741226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a:extLst>
              <a:ext uri="{FF2B5EF4-FFF2-40B4-BE49-F238E27FC236}">
                <a16:creationId xmlns:a16="http://schemas.microsoft.com/office/drawing/2014/main" xmlns="" id="{C51D0713-F43C-4CF1-96C2-37647D0F228F}"/>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ext Placeholder 2">
            <a:extLst>
              <a:ext uri="{FF2B5EF4-FFF2-40B4-BE49-F238E27FC236}">
                <a16:creationId xmlns:a16="http://schemas.microsoft.com/office/drawing/2014/main" xmlns="" id="{47AFFC15-C701-4873-B641-BFBF469957DC}"/>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13045563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Slide Number Placeholder 5">
            <a:extLst>
              <a:ext uri="{FF2B5EF4-FFF2-40B4-BE49-F238E27FC236}">
                <a16:creationId xmlns:a16="http://schemas.microsoft.com/office/drawing/2014/main" xmlns="" id="{F36F333D-5E59-4D89-A33A-3E5277E3B0FA}"/>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3" name="Text Placeholder 2">
            <a:extLst>
              <a:ext uri="{FF2B5EF4-FFF2-40B4-BE49-F238E27FC236}">
                <a16:creationId xmlns:a16="http://schemas.microsoft.com/office/drawing/2014/main" xmlns="" id="{1DBF80EA-0252-4FF5-A9EE-37B83007BCEC}"/>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1979461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Slide Number Placeholder 5">
            <a:extLst>
              <a:ext uri="{FF2B5EF4-FFF2-40B4-BE49-F238E27FC236}">
                <a16:creationId xmlns:a16="http://schemas.microsoft.com/office/drawing/2014/main" xmlns="" id="{885B9A71-0C4D-4F28-93E6-A1551255C571}"/>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F4FDA84A-B62A-44AD-AC31-12A2DF305AD0}"/>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6387920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0" name="Slide Number Placeholder 5">
            <a:extLst>
              <a:ext uri="{FF2B5EF4-FFF2-40B4-BE49-F238E27FC236}">
                <a16:creationId xmlns:a16="http://schemas.microsoft.com/office/drawing/2014/main" xmlns="" id="{E517517F-DB41-4249-9050-628DF66E94F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2" name="Text Placeholder 2">
            <a:extLst>
              <a:ext uri="{FF2B5EF4-FFF2-40B4-BE49-F238E27FC236}">
                <a16:creationId xmlns:a16="http://schemas.microsoft.com/office/drawing/2014/main" xmlns="" id="{5D594280-6FF2-49B7-B178-9AEB3609A733}"/>
              </a:ext>
            </a:extLst>
          </p:cNvPr>
          <p:cNvSpPr>
            <a:spLocks noGrp="1"/>
          </p:cNvSpPr>
          <p:nvPr>
            <p:ph type="body" sz="quarter" idx="20"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9260458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56850094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a:extLst>
              <a:ext uri="{FF2B5EF4-FFF2-40B4-BE49-F238E27FC236}">
                <a16:creationId xmlns:a16="http://schemas.microsoft.com/office/drawing/2014/main" xmlns="" id="{2ECAA4CE-DF96-43A0-9589-F7606B96D139}"/>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3B4A887D-7E79-42A3-A34A-AB85F7FD0F16}"/>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70589983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Slide Number Placeholder 5">
            <a:extLst>
              <a:ext uri="{FF2B5EF4-FFF2-40B4-BE49-F238E27FC236}">
                <a16:creationId xmlns:a16="http://schemas.microsoft.com/office/drawing/2014/main" xmlns="" id="{6A7B085B-EF3A-467F-B7FE-4FEB32477D66}"/>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D0709A33-4CD7-4866-A0F6-AD46ABAB1A4F}"/>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69273464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a:extLst>
              <a:ext uri="{FF2B5EF4-FFF2-40B4-BE49-F238E27FC236}">
                <a16:creationId xmlns:a16="http://schemas.microsoft.com/office/drawing/2014/main" xmlns="" id="{63EEE19F-00CE-489F-AE44-554C95CBAB79}"/>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588405D7-1795-4971-97C2-C10B8455CB55}"/>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07643216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Slide Number Placeholder 5">
            <a:extLst>
              <a:ext uri="{FF2B5EF4-FFF2-40B4-BE49-F238E27FC236}">
                <a16:creationId xmlns:a16="http://schemas.microsoft.com/office/drawing/2014/main" xmlns="" id="{CD42ABFB-4016-4277-BFF7-A1FC425AD8BF}"/>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EDC7DA07-4A29-4710-B2DD-DC56F71DFFE7}"/>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86856804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0" name="Slide Number Placeholder 5">
            <a:extLst>
              <a:ext uri="{FF2B5EF4-FFF2-40B4-BE49-F238E27FC236}">
                <a16:creationId xmlns:a16="http://schemas.microsoft.com/office/drawing/2014/main" xmlns="" id="{6C1F5689-FDF0-4217-B876-A4E87E274B06}"/>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ext Placeholder 2">
            <a:extLst>
              <a:ext uri="{FF2B5EF4-FFF2-40B4-BE49-F238E27FC236}">
                <a16:creationId xmlns:a16="http://schemas.microsoft.com/office/drawing/2014/main" xmlns="" id="{46D7973B-2EA4-481D-9133-B333B10E48AD}"/>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419233522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500" indent="-135000">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
        <p:nvSpPr>
          <p:cNvPr id="6" name="Slide Number Placeholder 5">
            <a:extLst>
              <a:ext uri="{FF2B5EF4-FFF2-40B4-BE49-F238E27FC236}">
                <a16:creationId xmlns:a16="http://schemas.microsoft.com/office/drawing/2014/main" xmlns="" id="{18665DB4-41F4-4FCC-867E-163A51C63BA1}"/>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ext Placeholder 2">
            <a:extLst>
              <a:ext uri="{FF2B5EF4-FFF2-40B4-BE49-F238E27FC236}">
                <a16:creationId xmlns:a16="http://schemas.microsoft.com/office/drawing/2014/main" xmlns="" id="{3F8241EC-B487-4E23-9DA1-400561D74AA3}"/>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45487650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5" name="Slide Number Placeholder 5">
            <a:extLst>
              <a:ext uri="{FF2B5EF4-FFF2-40B4-BE49-F238E27FC236}">
                <a16:creationId xmlns:a16="http://schemas.microsoft.com/office/drawing/2014/main" xmlns="" id="{6D634C2E-41EE-4B30-A19D-31EBECF31F06}"/>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ext Placeholder 2">
            <a:extLst>
              <a:ext uri="{FF2B5EF4-FFF2-40B4-BE49-F238E27FC236}">
                <a16:creationId xmlns:a16="http://schemas.microsoft.com/office/drawing/2014/main" xmlns="" id="{B63136E2-0D15-4A17-BCC2-EB22D8432DD2}"/>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6604420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703051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202235"/>
            <a:ext cx="8765651" cy="310500"/>
          </a:xfrm>
          <a:prstGeom prst="rect">
            <a:avLst/>
          </a:prstGeom>
        </p:spPr>
        <p:txBody>
          <a:bodyPr vert="horz"/>
          <a:lstStyle>
            <a:lvl1pPr algn="l" defTabSz="457200"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ts val="225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38459697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BFF445E5-F42D-422B-A336-403D431DF87A}"/>
              </a:ext>
            </a:extLst>
          </p:cNvPr>
          <p:cNvSpPr>
            <a:spLocks noGrp="1"/>
          </p:cNvSpPr>
          <p:nvPr>
            <p:ph type="title"/>
          </p:nvPr>
        </p:nvSpPr>
        <p:spPr>
          <a:xfrm>
            <a:off x="252582" y="170943"/>
            <a:ext cx="6624122" cy="600074"/>
          </a:xfrm>
          <a:prstGeom prst="rect">
            <a:avLst/>
          </a:prstGeom>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26548056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3807960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53949" y="4767273"/>
            <a:ext cx="2895600" cy="273844"/>
          </a:xfrm>
        </p:spPr>
        <p:txBody>
          <a:bodyPr/>
          <a:lstStyle>
            <a:lvl1pPr>
              <a:defRPr>
                <a:solidFill>
                  <a:srgbClr val="FFFFFF"/>
                </a:solidFill>
              </a:defRPr>
            </a:lvl1pPr>
          </a:lstStyle>
          <a:p>
            <a:endParaRPr lang="en-US" dirty="0"/>
          </a:p>
        </p:txBody>
      </p:sp>
      <p:sp>
        <p:nvSpPr>
          <p:cNvPr id="4" name="Slide Number Placeholder 3"/>
          <p:cNvSpPr>
            <a:spLocks noGrp="1"/>
          </p:cNvSpPr>
          <p:nvPr>
            <p:ph type="sldNum" sz="quarter" idx="12"/>
          </p:nvPr>
        </p:nvSpPr>
        <p:spPr>
          <a:xfrm>
            <a:off x="3675063" y="4767273"/>
            <a:ext cx="2133600" cy="273844"/>
          </a:xfrm>
        </p:spPr>
        <p:txBody>
          <a:bodyPr/>
          <a:lstStyle>
            <a:lvl1pPr algn="ctr">
              <a:defRPr>
                <a:solidFill>
                  <a:srgbClr val="FFFFFF"/>
                </a:solidFill>
              </a:defRPr>
            </a:lvl1pPr>
          </a:lstStyle>
          <a:p>
            <a:fld id="{D9DADDD7-F6DB-DE43-84D3-BDE65D6DBA61}" type="slidenum">
              <a:rPr lang="en-US" smtClean="0"/>
              <a:pPr/>
              <a:t>‹#›</a:t>
            </a:fld>
            <a:endParaRPr lang="en-US" dirty="0"/>
          </a:p>
        </p:txBody>
      </p:sp>
      <p:sp>
        <p:nvSpPr>
          <p:cNvPr id="5" name="Title 1"/>
          <p:cNvSpPr>
            <a:spLocks noGrp="1"/>
          </p:cNvSpPr>
          <p:nvPr>
            <p:ph type="title"/>
          </p:nvPr>
        </p:nvSpPr>
        <p:spPr>
          <a:xfrm>
            <a:off x="353953" y="66823"/>
            <a:ext cx="8545707" cy="513926"/>
          </a:xfrm>
        </p:spPr>
        <p:txBody>
          <a:bodyPr/>
          <a:lstStyle/>
          <a:p>
            <a:r>
              <a:rPr lang="en-US"/>
              <a:t>Click to edit Master title style</a:t>
            </a:r>
            <a:endParaRPr lang="en-US" dirty="0"/>
          </a:p>
        </p:txBody>
      </p:sp>
    </p:spTree>
    <p:extLst>
      <p:ext uri="{BB962C8B-B14F-4D97-AF65-F5344CB8AC3E}">
        <p14:creationId xmlns:p14="http://schemas.microsoft.com/office/powerpoint/2010/main" val="297114135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128958-009D-4DBF-B832-ED56DBE2D232}" type="datetime1">
              <a:rPr lang="en-US" smtClean="0"/>
              <a:t>6/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9120"/>
            <a:ext cx="7543800" cy="754380"/>
          </a:xfrm>
        </p:spPr>
        <p:txBody>
          <a:bodyPr anchor="b">
            <a:normAutofit/>
          </a:bodyPr>
          <a:lstStyle>
            <a:lvl1pPr marL="0" indent="0">
              <a:spcBef>
                <a:spcPts val="225"/>
              </a:spcBef>
              <a:buNone/>
              <a:defRPr sz="750">
                <a:solidFill>
                  <a:schemeClr val="tx1"/>
                </a:solidFill>
              </a:defRPr>
            </a:lvl1pPr>
            <a:lvl2pPr marL="171450" indent="0">
              <a:buNone/>
              <a:defRPr>
                <a:solidFill>
                  <a:schemeClr val="tx1"/>
                </a:solidFill>
              </a:defRPr>
            </a:lvl2pPr>
            <a:lvl3pPr marL="342900" indent="0">
              <a:buNone/>
              <a:defRPr>
                <a:solidFill>
                  <a:schemeClr val="tx1"/>
                </a:solidFill>
              </a:defRPr>
            </a:lvl3pPr>
            <a:lvl4pPr marL="514350" indent="0">
              <a:buNone/>
              <a:defRPr>
                <a:solidFill>
                  <a:schemeClr val="tx1"/>
                </a:solidFill>
              </a:defRPr>
            </a:lvl4pPr>
            <a:lvl5pPr marL="685800" indent="0">
              <a:buNone/>
              <a:defRPr>
                <a:solidFill>
                  <a:schemeClr val="tx1"/>
                </a:solidFill>
              </a:defRPr>
            </a:lvl5pPr>
          </a:lstStyle>
          <a:p>
            <a:pPr lvl="0"/>
            <a:r>
              <a:rPr lang="en-US" dirty="0"/>
              <a:t>Reference(s)</a:t>
            </a:r>
          </a:p>
        </p:txBody>
      </p:sp>
    </p:spTree>
    <p:extLst>
      <p:ext uri="{BB962C8B-B14F-4D97-AF65-F5344CB8AC3E}">
        <p14:creationId xmlns:p14="http://schemas.microsoft.com/office/powerpoint/2010/main" val="132775476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FC273BA-89AD-4B2C-8B24-DE3113396BD3}" type="datetime1">
              <a:rPr lang="en-US" smtClean="0"/>
              <a:t>6/2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9120"/>
            <a:ext cx="7543800" cy="754380"/>
          </a:xfrm>
        </p:spPr>
        <p:txBody>
          <a:bodyPr anchor="b">
            <a:noAutofit/>
          </a:bodyPr>
          <a:lstStyle>
            <a:lvl1pPr marL="0" indent="0">
              <a:spcBef>
                <a:spcPts val="225"/>
              </a:spcBef>
              <a:buNone/>
              <a:defRPr sz="750"/>
            </a:lvl1pPr>
            <a:lvl2pPr marL="171450" indent="0">
              <a:spcBef>
                <a:spcPts val="225"/>
              </a:spcBef>
              <a:buNone/>
              <a:defRPr sz="750"/>
            </a:lvl2pPr>
            <a:lvl3pPr marL="342900" indent="0">
              <a:spcBef>
                <a:spcPts val="225"/>
              </a:spcBef>
              <a:buNone/>
              <a:defRPr sz="750"/>
            </a:lvl3pPr>
            <a:lvl4pPr marL="514350" indent="0">
              <a:spcBef>
                <a:spcPts val="225"/>
              </a:spcBef>
              <a:buNone/>
              <a:defRPr sz="750"/>
            </a:lvl4pPr>
            <a:lvl5pPr marL="685800" indent="0">
              <a:spcBef>
                <a:spcPts val="225"/>
              </a:spcBef>
              <a:buNone/>
              <a:defRPr sz="750"/>
            </a:lvl5pPr>
          </a:lstStyle>
          <a:p>
            <a:pPr lvl="0"/>
            <a:r>
              <a:rPr lang="en-US" dirty="0"/>
              <a:t>Reference(s)</a:t>
            </a:r>
          </a:p>
        </p:txBody>
      </p:sp>
    </p:spTree>
    <p:extLst>
      <p:ext uri="{BB962C8B-B14F-4D97-AF65-F5344CB8AC3E}">
        <p14:creationId xmlns:p14="http://schemas.microsoft.com/office/powerpoint/2010/main" val="156227215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Rectangle 6"/>
          <p:cNvSpPr/>
          <p:nvPr userDrawn="1"/>
        </p:nvSpPr>
        <p:spPr>
          <a:xfrm>
            <a:off x="145125" y="117088"/>
            <a:ext cx="8856000" cy="491925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800" dirty="0">
              <a:solidFill>
                <a:srgbClr val="FFFFFF"/>
              </a:solidFill>
            </a:endParaRPr>
          </a:p>
        </p:txBody>
      </p:sp>
      <p:sp>
        <p:nvSpPr>
          <p:cNvPr id="2" name="Title 1"/>
          <p:cNvSpPr>
            <a:spLocks noGrp="1"/>
          </p:cNvSpPr>
          <p:nvPr>
            <p:ph type="title"/>
          </p:nvPr>
        </p:nvSpPr>
        <p:spPr>
          <a:xfrm>
            <a:off x="258796" y="539941"/>
            <a:ext cx="6612950" cy="600074"/>
          </a:xfrm>
          <a:prstGeom prst="rect">
            <a:avLst/>
          </a:prstGeom>
        </p:spPr>
        <p:txBody>
          <a:bodyPr vert="horz" lIns="91440" tIns="45720" rIns="91440" bIns="45720" rtlCol="0" anchor="b">
            <a:noAutofit/>
          </a:bodyPr>
          <a:lstStyle>
            <a:lvl1pPr algn="l" defTabSz="914378" rtl="0" eaLnBrk="1" latinLnBrk="0" hangingPunct="1">
              <a:lnSpc>
                <a:spcPct val="90000"/>
              </a:lnSpc>
              <a:spcBef>
                <a:spcPct val="0"/>
              </a:spcBef>
              <a:buNone/>
              <a:defRPr sz="2400" b="1" kern="1200">
                <a:solidFill>
                  <a:schemeClr val="bg1"/>
                </a:solidFill>
                <a:latin typeface="+mj-lt"/>
                <a:ea typeface="+mj-ea"/>
                <a:cs typeface="+mj-cs"/>
              </a:defRPr>
            </a:lvl1pPr>
          </a:lstStyle>
          <a:p>
            <a:r>
              <a:rPr lang="en-US"/>
              <a:t>Click to edit Master title style</a:t>
            </a:r>
            <a:endParaRPr lang="en-US" dirty="0"/>
          </a:p>
        </p:txBody>
      </p:sp>
    </p:spTree>
    <p:extLst>
      <p:ext uri="{BB962C8B-B14F-4D97-AF65-F5344CB8AC3E}">
        <p14:creationId xmlns:p14="http://schemas.microsoft.com/office/powerpoint/2010/main" val="31791636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RIA Tez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1" y="2876551"/>
            <a:ext cx="8834071" cy="2120400"/>
          </a:xfrm>
          <a:prstGeom prst="rect">
            <a:avLst/>
          </a:prstGeom>
        </p:spPr>
      </p:pic>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13570703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KD">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4879417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82254814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35144052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VRM">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06631887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8910040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Только заголовок">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3" y="217481"/>
            <a:ext cx="8765651" cy="504000"/>
          </a:xfrm>
          <a:prstGeom prst="rect">
            <a:avLst/>
          </a:prstGeom>
        </p:spPr>
        <p:txBody>
          <a:bodyPr vert="horz"/>
          <a:lstStyle>
            <a:lvl1pPr algn="l" defTabSz="457189" rtl="0" eaLnBrk="1" latinLnBrk="0" hangingPunct="1">
              <a:lnSpc>
                <a:spcPct val="100000"/>
              </a:lnSpc>
              <a:spcBef>
                <a:spcPct val="0"/>
              </a:spcBef>
              <a:buNone/>
              <a:defRPr lang="en-GB" sz="18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3" name="Прямоугольник 2"/>
          <p:cNvSpPr/>
          <p:nvPr userDrawn="1"/>
        </p:nvSpPr>
        <p:spPr>
          <a:xfrm>
            <a:off x="8380142" y="4407520"/>
            <a:ext cx="593803" cy="652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sz="1350"/>
          </a:p>
        </p:txBody>
      </p:sp>
    </p:spTree>
    <p:extLst>
      <p:ext uri="{BB962C8B-B14F-4D97-AF65-F5344CB8AC3E}">
        <p14:creationId xmlns:p14="http://schemas.microsoft.com/office/powerpoint/2010/main" val="21013589"/>
      </p:ext>
    </p:extLst>
  </p:cSld>
  <p:clrMapOvr>
    <a:masterClrMapping/>
  </p:clrMapOvr>
  <p:hf hdr="0" ftr="0" dt="0"/>
  <p:extLst>
    <p:ext uri="{DCECCB84-F9BA-43D5-87BE-67443E8EF086}">
      <p15:sldGuideLst xmlns:p15="http://schemas.microsoft.com/office/powerpoint/2012/main" xmlns=""/>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abete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2" name="Picture 1" descr="Diabetes.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14720000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RIA TLR9">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F8486FD2-C3A7-1C42-A299-B8FF6953E81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44000" y="2902521"/>
            <a:ext cx="8856000" cy="2125663"/>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03535143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917859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iscovery Sciences_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0" y="2877962"/>
            <a:ext cx="8853082" cy="211399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9131069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harma_Science">
    <p:spTree>
      <p:nvGrpSpPr>
        <p:cNvPr id="1" name=""/>
        <p:cNvGrpSpPr/>
        <p:nvPr/>
      </p:nvGrpSpPr>
      <p:grpSpPr>
        <a:xfrm>
          <a:off x="0" y="0"/>
          <a:ext cx="0" cy="0"/>
          <a:chOff x="0" y="0"/>
          <a:chExt cx="0" cy="0"/>
        </a:xfrm>
      </p:grpSpPr>
      <p:pic>
        <p:nvPicPr>
          <p:cNvPr id="3" name="Picture 2" descr="A picture containing cake, indoor&#10;&#10;Description automatically generated">
            <a:extLst>
              <a:ext uri="{FF2B5EF4-FFF2-40B4-BE49-F238E27FC236}">
                <a16:creationId xmlns:a16="http://schemas.microsoft.com/office/drawing/2014/main" xmlns="" id="{039D58CE-906A-0B48-B080-3AC203DB51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0" y="2877963"/>
            <a:ext cx="8853081" cy="211399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86280008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harma_Science_2">
    <p:spTree>
      <p:nvGrpSpPr>
        <p:cNvPr id="1" name=""/>
        <p:cNvGrpSpPr/>
        <p:nvPr/>
      </p:nvGrpSpPr>
      <p:grpSpPr>
        <a:xfrm>
          <a:off x="0" y="0"/>
          <a:ext cx="0" cy="0"/>
          <a:chOff x="0" y="0"/>
          <a:chExt cx="0" cy="0"/>
        </a:xfrm>
      </p:grpSpPr>
      <p:pic>
        <p:nvPicPr>
          <p:cNvPr id="4" name="Picture 3" descr="A picture containing cake, tree, indoor&#10;&#10;Description automatically generated">
            <a:extLst>
              <a:ext uri="{FF2B5EF4-FFF2-40B4-BE49-F238E27FC236}">
                <a16:creationId xmlns:a16="http://schemas.microsoft.com/office/drawing/2014/main" xmlns="" id="{21295B4E-B6CB-D54A-89F0-ED27C4B1679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681" y="2877964"/>
            <a:ext cx="8852400" cy="211399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12397886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arma_Science_3">
    <p:spTree>
      <p:nvGrpSpPr>
        <p:cNvPr id="1" name=""/>
        <p:cNvGrpSpPr/>
        <p:nvPr/>
      </p:nvGrpSpPr>
      <p:grpSpPr>
        <a:xfrm>
          <a:off x="0" y="0"/>
          <a:ext cx="0" cy="0"/>
          <a:chOff x="0" y="0"/>
          <a:chExt cx="0" cy="0"/>
        </a:xfrm>
      </p:grpSpPr>
      <p:pic>
        <p:nvPicPr>
          <p:cNvPr id="3" name="Picture 2" descr="A picture containing cake, tree, reef, indoor&#10;&#10;Description automatically generated">
            <a:extLst>
              <a:ext uri="{FF2B5EF4-FFF2-40B4-BE49-F238E27FC236}">
                <a16:creationId xmlns:a16="http://schemas.microsoft.com/office/drawing/2014/main" xmlns="" id="{D70BBD08-7D34-5548-A954-46F975288B59}"/>
              </a:ext>
            </a:extLst>
          </p:cNvPr>
          <p:cNvPicPr>
            <a:picLocks noChangeAspect="1"/>
          </p:cNvPicPr>
          <p:nvPr userDrawn="1"/>
        </p:nvPicPr>
        <p:blipFill rotWithShape="1">
          <a:blip r:embed="rId2"/>
          <a:srcRect t="28772" b="28772"/>
          <a:stretch/>
        </p:blipFill>
        <p:spPr>
          <a:xfrm>
            <a:off x="144000" y="2877964"/>
            <a:ext cx="8852400" cy="211399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85890884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62178105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59993771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enomic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6000" cy="2113995"/>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6171040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53976122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VRM_TA">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xmlns=""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000" y="2878745"/>
            <a:ext cx="8853082" cy="2123399"/>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23186663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Renal_Cardio">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xmlns=""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5265" y="2878745"/>
            <a:ext cx="8853082" cy="2123399"/>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15472724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4045293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8104294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07880116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8"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590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15999" y="46653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6" name="Text Placeholder 29"/>
          <p:cNvSpPr>
            <a:spLocks noGrp="1"/>
          </p:cNvSpPr>
          <p:nvPr>
            <p:ph type="body" sz="quarter" idx="15" hasCustomPrompt="1"/>
          </p:nvPr>
        </p:nvSpPr>
        <p:spPr>
          <a:xfrm>
            <a:off x="7128000" y="44590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7" name="Text Placeholder 29"/>
          <p:cNvSpPr>
            <a:spLocks noGrp="1"/>
          </p:cNvSpPr>
          <p:nvPr>
            <p:ph type="body" sz="quarter" idx="13" hasCustomPrompt="1"/>
          </p:nvPr>
        </p:nvSpPr>
        <p:spPr>
          <a:xfrm>
            <a:off x="7128000" y="46653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73630474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KD">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463" y="2876551"/>
            <a:ext cx="8856000" cy="2125664"/>
          </a:xfrm>
          <a:prstGeom prst="rect">
            <a:avLst/>
          </a:prstGeom>
        </p:spPr>
      </p:pic>
      <p:sp>
        <p:nvSpPr>
          <p:cNvPr id="9"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47589752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1"/>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6647611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VRM">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2822" y="2876551"/>
            <a:ext cx="8850368"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26728724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1"/>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11838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1_Только заголовок">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itle 8"/>
          <p:cNvSpPr>
            <a:spLocks noGrp="1"/>
          </p:cNvSpPr>
          <p:nvPr>
            <p:ph type="title" hasCustomPrompt="1"/>
          </p:nvPr>
        </p:nvSpPr>
        <p:spPr>
          <a:xfrm>
            <a:off x="237063" y="217481"/>
            <a:ext cx="8765651" cy="504000"/>
          </a:xfrm>
          <a:prstGeom prst="rect">
            <a:avLst/>
          </a:prstGeom>
        </p:spPr>
        <p:txBody>
          <a:bodyPr vert="horz"/>
          <a:lstStyle>
            <a:lvl1pPr algn="l" defTabSz="457189" rtl="0" eaLnBrk="1" latinLnBrk="0" hangingPunct="1">
              <a:lnSpc>
                <a:spcPct val="100000"/>
              </a:lnSpc>
              <a:spcBef>
                <a:spcPct val="0"/>
              </a:spcBef>
              <a:buNone/>
              <a:defRPr lang="en-GB" sz="18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3" name="Прямоугольник 2"/>
          <p:cNvSpPr/>
          <p:nvPr userDrawn="1"/>
        </p:nvSpPr>
        <p:spPr>
          <a:xfrm>
            <a:off x="8380142" y="4407520"/>
            <a:ext cx="593803" cy="652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sz="1350"/>
          </a:p>
        </p:txBody>
      </p:sp>
    </p:spTree>
    <p:extLst>
      <p:ext uri="{BB962C8B-B14F-4D97-AF65-F5344CB8AC3E}">
        <p14:creationId xmlns:p14="http://schemas.microsoft.com/office/powerpoint/2010/main" val="4094211378"/>
      </p:ext>
    </p:extLst>
  </p:cSld>
  <p:clrMapOvr>
    <a:masterClrMapping/>
  </p:clrMapOvr>
  <p:hf hdr="0" ftr="0" dt="0"/>
  <p:extLst>
    <p:ext uri="{DCECCB84-F9BA-43D5-87BE-67443E8EF086}">
      <p15:sldGuideLst xmlns:p15="http://schemas.microsoft.com/office/powerpoint/2012/main" xmlns="">
        <p15:guide id="1" orient="horz" pos="4201">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DS AZ_Title, Subtitle and Tex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4E26D3C-57EC-4CEF-A2A8-A07986F7F862}"/>
              </a:ext>
            </a:extLst>
          </p:cNvPr>
          <p:cNvSpPr>
            <a:spLocks noGrp="1"/>
          </p:cNvSpPr>
          <p:nvPr>
            <p:ph type="sldNum" sz="quarter" idx="10"/>
          </p:nvPr>
        </p:nvSpPr>
        <p:spPr/>
        <p:txBody>
          <a:bodyPr rtlCol="0"/>
          <a:lstStyle/>
          <a:p>
            <a:pPr rtl="0"/>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pic>
        <p:nvPicPr>
          <p:cNvPr id="12" name="Picture 11" descr="DSI-AZ-hor-COLOR.png"/>
          <p:cNvPicPr>
            <a:picLocks noChangeAspect="1"/>
          </p:cNvPicPr>
          <p:nvPr userDrawn="1"/>
        </p:nvPicPr>
        <p:blipFill rotWithShape="1">
          <a:blip r:embed="rId2">
            <a:extLst>
              <a:ext uri="{28A0092B-C50C-407E-A947-70E740481C1C}">
                <a14:useLocalDpi xmlns:a14="http://schemas.microsoft.com/office/drawing/2010/main" val="0"/>
              </a:ext>
            </a:extLst>
          </a:blip>
          <a:srcRect l="55567" t="1755"/>
          <a:stretch/>
        </p:blipFill>
        <p:spPr>
          <a:xfrm>
            <a:off x="1433245" y="4639499"/>
            <a:ext cx="1146086" cy="504001"/>
          </a:xfrm>
          <a:prstGeom prst="rect">
            <a:avLst/>
          </a:prstGeom>
        </p:spPr>
      </p:pic>
      <p:sp>
        <p:nvSpPr>
          <p:cNvPr id="16" name="Title 8">
            <a:extLst>
              <a:ext uri="{FF2B5EF4-FFF2-40B4-BE49-F238E27FC236}">
                <a16:creationId xmlns:a16="http://schemas.microsoft.com/office/drawing/2014/main" xmlns="" id="{DAAD880F-186C-4797-8B60-F942A0CBF0D9}"/>
              </a:ext>
            </a:extLst>
          </p:cNvPr>
          <p:cNvSpPr>
            <a:spLocks noGrp="1"/>
          </p:cNvSpPr>
          <p:nvPr>
            <p:ph type="title" hasCustomPrompt="1"/>
          </p:nvPr>
        </p:nvSpPr>
        <p:spPr>
          <a:xfrm>
            <a:off x="304799" y="357060"/>
            <a:ext cx="8524875" cy="504000"/>
          </a:xfrm>
          <a:prstGeom prst="rect">
            <a:avLst/>
          </a:prstGeom>
        </p:spPr>
        <p:txBody>
          <a:bodyPr vert="horz" lIns="0" rtlCol="0"/>
          <a:lstStyle>
            <a:lvl1pPr algn="l">
              <a:defRPr sz="2600" b="1" baseline="0">
                <a:solidFill>
                  <a:schemeClr val="tx2"/>
                </a:solidFill>
                <a:latin typeface="Arial" pitchFamily="34" charset="0"/>
                <a:cs typeface="Arial" pitchFamily="34" charset="0"/>
              </a:defRPr>
            </a:lvl1pPr>
          </a:lstStyle>
          <a:p>
            <a:pPr rtl="0"/>
            <a:r>
              <a:rPr lang="ru" noProof="0"/>
              <a:t>Click to add slide title</a:t>
            </a:r>
          </a:p>
        </p:txBody>
      </p:sp>
      <p:sp>
        <p:nvSpPr>
          <p:cNvPr id="17" name="Subtitle 2">
            <a:extLst>
              <a:ext uri="{FF2B5EF4-FFF2-40B4-BE49-F238E27FC236}">
                <a16:creationId xmlns:a16="http://schemas.microsoft.com/office/drawing/2014/main" xmlns="" id="{398572C5-B722-46A9-9CC8-4DF78C5FB7BD}"/>
              </a:ext>
            </a:extLst>
          </p:cNvPr>
          <p:cNvSpPr>
            <a:spLocks noGrp="1"/>
          </p:cNvSpPr>
          <p:nvPr>
            <p:ph type="subTitle" idx="12" hasCustomPrompt="1"/>
          </p:nvPr>
        </p:nvSpPr>
        <p:spPr>
          <a:xfrm>
            <a:off x="304801" y="141978"/>
            <a:ext cx="8524874" cy="212704"/>
          </a:xfrm>
          <a:prstGeom prst="rect">
            <a:avLst/>
          </a:prstGeom>
        </p:spPr>
        <p:txBody>
          <a:bodyPr lIns="0" rtlCol="0" anchor="ctr"/>
          <a:lstStyle>
            <a:lvl1pPr marL="0" indent="0" algn="l">
              <a:lnSpc>
                <a:spcPct val="100000"/>
              </a:lnSpc>
              <a:spcBef>
                <a:spcPts val="0"/>
              </a:spcBef>
              <a:buNone/>
              <a:defRPr sz="1800" i="1">
                <a:solidFill>
                  <a:schemeClr val="accent2"/>
                </a:solidFill>
                <a:latin typeface="Arial" pitchFamily="34" charset="0"/>
                <a:cs typeface="Arial"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pPr rtl="0"/>
            <a:r>
              <a:rPr lang="ru" noProof="0"/>
              <a:t>Click to add subtitle</a:t>
            </a:r>
          </a:p>
        </p:txBody>
      </p:sp>
    </p:spTree>
    <p:extLst>
      <p:ext uri="{BB962C8B-B14F-4D97-AF65-F5344CB8AC3E}">
        <p14:creationId xmlns:p14="http://schemas.microsoft.com/office/powerpoint/2010/main" val="3575378685"/>
      </p:ext>
    </p:extLst>
  </p:cSld>
  <p:clrMapOvr>
    <a:masterClrMapping/>
  </p:clrMapOvr>
  <p:extLst>
    <p:ext uri="{DCECCB84-F9BA-43D5-87BE-67443E8EF086}">
      <p15:sldGuideLst xmlns:p15="http://schemas.microsoft.com/office/powerpoint/2012/main" xmlns="">
        <p15:guide id="1" orient="horz" pos="756">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RIA TLR9">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10" name="Picture 9" descr="TLR9_Endosome_and_Receptor_RGB LR.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0" y="2878140"/>
            <a:ext cx="8856000" cy="2125663"/>
          </a:xfrm>
          <a:prstGeom prst="rect">
            <a:avLst/>
          </a:prstGeom>
        </p:spPr>
      </p:pic>
    </p:spTree>
    <p:extLst>
      <p:ext uri="{BB962C8B-B14F-4D97-AF65-F5344CB8AC3E}">
        <p14:creationId xmlns:p14="http://schemas.microsoft.com/office/powerpoint/2010/main" val="327428972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1"/>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9860194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scovery Sciences_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0" y="2877964"/>
            <a:ext cx="8853082" cy="2113994"/>
          </a:xfrm>
          <a:prstGeom prst="rect">
            <a:avLst/>
          </a:prstGeom>
        </p:spPr>
      </p:pic>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67492558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44004"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25721374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4"/>
            <a:ext cx="8853082" cy="2128214"/>
          </a:xfrm>
          <a:prstGeom prst="rect">
            <a:avLst/>
          </a:prstGeom>
        </p:spPr>
      </p:pic>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29531022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Genomic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6000" cy="2113995"/>
          </a:xfrm>
          <a:prstGeom prst="rect">
            <a:avLst/>
          </a:prstGeom>
        </p:spPr>
      </p:pic>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74336235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VRM_interim">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xmlns=""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44000" y="2877965"/>
            <a:ext cx="8853082" cy="2124965"/>
          </a:xfrm>
          <a:prstGeom prst="rect">
            <a:avLst/>
          </a:prstGeom>
        </p:spPr>
      </p:pic>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84214044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Renal_Cardio">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xmlns=""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5267" y="2878748"/>
            <a:ext cx="8853082" cy="2123399"/>
          </a:xfrm>
          <a:prstGeom prst="rect">
            <a:avLst/>
          </a:prstGeom>
        </p:spPr>
      </p:pic>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37576184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4"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58046344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4"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7633558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xmlns="" id="{9B03F247-4297-4973-90A3-0193475AC741}"/>
              </a:ext>
            </a:extLst>
          </p:cNvPr>
          <p:cNvSpPr>
            <a:spLocks noGrp="1"/>
          </p:cNvSpPr>
          <p:nvPr>
            <p:ph type="dt" sz="half" idx="10"/>
          </p:nvPr>
        </p:nvSpPr>
        <p:spPr/>
        <p:txBody>
          <a:bodyPr/>
          <a:lstStyle>
            <a:lvl1pPr>
              <a:lnSpc>
                <a:spcPct val="100000"/>
              </a:lnSpc>
              <a:defRPr/>
            </a:lvl1pPr>
          </a:lstStyle>
          <a:p>
            <a:endParaRPr lang="en-GB"/>
          </a:p>
        </p:txBody>
      </p:sp>
      <p:sp>
        <p:nvSpPr>
          <p:cNvPr id="11" name="Slide Number Placeholder 10">
            <a:extLst>
              <a:ext uri="{FF2B5EF4-FFF2-40B4-BE49-F238E27FC236}">
                <a16:creationId xmlns:a16="http://schemas.microsoft.com/office/drawing/2014/main" xmlns="" id="{E358DA9E-BDF5-4DC7-B478-434301DA6253}"/>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xmlns="" id="{5D317BC2-3CD5-4931-93AD-CC95F2C50D24}"/>
              </a:ext>
            </a:extLst>
          </p:cNvPr>
          <p:cNvSpPr>
            <a:spLocks noGrp="1"/>
          </p:cNvSpPr>
          <p:nvPr>
            <p:ph type="body" sz="quarter" idx="111" hasCustomPrompt="1"/>
          </p:nvPr>
        </p:nvSpPr>
        <p:spPr>
          <a:xfrm>
            <a:off x="305992" y="4650581"/>
            <a:ext cx="7297340" cy="492919"/>
          </a:xfrm>
        </p:spPr>
        <p:txBody>
          <a:bodyPr anchor="b" anchorCtr="0">
            <a:noAutofit/>
          </a:bodyPr>
          <a:lstStyle>
            <a:lvl1pPr>
              <a:lnSpc>
                <a:spcPct val="100000"/>
              </a:lnSpc>
              <a:spcAft>
                <a:spcPts val="225"/>
              </a:spcAft>
              <a:buNone/>
              <a:defRPr sz="600"/>
            </a:lvl1pPr>
          </a:lstStyle>
          <a:p>
            <a:pPr lvl="0"/>
            <a:r>
              <a:rPr lang="en-US" dirty="0"/>
              <a:t>Footnotes</a:t>
            </a:r>
          </a:p>
        </p:txBody>
      </p:sp>
    </p:spTree>
    <p:custDataLst>
      <p:tags r:id="rId1"/>
    </p:custDataLst>
    <p:extLst>
      <p:ext uri="{BB962C8B-B14F-4D97-AF65-F5344CB8AC3E}">
        <p14:creationId xmlns:p14="http://schemas.microsoft.com/office/powerpoint/2010/main" val="283527062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4"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6874367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20"/>
            <a:ext cx="1998000" cy="659979"/>
          </a:xfrm>
          <a:prstGeom prst="rect">
            <a:avLst/>
          </a:prstGeom>
        </p:spPr>
      </p:pic>
      <p:sp>
        <p:nvSpPr>
          <p:cNvPr id="8" name="Title 8"/>
          <p:cNvSpPr>
            <a:spLocks noGrp="1"/>
          </p:cNvSpPr>
          <p:nvPr>
            <p:ph type="title" hasCustomPrompt="1"/>
          </p:nvPr>
        </p:nvSpPr>
        <p:spPr>
          <a:xfrm>
            <a:off x="216002"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590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15999" y="46653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6" name="Text Placeholder 29"/>
          <p:cNvSpPr>
            <a:spLocks noGrp="1"/>
          </p:cNvSpPr>
          <p:nvPr>
            <p:ph type="body" sz="quarter" idx="15" hasCustomPrompt="1"/>
          </p:nvPr>
        </p:nvSpPr>
        <p:spPr>
          <a:xfrm>
            <a:off x="7128000" y="44590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7" name="Text Placeholder 29"/>
          <p:cNvSpPr>
            <a:spLocks noGrp="1"/>
          </p:cNvSpPr>
          <p:nvPr>
            <p:ph type="body" sz="quarter" idx="13" hasCustomPrompt="1"/>
          </p:nvPr>
        </p:nvSpPr>
        <p:spPr>
          <a:xfrm>
            <a:off x="7128000" y="46653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91893823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8_Bullet Conten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62"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Title 8"/>
          <p:cNvSpPr>
            <a:spLocks noGrp="1"/>
          </p:cNvSpPr>
          <p:nvPr>
            <p:ph type="title" hasCustomPrompt="1"/>
          </p:nvPr>
        </p:nvSpPr>
        <p:spPr>
          <a:xfrm>
            <a:off x="237065"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a:t>Click to add 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987" indent="-179987">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60" indent="-179987">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54" indent="-179987">
              <a:defRPr sz="1400">
                <a:latin typeface="Arial" pitchFamily="34" charset="0"/>
                <a:cs typeface="Arial" pitchFamily="34" charset="0"/>
              </a:defRPr>
            </a:lvl4pPr>
            <a:lvl5pPr marL="62275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8" name="Slide Number Placeholder 5">
            <a:extLst>
              <a:ext uri="{FF2B5EF4-FFF2-40B4-BE49-F238E27FC236}">
                <a16:creationId xmlns:a16="http://schemas.microsoft.com/office/drawing/2014/main" xmlns="" id="{1A9F5A4F-ECD7-4748-950E-0C0F9B09A0F8}"/>
              </a:ext>
            </a:extLst>
          </p:cNvPr>
          <p:cNvSpPr>
            <a:spLocks noGrp="1"/>
          </p:cNvSpPr>
          <p:nvPr>
            <p:ph type="sldNum" sz="quarter" idx="12"/>
          </p:nvPr>
        </p:nvSpPr>
        <p:spPr>
          <a:xfrm>
            <a:off x="318375" y="4846754"/>
            <a:ext cx="396000" cy="162000"/>
          </a:xfrm>
          <a:prstGeom prst="rect">
            <a:avLst/>
          </a:prstGeom>
        </p:spPr>
        <p:txBody>
          <a:bodyPr/>
          <a:lstStyle/>
          <a:p>
            <a:pPr defTabSz="685766">
              <a:defRPr/>
            </a:pPr>
            <a:fld id="{75679B7F-22F7-4AD0-92AD-B1BFE58B2F44}" type="slidenum">
              <a:rPr lang="en-US" smtClean="0">
                <a:solidFill>
                  <a:srgbClr val="000000"/>
                </a:solidFill>
              </a:rPr>
              <a:pPr defTabSz="685766">
                <a:defRPr/>
              </a:pPr>
              <a:t>‹#›</a:t>
            </a:fld>
            <a:endParaRPr lang="en-US" dirty="0">
              <a:solidFill>
                <a:srgbClr val="000000"/>
              </a:solidFill>
            </a:endParaRPr>
          </a:p>
        </p:txBody>
      </p:sp>
    </p:spTree>
    <p:extLst>
      <p:ext uri="{BB962C8B-B14F-4D97-AF65-F5344CB8AC3E}">
        <p14:creationId xmlns:p14="http://schemas.microsoft.com/office/powerpoint/2010/main" val="322166682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5" y="190500"/>
            <a:ext cx="8429625" cy="628650"/>
          </a:xfrm>
        </p:spPr>
        <p:txBody>
          <a:bodyPr/>
          <a:lstStyle/>
          <a:p>
            <a:r>
              <a:rPr lang="en-US"/>
              <a:t>Click to edit Master title style</a:t>
            </a:r>
          </a:p>
        </p:txBody>
      </p:sp>
      <p:sp>
        <p:nvSpPr>
          <p:cNvPr id="3" name="Table Placeholder 2"/>
          <p:cNvSpPr>
            <a:spLocks noGrp="1"/>
          </p:cNvSpPr>
          <p:nvPr>
            <p:ph type="tbl" idx="1"/>
          </p:nvPr>
        </p:nvSpPr>
        <p:spPr>
          <a:xfrm>
            <a:off x="468316" y="990602"/>
            <a:ext cx="7989887" cy="3686175"/>
          </a:xfrm>
        </p:spPr>
        <p:txBody>
          <a:bodyPr/>
          <a:lstStyle/>
          <a:p>
            <a:pPr lvl="0"/>
            <a:endParaRPr lang="en-US" noProof="0" dirty="0"/>
          </a:p>
        </p:txBody>
      </p:sp>
    </p:spTree>
    <p:extLst>
      <p:ext uri="{BB962C8B-B14F-4D97-AF65-F5344CB8AC3E}">
        <p14:creationId xmlns:p14="http://schemas.microsoft.com/office/powerpoint/2010/main" val="3172131081"/>
      </p:ext>
    </p:extLst>
  </p:cSld>
  <p:clrMapOvr>
    <a:masterClrMapping/>
  </p:clrMapOvr>
  <p:transition advClick="0"/>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5" y="144000"/>
            <a:ext cx="8765651" cy="504000"/>
          </a:xfrm>
          <a:prstGeom prst="rect">
            <a:avLst/>
          </a:prstGeom>
        </p:spPr>
        <p:txBody>
          <a:bodyPr vert="horz"/>
          <a:lstStyle>
            <a:lvl1pPr algn="l">
              <a:lnSpc>
                <a:spcPct val="100000"/>
              </a:lnSpc>
              <a:defRPr sz="20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8975658" y="4981500"/>
            <a:ext cx="396000" cy="162000"/>
          </a:xfrm>
          <a:prstGeom prst="rect">
            <a:avLst/>
          </a:prstGeom>
        </p:spPr>
        <p:txBody>
          <a:bodyPr vert="horz" lIns="0" tIns="0" rIns="0" bIns="0" rtlCol="0" anchor="t" anchorCtr="0"/>
          <a:lstStyle>
            <a:lvl1pPr algn="l">
              <a:defRPr sz="700" b="0">
                <a:solidFill>
                  <a:schemeClr val="bg1">
                    <a:lumMod val="65000"/>
                  </a:schemeClr>
                </a:solidFill>
                <a:latin typeface="Arial" pitchFamily="34" charset="0"/>
                <a:cs typeface="Arial" pitchFamily="34" charset="0"/>
              </a:defRPr>
            </a:lvl1pPr>
          </a:lstStyle>
          <a:p>
            <a:pPr defTabSz="685766">
              <a:defRPr/>
            </a:pPr>
            <a:fld id="{3C4F54F3-C349-4609-AFEE-01462D5C7942}" type="slidenum">
              <a:rPr lang="en-GB" smtClean="0">
                <a:solidFill>
                  <a:srgbClr val="FFFFFF">
                    <a:lumMod val="65000"/>
                  </a:srgbClr>
                </a:solidFill>
              </a:rPr>
              <a:pPr defTabSz="685766">
                <a:defRPr/>
              </a:pPr>
              <a:t>‹#›</a:t>
            </a:fld>
            <a:endParaRPr lang="en-GB" dirty="0">
              <a:solidFill>
                <a:srgbClr val="FFFFFF">
                  <a:lumMod val="65000"/>
                </a:srgbClr>
              </a:solidFill>
            </a:endParaRPr>
          </a:p>
        </p:txBody>
      </p:sp>
      <p:sp>
        <p:nvSpPr>
          <p:cNvPr id="3" name="Content Placeholder 2">
            <a:extLst>
              <a:ext uri="{FF2B5EF4-FFF2-40B4-BE49-F238E27FC236}">
                <a16:creationId xmlns:a16="http://schemas.microsoft.com/office/drawing/2014/main" xmlns="" id="{FFBBB0F9-58D1-4E34-B118-31851B3B2510}"/>
              </a:ext>
            </a:extLst>
          </p:cNvPr>
          <p:cNvSpPr>
            <a:spLocks noGrp="1"/>
          </p:cNvSpPr>
          <p:nvPr>
            <p:ph sz="quarter" idx="10" hasCustomPrompt="1"/>
          </p:nvPr>
        </p:nvSpPr>
        <p:spPr>
          <a:xfrm>
            <a:off x="318377" y="3805910"/>
            <a:ext cx="8467013" cy="669984"/>
          </a:xfrm>
          <a:prstGeom prst="rect">
            <a:avLst/>
          </a:prstGeom>
          <a:noFill/>
          <a:ln>
            <a:solidFill>
              <a:schemeClr val="bg2"/>
            </a:solidFill>
          </a:ln>
        </p:spPr>
        <p:txBody>
          <a:bodyPr lIns="90000" tIns="108000"/>
          <a:lstStyle>
            <a:lvl1pPr marL="171438" indent="-171438">
              <a:buFont typeface="Arial" panose="020B0604020202020204" pitchFamily="34" charset="0"/>
              <a:buChar char="•"/>
              <a:defRPr sz="1000"/>
            </a:lvl1pPr>
            <a:lvl2pPr>
              <a:defRPr sz="1100"/>
            </a:lvl2pPr>
            <a:lvl3pPr>
              <a:defRPr sz="1100"/>
            </a:lvl3pPr>
            <a:lvl4pPr>
              <a:defRPr sz="1100"/>
            </a:lvl4pPr>
            <a:lvl5pPr>
              <a:defRPr sz="1100"/>
            </a:lvl5pPr>
          </a:lstStyle>
          <a:p>
            <a:pPr lvl="0"/>
            <a:r>
              <a:rPr lang="en-GB" dirty="0"/>
              <a:t>Points</a:t>
            </a:r>
          </a:p>
        </p:txBody>
      </p:sp>
      <p:sp>
        <p:nvSpPr>
          <p:cNvPr id="11" name="Content Placeholder 10">
            <a:extLst>
              <a:ext uri="{FF2B5EF4-FFF2-40B4-BE49-F238E27FC236}">
                <a16:creationId xmlns:a16="http://schemas.microsoft.com/office/drawing/2014/main" xmlns="" id="{4DB11908-AD02-4DC9-A9F0-5B5E1FF2A786}"/>
              </a:ext>
            </a:extLst>
          </p:cNvPr>
          <p:cNvSpPr>
            <a:spLocks noGrp="1"/>
          </p:cNvSpPr>
          <p:nvPr>
            <p:ph sz="quarter" idx="11" hasCustomPrompt="1"/>
          </p:nvPr>
        </p:nvSpPr>
        <p:spPr>
          <a:xfrm>
            <a:off x="236541" y="446852"/>
            <a:ext cx="8766175" cy="471487"/>
          </a:xfrm>
          <a:prstGeom prst="rect">
            <a:avLst/>
          </a:prstGeom>
        </p:spPr>
        <p:txBody>
          <a:bodyPr/>
          <a:lstStyle>
            <a:lvl1pPr marL="0" indent="0">
              <a:buNone/>
              <a:defRPr sz="1800" b="1">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Strapline</a:t>
            </a:r>
            <a:endParaRPr lang="en-GB" dirty="0"/>
          </a:p>
        </p:txBody>
      </p:sp>
      <p:sp>
        <p:nvSpPr>
          <p:cNvPr id="13" name="Content Placeholder 12">
            <a:extLst>
              <a:ext uri="{FF2B5EF4-FFF2-40B4-BE49-F238E27FC236}">
                <a16:creationId xmlns:a16="http://schemas.microsoft.com/office/drawing/2014/main" xmlns="" id="{91E6202A-0F46-4681-8B51-BC8F1301AE9F}"/>
              </a:ext>
            </a:extLst>
          </p:cNvPr>
          <p:cNvSpPr>
            <a:spLocks noGrp="1"/>
          </p:cNvSpPr>
          <p:nvPr>
            <p:ph sz="quarter" idx="12" hasCustomPrompt="1"/>
          </p:nvPr>
        </p:nvSpPr>
        <p:spPr>
          <a:xfrm>
            <a:off x="318377" y="4665904"/>
            <a:ext cx="5705907" cy="265112"/>
          </a:xfrm>
          <a:prstGeom prst="rect">
            <a:avLst/>
          </a:prstGeom>
          <a:ln>
            <a:noFill/>
          </a:ln>
        </p:spPr>
        <p:txBody>
          <a:bodyPr/>
          <a:lstStyle>
            <a:lvl1pPr marL="0" indent="0">
              <a:buNone/>
              <a:defRPr sz="800" i="1"/>
            </a:lvl1pPr>
          </a:lstStyle>
          <a:p>
            <a:pPr lvl="0"/>
            <a:r>
              <a:rPr lang="en-GB" dirty="0"/>
              <a:t>Source note</a:t>
            </a:r>
          </a:p>
        </p:txBody>
      </p:sp>
    </p:spTree>
    <p:extLst>
      <p:ext uri="{BB962C8B-B14F-4D97-AF65-F5344CB8AC3E}">
        <p14:creationId xmlns:p14="http://schemas.microsoft.com/office/powerpoint/2010/main" val="238386500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harma_Science_3">
    <p:spTree>
      <p:nvGrpSpPr>
        <p:cNvPr id="1" name=""/>
        <p:cNvGrpSpPr/>
        <p:nvPr/>
      </p:nvGrpSpPr>
      <p:grpSpPr>
        <a:xfrm>
          <a:off x="0" y="0"/>
          <a:ext cx="0" cy="0"/>
          <a:chOff x="0" y="0"/>
          <a:chExt cx="0" cy="0"/>
        </a:xfrm>
      </p:grpSpPr>
      <p:pic>
        <p:nvPicPr>
          <p:cNvPr id="3" name="Picture 2" descr="A picture containing cake, tree, reef, indoor&#10;&#10;Description automatically generated">
            <a:extLst>
              <a:ext uri="{FF2B5EF4-FFF2-40B4-BE49-F238E27FC236}">
                <a16:creationId xmlns:a16="http://schemas.microsoft.com/office/drawing/2014/main" xmlns="" id="{D70BBD08-7D34-5548-A954-46F975288B59}"/>
              </a:ext>
            </a:extLst>
          </p:cNvPr>
          <p:cNvPicPr>
            <a:picLocks noChangeAspect="1"/>
          </p:cNvPicPr>
          <p:nvPr userDrawn="1"/>
        </p:nvPicPr>
        <p:blipFill rotWithShape="1">
          <a:blip r:embed="rId2"/>
          <a:srcRect t="28772" b="28772"/>
          <a:stretch/>
        </p:blipFill>
        <p:spPr>
          <a:xfrm>
            <a:off x="144000" y="2877964"/>
            <a:ext cx="8852400" cy="211399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2700156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3" name="Text Placeholder 2">
            <a:extLst>
              <a:ext uri="{FF2B5EF4-FFF2-40B4-BE49-F238E27FC236}">
                <a16:creationId xmlns:a16="http://schemas.microsoft.com/office/drawing/2014/main" xmlns="" id="{45B05F92-A6E1-49DD-B2BF-740F47BFE38A}"/>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18384262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03040789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8255465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9130758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90764030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a:extLst>
              <a:ext uri="{FF2B5EF4-FFF2-40B4-BE49-F238E27FC236}">
                <a16:creationId xmlns:a16="http://schemas.microsoft.com/office/drawing/2014/main" xmlns="" id="{82284421-4DBC-4A98-B1A5-A1E4BDED171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95081D33-DA41-4A14-BA78-778402EB5031}"/>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0902423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a:extLst>
              <a:ext uri="{FF2B5EF4-FFF2-40B4-BE49-F238E27FC236}">
                <a16:creationId xmlns:a16="http://schemas.microsoft.com/office/drawing/2014/main" xmlns="" id="{095C53C1-D2C2-4A31-A19C-AD687FB606AF}"/>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FA868DCC-F3EE-4958-AB4B-9AE8452159CA}"/>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32442930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7" name="Slide Number Placeholder 5">
            <a:extLst>
              <a:ext uri="{FF2B5EF4-FFF2-40B4-BE49-F238E27FC236}">
                <a16:creationId xmlns:a16="http://schemas.microsoft.com/office/drawing/2014/main" xmlns="" id="{E25CC177-6F30-43A9-9021-54B08B026A8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D5B24FA1-C74F-46E5-8CD9-588D3D3B66C4}"/>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406685825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Slide Number Placeholder 5">
            <a:extLst>
              <a:ext uri="{FF2B5EF4-FFF2-40B4-BE49-F238E27FC236}">
                <a16:creationId xmlns:a16="http://schemas.microsoft.com/office/drawing/2014/main" xmlns="" id="{96D2657A-83A8-4446-9ECF-4DB7606ED02A}"/>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C4792A31-1DD7-4419-BF85-A22A5AAAA082}"/>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68483947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0" name="Slide Number Placeholder 5">
            <a:extLst>
              <a:ext uri="{FF2B5EF4-FFF2-40B4-BE49-F238E27FC236}">
                <a16:creationId xmlns:a16="http://schemas.microsoft.com/office/drawing/2014/main" xmlns="" id="{40C2E6E0-F6D1-4D1F-A758-178F3CC735E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ext Placeholder 2">
            <a:extLst>
              <a:ext uri="{FF2B5EF4-FFF2-40B4-BE49-F238E27FC236}">
                <a16:creationId xmlns:a16="http://schemas.microsoft.com/office/drawing/2014/main" xmlns="" id="{91393206-1C2B-4281-BDBB-3892541BB948}"/>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43418567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2" name="Slide Number Placeholder 5">
            <a:extLst>
              <a:ext uri="{FF2B5EF4-FFF2-40B4-BE49-F238E27FC236}">
                <a16:creationId xmlns:a16="http://schemas.microsoft.com/office/drawing/2014/main" xmlns="" id="{3868649E-2D6E-4A70-AD6B-9DF91B43E7ED}"/>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3" name="Text Placeholder 2">
            <a:extLst>
              <a:ext uri="{FF2B5EF4-FFF2-40B4-BE49-F238E27FC236}">
                <a16:creationId xmlns:a16="http://schemas.microsoft.com/office/drawing/2014/main" xmlns="" id="{5365073C-39D3-4247-9899-2091B548CB65}"/>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60132086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a:extLst>
              <a:ext uri="{FF2B5EF4-FFF2-40B4-BE49-F238E27FC236}">
                <a16:creationId xmlns:a16="http://schemas.microsoft.com/office/drawing/2014/main" xmlns="" id="{F90A50C5-55F4-48CB-97F0-EF059BC90FFB}"/>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B9312268-9416-496F-900C-346AC1FB7BE9}"/>
              </a:ext>
            </a:extLst>
          </p:cNvPr>
          <p:cNvSpPr>
            <a:spLocks noGrp="1"/>
          </p:cNvSpPr>
          <p:nvPr>
            <p:ph type="body" sz="quarter" idx="13"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22255579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a:extLst>
              <a:ext uri="{FF2B5EF4-FFF2-40B4-BE49-F238E27FC236}">
                <a16:creationId xmlns:a16="http://schemas.microsoft.com/office/drawing/2014/main" xmlns="" id="{C51D0713-F43C-4CF1-96C2-37647D0F228F}"/>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ext Placeholder 2">
            <a:extLst>
              <a:ext uri="{FF2B5EF4-FFF2-40B4-BE49-F238E27FC236}">
                <a16:creationId xmlns:a16="http://schemas.microsoft.com/office/drawing/2014/main" xmlns="" id="{47AFFC15-C701-4873-B641-BFBF469957DC}"/>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032740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Slide Number Placeholder 5">
            <a:extLst>
              <a:ext uri="{FF2B5EF4-FFF2-40B4-BE49-F238E27FC236}">
                <a16:creationId xmlns:a16="http://schemas.microsoft.com/office/drawing/2014/main" xmlns="" id="{F36F333D-5E59-4D89-A33A-3E5277E3B0FA}"/>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3" name="Text Placeholder 2">
            <a:extLst>
              <a:ext uri="{FF2B5EF4-FFF2-40B4-BE49-F238E27FC236}">
                <a16:creationId xmlns:a16="http://schemas.microsoft.com/office/drawing/2014/main" xmlns="" id="{1DBF80EA-0252-4FF5-A9EE-37B83007BCEC}"/>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407298771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Slide Number Placeholder 5">
            <a:extLst>
              <a:ext uri="{FF2B5EF4-FFF2-40B4-BE49-F238E27FC236}">
                <a16:creationId xmlns:a16="http://schemas.microsoft.com/office/drawing/2014/main" xmlns="" id="{885B9A71-0C4D-4F28-93E6-A1551255C571}"/>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F4FDA84A-B62A-44AD-AC31-12A2DF305AD0}"/>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01625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DS AZ_Title, Subtitle and Tex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4E26D3C-57EC-4CEF-A2A8-A07986F7F862}"/>
              </a:ext>
            </a:extLst>
          </p:cNvPr>
          <p:cNvSpPr>
            <a:spLocks noGrp="1"/>
          </p:cNvSpPr>
          <p:nvPr>
            <p:ph type="sldNum" sz="quarter" idx="10"/>
          </p:nvPr>
        </p:nvSpPr>
        <p:spPr/>
        <p:txBody>
          <a:bodyPr rtlCol="0"/>
          <a:lstStyle/>
          <a:p>
            <a:pPr rtl="0"/>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pic>
        <p:nvPicPr>
          <p:cNvPr id="12" name="Picture 11" descr="DSI-AZ-hor-COLOR.png"/>
          <p:cNvPicPr>
            <a:picLocks noChangeAspect="1"/>
          </p:cNvPicPr>
          <p:nvPr userDrawn="1"/>
        </p:nvPicPr>
        <p:blipFill rotWithShape="1">
          <a:blip r:embed="rId2">
            <a:extLst>
              <a:ext uri="{28A0092B-C50C-407E-A947-70E740481C1C}">
                <a14:useLocalDpi xmlns:a14="http://schemas.microsoft.com/office/drawing/2010/main" val="0"/>
              </a:ext>
            </a:extLst>
          </a:blip>
          <a:srcRect l="55567" t="1755"/>
          <a:stretch/>
        </p:blipFill>
        <p:spPr>
          <a:xfrm>
            <a:off x="1433245" y="4639499"/>
            <a:ext cx="1146086" cy="504001"/>
          </a:xfrm>
          <a:prstGeom prst="rect">
            <a:avLst/>
          </a:prstGeom>
        </p:spPr>
      </p:pic>
      <p:sp>
        <p:nvSpPr>
          <p:cNvPr id="16" name="Title 8">
            <a:extLst>
              <a:ext uri="{FF2B5EF4-FFF2-40B4-BE49-F238E27FC236}">
                <a16:creationId xmlns:a16="http://schemas.microsoft.com/office/drawing/2014/main" xmlns="" id="{DAAD880F-186C-4797-8B60-F942A0CBF0D9}"/>
              </a:ext>
            </a:extLst>
          </p:cNvPr>
          <p:cNvSpPr>
            <a:spLocks noGrp="1"/>
          </p:cNvSpPr>
          <p:nvPr>
            <p:ph type="title" hasCustomPrompt="1"/>
          </p:nvPr>
        </p:nvSpPr>
        <p:spPr>
          <a:xfrm>
            <a:off x="304799" y="357060"/>
            <a:ext cx="8524875" cy="504000"/>
          </a:xfrm>
          <a:prstGeom prst="rect">
            <a:avLst/>
          </a:prstGeom>
        </p:spPr>
        <p:txBody>
          <a:bodyPr vert="horz" lIns="0" rtlCol="0"/>
          <a:lstStyle>
            <a:lvl1pPr algn="l">
              <a:defRPr sz="2600" b="1" baseline="0">
                <a:solidFill>
                  <a:schemeClr val="tx2"/>
                </a:solidFill>
                <a:latin typeface="Arial" pitchFamily="34" charset="0"/>
                <a:cs typeface="Arial" pitchFamily="34" charset="0"/>
              </a:defRPr>
            </a:lvl1pPr>
          </a:lstStyle>
          <a:p>
            <a:pPr rtl="0"/>
            <a:r>
              <a:rPr lang="ru" noProof="0"/>
              <a:t>Click to add slide title</a:t>
            </a:r>
          </a:p>
        </p:txBody>
      </p:sp>
      <p:sp>
        <p:nvSpPr>
          <p:cNvPr id="17" name="Subtitle 2">
            <a:extLst>
              <a:ext uri="{FF2B5EF4-FFF2-40B4-BE49-F238E27FC236}">
                <a16:creationId xmlns:a16="http://schemas.microsoft.com/office/drawing/2014/main" xmlns="" id="{398572C5-B722-46A9-9CC8-4DF78C5FB7BD}"/>
              </a:ext>
            </a:extLst>
          </p:cNvPr>
          <p:cNvSpPr>
            <a:spLocks noGrp="1"/>
          </p:cNvSpPr>
          <p:nvPr>
            <p:ph type="subTitle" idx="12" hasCustomPrompt="1"/>
          </p:nvPr>
        </p:nvSpPr>
        <p:spPr>
          <a:xfrm>
            <a:off x="304801" y="141978"/>
            <a:ext cx="8524874" cy="212704"/>
          </a:xfrm>
          <a:prstGeom prst="rect">
            <a:avLst/>
          </a:prstGeom>
        </p:spPr>
        <p:txBody>
          <a:bodyPr lIns="0" rtlCol="0" anchor="ctr"/>
          <a:lstStyle>
            <a:lvl1pPr marL="0" indent="0" algn="l">
              <a:lnSpc>
                <a:spcPct val="100000"/>
              </a:lnSpc>
              <a:spcBef>
                <a:spcPts val="0"/>
              </a:spcBef>
              <a:buNone/>
              <a:defRPr sz="1800" i="1">
                <a:solidFill>
                  <a:schemeClr val="accent2"/>
                </a:solidFill>
                <a:latin typeface="Arial" pitchFamily="34" charset="0"/>
                <a:cs typeface="Arial"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pPr rtl="0"/>
            <a:r>
              <a:rPr lang="ru" noProof="0"/>
              <a:t>Click to add subtitle</a:t>
            </a:r>
          </a:p>
        </p:txBody>
      </p:sp>
    </p:spTree>
    <p:extLst>
      <p:ext uri="{BB962C8B-B14F-4D97-AF65-F5344CB8AC3E}">
        <p14:creationId xmlns:p14="http://schemas.microsoft.com/office/powerpoint/2010/main" val="2638176636"/>
      </p:ext>
    </p:extLst>
  </p:cSld>
  <p:clrMapOvr>
    <a:masterClrMapping/>
  </p:clrMapOvr>
  <p:extLst>
    <p:ext uri="{DCECCB84-F9BA-43D5-87BE-67443E8EF086}">
      <p15:sldGuideLst xmlns:p15="http://schemas.microsoft.com/office/powerpoint/2012/main" xmlns="">
        <p15:guide id="1" orient="horz" pos="756">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0" name="Slide Number Placeholder 5">
            <a:extLst>
              <a:ext uri="{FF2B5EF4-FFF2-40B4-BE49-F238E27FC236}">
                <a16:creationId xmlns:a16="http://schemas.microsoft.com/office/drawing/2014/main" xmlns="" id="{E517517F-DB41-4249-9050-628DF66E94F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2" name="Text Placeholder 2">
            <a:extLst>
              <a:ext uri="{FF2B5EF4-FFF2-40B4-BE49-F238E27FC236}">
                <a16:creationId xmlns:a16="http://schemas.microsoft.com/office/drawing/2014/main" xmlns="" id="{5D594280-6FF2-49B7-B178-9AEB3609A733}"/>
              </a:ext>
            </a:extLst>
          </p:cNvPr>
          <p:cNvSpPr>
            <a:spLocks noGrp="1"/>
          </p:cNvSpPr>
          <p:nvPr>
            <p:ph type="body" sz="quarter" idx="20"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40112133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a:extLst>
              <a:ext uri="{FF2B5EF4-FFF2-40B4-BE49-F238E27FC236}">
                <a16:creationId xmlns:a16="http://schemas.microsoft.com/office/drawing/2014/main" xmlns="" id="{2ECAA4CE-DF96-43A0-9589-F7606B96D139}"/>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3B4A887D-7E79-42A3-A34A-AB85F7FD0F16}"/>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80725888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Slide Number Placeholder 5">
            <a:extLst>
              <a:ext uri="{FF2B5EF4-FFF2-40B4-BE49-F238E27FC236}">
                <a16:creationId xmlns:a16="http://schemas.microsoft.com/office/drawing/2014/main" xmlns="" id="{6A7B085B-EF3A-467F-B7FE-4FEB32477D66}"/>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D0709A33-4CD7-4866-A0F6-AD46ABAB1A4F}"/>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03199858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a:extLst>
              <a:ext uri="{FF2B5EF4-FFF2-40B4-BE49-F238E27FC236}">
                <a16:creationId xmlns:a16="http://schemas.microsoft.com/office/drawing/2014/main" xmlns="" id="{63EEE19F-00CE-489F-AE44-554C95CBAB79}"/>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588405D7-1795-4971-97C2-C10B8455CB55}"/>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99398350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Slide Number Placeholder 5">
            <a:extLst>
              <a:ext uri="{FF2B5EF4-FFF2-40B4-BE49-F238E27FC236}">
                <a16:creationId xmlns:a16="http://schemas.microsoft.com/office/drawing/2014/main" xmlns="" id="{CD42ABFB-4016-4277-BFF7-A1FC425AD8BF}"/>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ext Placeholder 2">
            <a:extLst>
              <a:ext uri="{FF2B5EF4-FFF2-40B4-BE49-F238E27FC236}">
                <a16:creationId xmlns:a16="http://schemas.microsoft.com/office/drawing/2014/main" xmlns="" id="{EDC7DA07-4A29-4710-B2DD-DC56F71DFFE7}"/>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08560720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0" name="Slide Number Placeholder 5">
            <a:extLst>
              <a:ext uri="{FF2B5EF4-FFF2-40B4-BE49-F238E27FC236}">
                <a16:creationId xmlns:a16="http://schemas.microsoft.com/office/drawing/2014/main" xmlns="" id="{6C1F5689-FDF0-4217-B876-A4E87E274B06}"/>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ext Placeholder 2">
            <a:extLst>
              <a:ext uri="{FF2B5EF4-FFF2-40B4-BE49-F238E27FC236}">
                <a16:creationId xmlns:a16="http://schemas.microsoft.com/office/drawing/2014/main" xmlns="" id="{46D7973B-2EA4-481D-9133-B333B10E48AD}"/>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309469427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500" indent="-135000">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
        <p:nvSpPr>
          <p:cNvPr id="6" name="Slide Number Placeholder 5">
            <a:extLst>
              <a:ext uri="{FF2B5EF4-FFF2-40B4-BE49-F238E27FC236}">
                <a16:creationId xmlns:a16="http://schemas.microsoft.com/office/drawing/2014/main" xmlns="" id="{18665DB4-41F4-4FCC-867E-163A51C63BA1}"/>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ext Placeholder 2">
            <a:extLst>
              <a:ext uri="{FF2B5EF4-FFF2-40B4-BE49-F238E27FC236}">
                <a16:creationId xmlns:a16="http://schemas.microsoft.com/office/drawing/2014/main" xmlns="" id="{3F8241EC-B487-4E23-9DA1-400561D74AA3}"/>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84975394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5" name="Slide Number Placeholder 5">
            <a:extLst>
              <a:ext uri="{FF2B5EF4-FFF2-40B4-BE49-F238E27FC236}">
                <a16:creationId xmlns:a16="http://schemas.microsoft.com/office/drawing/2014/main" xmlns="" id="{6D634C2E-41EE-4B30-A19D-31EBECF31F06}"/>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ext Placeholder 2">
            <a:extLst>
              <a:ext uri="{FF2B5EF4-FFF2-40B4-BE49-F238E27FC236}">
                <a16:creationId xmlns:a16="http://schemas.microsoft.com/office/drawing/2014/main" xmlns="" id="{B63136E2-0D15-4A17-BCC2-EB22D8432DD2}"/>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13637743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84303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202235"/>
            <a:ext cx="8765651" cy="310500"/>
          </a:xfrm>
          <a:prstGeom prst="rect">
            <a:avLst/>
          </a:prstGeom>
        </p:spPr>
        <p:txBody>
          <a:bodyPr vert="horz"/>
          <a:lstStyle>
            <a:lvl1pPr algn="l" defTabSz="457200"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ts val="225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Tree>
    <p:extLst>
      <p:ext uri="{BB962C8B-B14F-4D97-AF65-F5344CB8AC3E}">
        <p14:creationId xmlns:p14="http://schemas.microsoft.com/office/powerpoint/2010/main" val="3246575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DS AZ_Title and Text">
    <p:spTree>
      <p:nvGrpSpPr>
        <p:cNvPr id="1" name=""/>
        <p:cNvGrpSpPr/>
        <p:nvPr/>
      </p:nvGrpSpPr>
      <p:grpSpPr>
        <a:xfrm>
          <a:off x="0" y="0"/>
          <a:ext cx="0" cy="0"/>
          <a:chOff x="0" y="0"/>
          <a:chExt cx="0" cy="0"/>
        </a:xfrm>
      </p:grpSpPr>
      <p:sp>
        <p:nvSpPr>
          <p:cNvPr id="4" name="Title 8"/>
          <p:cNvSpPr>
            <a:spLocks noGrp="1"/>
          </p:cNvSpPr>
          <p:nvPr userDrawn="1">
            <p:ph type="title" hasCustomPrompt="1"/>
          </p:nvPr>
        </p:nvSpPr>
        <p:spPr>
          <a:xfrm>
            <a:off x="304799" y="144000"/>
            <a:ext cx="8524875" cy="504000"/>
          </a:xfrm>
          <a:prstGeom prst="rect">
            <a:avLst/>
          </a:prstGeom>
        </p:spPr>
        <p:txBody>
          <a:bodyPr vert="horz" lIns="0" rtlCol="0"/>
          <a:lstStyle>
            <a:lvl1pPr algn="l">
              <a:defRPr sz="2800" b="1" baseline="0">
                <a:solidFill>
                  <a:schemeClr val="tx2"/>
                </a:solidFill>
                <a:latin typeface="Arial" pitchFamily="34" charset="0"/>
                <a:cs typeface="Arial" pitchFamily="34" charset="0"/>
              </a:defRPr>
            </a:lvl1pPr>
          </a:lstStyle>
          <a:p>
            <a:pPr rtl="0"/>
            <a:r>
              <a:rPr lang="ru" noProof="0"/>
              <a:t>Click to add slide title</a:t>
            </a:r>
          </a:p>
        </p:txBody>
      </p:sp>
      <p:sp>
        <p:nvSpPr>
          <p:cNvPr id="8" name="Text Placeholder 7">
            <a:extLst>
              <a:ext uri="{FF2B5EF4-FFF2-40B4-BE49-F238E27FC236}">
                <a16:creationId xmlns:a16="http://schemas.microsoft.com/office/drawing/2014/main" xmlns="" id="{B12EC8AA-523E-4C27-980C-E290647A9431}"/>
              </a:ext>
            </a:extLst>
          </p:cNvPr>
          <p:cNvSpPr>
            <a:spLocks noGrp="1"/>
          </p:cNvSpPr>
          <p:nvPr userDrawn="1">
            <p:ph type="body" sz="quarter" idx="11" hasCustomPrompt="1"/>
          </p:nvPr>
        </p:nvSpPr>
        <p:spPr>
          <a:xfrm>
            <a:off x="304801" y="1200151"/>
            <a:ext cx="8524875" cy="3414713"/>
          </a:xfrm>
          <a:prstGeom prst="rect">
            <a:avLst/>
          </a:prstGeom>
        </p:spPr>
        <p:txBody>
          <a:bodyPr lIns="0" rtlCol="0"/>
          <a:lstStyle>
            <a:lvl1pPr marL="0" indent="0">
              <a:buFont typeface="Arial" panose="020B0604020202020204" pitchFamily="34" charset="0"/>
              <a:buNone/>
              <a:defRPr sz="2800">
                <a:solidFill>
                  <a:schemeClr val="tx2"/>
                </a:solidFill>
              </a:defRPr>
            </a:lvl1pPr>
            <a:lvl2pPr marL="228594" indent="-228594">
              <a:buClr>
                <a:schemeClr val="accent3"/>
              </a:buClr>
              <a:buFont typeface="Arial" panose="020B0604020202020204" pitchFamily="34" charset="0"/>
              <a:buChar char="•"/>
              <a:defRPr sz="2400">
                <a:solidFill>
                  <a:schemeClr val="tx2"/>
                </a:solidFill>
              </a:defRPr>
            </a:lvl2pPr>
            <a:lvl3pPr marL="457189" indent="-228594">
              <a:buClr>
                <a:schemeClr val="accent3"/>
              </a:buClr>
              <a:buFont typeface="Arial" panose="020B0604020202020204" pitchFamily="34" charset="0"/>
              <a:buChar char="–"/>
              <a:defRPr sz="2000">
                <a:solidFill>
                  <a:schemeClr val="tx2"/>
                </a:solidFill>
              </a:defRPr>
            </a:lvl3pPr>
            <a:lvl4pPr marL="685783" indent="-228594">
              <a:buClr>
                <a:schemeClr val="accent3"/>
              </a:buClr>
              <a:buFont typeface="Arial" panose="020B0604020202020204" pitchFamily="34" charset="0"/>
              <a:buChar char="•"/>
              <a:defRPr sz="1800">
                <a:solidFill>
                  <a:schemeClr val="tx2"/>
                </a:solidFill>
              </a:defRPr>
            </a:lvl4pPr>
            <a:lvl5pPr marL="914378" indent="-228594">
              <a:buClr>
                <a:schemeClr val="accent3"/>
              </a:buClr>
              <a:buFont typeface="Arial" panose="020B0604020202020204" pitchFamily="34" charset="0"/>
              <a:buChar char="–"/>
              <a:defRPr sz="1800">
                <a:solidFill>
                  <a:schemeClr val="tx2"/>
                </a:solidFill>
              </a:defRPr>
            </a:lvl5pPr>
          </a:lstStyle>
          <a:p>
            <a:pPr lvl="0" rtl="0"/>
            <a:r>
              <a:rPr lang="ru"/>
              <a:t>First level</a:t>
            </a:r>
          </a:p>
          <a:p>
            <a:pPr lvl="1" rtl="0"/>
            <a:r>
              <a:rPr lang="ru"/>
              <a:t>Second level</a:t>
            </a:r>
          </a:p>
          <a:p>
            <a:pPr lvl="2" rtl="0"/>
            <a:r>
              <a:rPr lang="ru"/>
              <a:t>Third level</a:t>
            </a:r>
          </a:p>
          <a:p>
            <a:pPr lvl="3" rtl="0"/>
            <a:r>
              <a:rPr lang="ru"/>
              <a:t>Fourth level</a:t>
            </a:r>
          </a:p>
          <a:p>
            <a:pPr lvl="4" rtl="0"/>
            <a:r>
              <a:rPr lang="ru"/>
              <a:t>Fifth level</a:t>
            </a:r>
          </a:p>
        </p:txBody>
      </p:sp>
      <p:pic>
        <p:nvPicPr>
          <p:cNvPr id="11" name="Рисунок 7">
            <a:extLst>
              <a:ext uri="{FF2B5EF4-FFF2-40B4-BE49-F238E27FC236}">
                <a16:creationId xmlns:a16="http://schemas.microsoft.com/office/drawing/2014/main" xmlns="" id="{DC01D43C-DEF8-492A-9A28-3F0F08E3241B}"/>
              </a:ext>
            </a:extLst>
          </p:cNvPr>
          <p:cNvPicPr>
            <a:picLocks noChangeAspect="1"/>
          </p:cNvPicPr>
          <p:nvPr userDrawn="1"/>
        </p:nvPicPr>
        <p:blipFill>
          <a:blip r:embed="rId2"/>
          <a:stretch>
            <a:fillRect/>
          </a:stretch>
        </p:blipFill>
        <p:spPr>
          <a:xfrm>
            <a:off x="7699034" y="4667639"/>
            <a:ext cx="1314887" cy="324103"/>
          </a:xfrm>
          <a:prstGeom prst="rect">
            <a:avLst/>
          </a:prstGeom>
        </p:spPr>
      </p:pic>
    </p:spTree>
    <p:extLst>
      <p:ext uri="{BB962C8B-B14F-4D97-AF65-F5344CB8AC3E}">
        <p14:creationId xmlns:p14="http://schemas.microsoft.com/office/powerpoint/2010/main" val="4063901699"/>
      </p:ext>
    </p:extLst>
  </p:cSld>
  <p:clrMapOvr>
    <a:masterClrMapping/>
  </p:clrMapOvr>
  <p:extLst>
    <p:ext uri="{DCECCB84-F9BA-43D5-87BE-67443E8EF086}">
      <p15:sldGuideLst xmlns:p15="http://schemas.microsoft.com/office/powerpoint/2012/main" xmlns="">
        <p15:guide id="1" orient="horz" pos="756">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BFF445E5-F42D-422B-A336-403D431DF87A}"/>
              </a:ext>
            </a:extLst>
          </p:cNvPr>
          <p:cNvSpPr>
            <a:spLocks noGrp="1"/>
          </p:cNvSpPr>
          <p:nvPr>
            <p:ph type="title"/>
          </p:nvPr>
        </p:nvSpPr>
        <p:spPr>
          <a:xfrm>
            <a:off x="252582" y="170943"/>
            <a:ext cx="6624122" cy="600074"/>
          </a:xfrm>
          <a:prstGeom prst="rect">
            <a:avLst/>
          </a:prstGeom>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201203009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53949" y="4767273"/>
            <a:ext cx="2895600" cy="273844"/>
          </a:xfrm>
        </p:spPr>
        <p:txBody>
          <a:bodyPr/>
          <a:lstStyle>
            <a:lvl1pPr>
              <a:defRPr>
                <a:solidFill>
                  <a:srgbClr val="FFFFFF"/>
                </a:solidFill>
              </a:defRPr>
            </a:lvl1pPr>
          </a:lstStyle>
          <a:p>
            <a:endParaRPr lang="en-US" dirty="0"/>
          </a:p>
        </p:txBody>
      </p:sp>
      <p:sp>
        <p:nvSpPr>
          <p:cNvPr id="4" name="Slide Number Placeholder 3"/>
          <p:cNvSpPr>
            <a:spLocks noGrp="1"/>
          </p:cNvSpPr>
          <p:nvPr>
            <p:ph type="sldNum" sz="quarter" idx="12"/>
          </p:nvPr>
        </p:nvSpPr>
        <p:spPr>
          <a:xfrm>
            <a:off x="3675063" y="4767273"/>
            <a:ext cx="2133600" cy="273844"/>
          </a:xfrm>
        </p:spPr>
        <p:txBody>
          <a:bodyPr/>
          <a:lstStyle>
            <a:lvl1pPr algn="ctr">
              <a:defRPr>
                <a:solidFill>
                  <a:srgbClr val="FFFFFF"/>
                </a:solidFill>
              </a:defRPr>
            </a:lvl1pPr>
          </a:lstStyle>
          <a:p>
            <a:fld id="{D9DADDD7-F6DB-DE43-84D3-BDE65D6DBA61}" type="slidenum">
              <a:rPr lang="en-US" smtClean="0"/>
              <a:pPr/>
              <a:t>‹#›</a:t>
            </a:fld>
            <a:endParaRPr lang="en-US" dirty="0"/>
          </a:p>
        </p:txBody>
      </p:sp>
      <p:sp>
        <p:nvSpPr>
          <p:cNvPr id="5" name="Title 1"/>
          <p:cNvSpPr>
            <a:spLocks noGrp="1"/>
          </p:cNvSpPr>
          <p:nvPr>
            <p:ph type="title"/>
          </p:nvPr>
        </p:nvSpPr>
        <p:spPr>
          <a:xfrm>
            <a:off x="353953" y="66823"/>
            <a:ext cx="8545707" cy="513926"/>
          </a:xfrm>
        </p:spPr>
        <p:txBody>
          <a:bodyPr/>
          <a:lstStyle/>
          <a:p>
            <a:r>
              <a:rPr lang="en-US"/>
              <a:t>Click to edit Master title style</a:t>
            </a:r>
            <a:endParaRPr lang="en-US" dirty="0"/>
          </a:p>
        </p:txBody>
      </p:sp>
    </p:spTree>
    <p:extLst>
      <p:ext uri="{BB962C8B-B14F-4D97-AF65-F5344CB8AC3E}">
        <p14:creationId xmlns:p14="http://schemas.microsoft.com/office/powerpoint/2010/main" val="404664545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128958-009D-4DBF-B832-ED56DBE2D232}" type="datetime1">
              <a:rPr lang="en-US" smtClean="0"/>
              <a:t>6/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9120"/>
            <a:ext cx="7543800" cy="754380"/>
          </a:xfrm>
        </p:spPr>
        <p:txBody>
          <a:bodyPr anchor="b">
            <a:normAutofit/>
          </a:bodyPr>
          <a:lstStyle>
            <a:lvl1pPr marL="0" indent="0">
              <a:spcBef>
                <a:spcPts val="225"/>
              </a:spcBef>
              <a:buNone/>
              <a:defRPr sz="750">
                <a:solidFill>
                  <a:schemeClr val="tx1"/>
                </a:solidFill>
              </a:defRPr>
            </a:lvl1pPr>
            <a:lvl2pPr marL="171450" indent="0">
              <a:buNone/>
              <a:defRPr>
                <a:solidFill>
                  <a:schemeClr val="tx1"/>
                </a:solidFill>
              </a:defRPr>
            </a:lvl2pPr>
            <a:lvl3pPr marL="342900" indent="0">
              <a:buNone/>
              <a:defRPr>
                <a:solidFill>
                  <a:schemeClr val="tx1"/>
                </a:solidFill>
              </a:defRPr>
            </a:lvl3pPr>
            <a:lvl4pPr marL="514350" indent="0">
              <a:buNone/>
              <a:defRPr>
                <a:solidFill>
                  <a:schemeClr val="tx1"/>
                </a:solidFill>
              </a:defRPr>
            </a:lvl4pPr>
            <a:lvl5pPr marL="685800" indent="0">
              <a:buNone/>
              <a:defRPr>
                <a:solidFill>
                  <a:schemeClr val="tx1"/>
                </a:solidFill>
              </a:defRPr>
            </a:lvl5pPr>
          </a:lstStyle>
          <a:p>
            <a:pPr lvl="0"/>
            <a:r>
              <a:rPr lang="en-US" dirty="0"/>
              <a:t>Reference(s)</a:t>
            </a:r>
          </a:p>
        </p:txBody>
      </p:sp>
    </p:spTree>
    <p:extLst>
      <p:ext uri="{BB962C8B-B14F-4D97-AF65-F5344CB8AC3E}">
        <p14:creationId xmlns:p14="http://schemas.microsoft.com/office/powerpoint/2010/main" val="2148897037"/>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FC273BA-89AD-4B2C-8B24-DE3113396BD3}" type="datetime1">
              <a:rPr lang="en-US" smtClean="0"/>
              <a:t>6/2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9120"/>
            <a:ext cx="7543800" cy="754380"/>
          </a:xfrm>
        </p:spPr>
        <p:txBody>
          <a:bodyPr anchor="b">
            <a:noAutofit/>
          </a:bodyPr>
          <a:lstStyle>
            <a:lvl1pPr marL="0" indent="0">
              <a:spcBef>
                <a:spcPts val="225"/>
              </a:spcBef>
              <a:buNone/>
              <a:defRPr sz="750"/>
            </a:lvl1pPr>
            <a:lvl2pPr marL="171450" indent="0">
              <a:spcBef>
                <a:spcPts val="225"/>
              </a:spcBef>
              <a:buNone/>
              <a:defRPr sz="750"/>
            </a:lvl2pPr>
            <a:lvl3pPr marL="342900" indent="0">
              <a:spcBef>
                <a:spcPts val="225"/>
              </a:spcBef>
              <a:buNone/>
              <a:defRPr sz="750"/>
            </a:lvl3pPr>
            <a:lvl4pPr marL="514350" indent="0">
              <a:spcBef>
                <a:spcPts val="225"/>
              </a:spcBef>
              <a:buNone/>
              <a:defRPr sz="750"/>
            </a:lvl4pPr>
            <a:lvl5pPr marL="685800" indent="0">
              <a:spcBef>
                <a:spcPts val="225"/>
              </a:spcBef>
              <a:buNone/>
              <a:defRPr sz="750"/>
            </a:lvl5pPr>
          </a:lstStyle>
          <a:p>
            <a:pPr lvl="0"/>
            <a:r>
              <a:rPr lang="en-US" dirty="0"/>
              <a:t>Reference(s)</a:t>
            </a:r>
          </a:p>
        </p:txBody>
      </p:sp>
    </p:spTree>
    <p:extLst>
      <p:ext uri="{BB962C8B-B14F-4D97-AF65-F5344CB8AC3E}">
        <p14:creationId xmlns:p14="http://schemas.microsoft.com/office/powerpoint/2010/main" val="262827149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60243164-1FC9-4009-B0AB-D56AA902E8BB}" type="datetime1">
              <a:rPr lang="en-US" smtClean="0"/>
              <a:t>6/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ctr"/>
            <a:fld id="{CC7432E5-F8E0-41AE-9A6B-AD730338B005}" type="slidenum">
              <a:rPr lang="en-US" smtClean="0"/>
              <a:pPr algn="ctr"/>
              <a:t>‹#›</a:t>
            </a:fld>
            <a:endParaRPr lang="en-US" dirty="0"/>
          </a:p>
        </p:txBody>
      </p:sp>
      <p:sp>
        <p:nvSpPr>
          <p:cNvPr id="8" name="Text Placeholder 7"/>
          <p:cNvSpPr>
            <a:spLocks noGrp="1"/>
          </p:cNvSpPr>
          <p:nvPr>
            <p:ph type="body" sz="quarter" idx="13" hasCustomPrompt="1"/>
          </p:nvPr>
        </p:nvSpPr>
        <p:spPr>
          <a:xfrm>
            <a:off x="342900" y="4388702"/>
            <a:ext cx="7391400" cy="75438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946404"/>
            <a:ext cx="845820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409739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0" name="Rectangle 9"/>
          <p:cNvSpPr/>
          <p:nvPr userDrawn="1"/>
        </p:nvSpPr>
        <p:spPr>
          <a:xfrm>
            <a:off x="145125" y="117088"/>
            <a:ext cx="8856000" cy="48417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 name="Title 1"/>
          <p:cNvSpPr>
            <a:spLocks noGrp="1"/>
          </p:cNvSpPr>
          <p:nvPr>
            <p:ph type="title" hasCustomPrompt="1"/>
          </p:nvPr>
        </p:nvSpPr>
        <p:spPr>
          <a:xfrm>
            <a:off x="342900" y="952774"/>
            <a:ext cx="8458200" cy="424732"/>
          </a:xfrm>
        </p:spPr>
        <p:txBody>
          <a:bodyPr anchor="t">
            <a:spAutoFit/>
          </a:bodyPr>
          <a:lstStyle>
            <a:lvl1pPr>
              <a:defRPr sz="2400">
                <a:solidFill>
                  <a:schemeClr val="bg1"/>
                </a:solidFill>
              </a:defRPr>
            </a:lvl1pPr>
          </a:lstStyle>
          <a:p>
            <a:r>
              <a:rPr lang="en-US" dirty="0"/>
              <a:t>Click to add divider title</a:t>
            </a:r>
          </a:p>
        </p:txBody>
      </p:sp>
      <p:sp>
        <p:nvSpPr>
          <p:cNvPr id="4" name="Date Placeholder 3"/>
          <p:cNvSpPr>
            <a:spLocks noGrp="1"/>
          </p:cNvSpPr>
          <p:nvPr>
            <p:ph type="dt" sz="half" idx="10"/>
          </p:nvPr>
        </p:nvSpPr>
        <p:spPr/>
        <p:txBody>
          <a:bodyPr/>
          <a:lstStyle/>
          <a:p>
            <a:fld id="{74FA187F-77D8-44AB-99A3-596B6D28DB9F}" type="datetime1">
              <a:rPr lang="en-US" smtClean="0"/>
              <a:t>6/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1" name="Text Placeholder 6">
            <a:extLst>
              <a:ext uri="{FF2B5EF4-FFF2-40B4-BE49-F238E27FC236}">
                <a16:creationId xmlns:a16="http://schemas.microsoft.com/office/drawing/2014/main" xmlns="" id="{C290D6F0-A744-4762-BA4F-BBADC0F28504}"/>
              </a:ext>
            </a:extLst>
          </p:cNvPr>
          <p:cNvSpPr>
            <a:spLocks noGrp="1"/>
          </p:cNvSpPr>
          <p:nvPr>
            <p:ph type="body" sz="quarter" idx="13" hasCustomPrompt="1"/>
          </p:nvPr>
        </p:nvSpPr>
        <p:spPr>
          <a:xfrm>
            <a:off x="342900" y="4192877"/>
            <a:ext cx="7391400" cy="754380"/>
          </a:xfrm>
        </p:spPr>
        <p:txBody>
          <a:bodyPr anchor="b">
            <a:noAutofit/>
          </a:bodyPr>
          <a:lstStyle>
            <a:lvl1pPr marL="0" indent="0">
              <a:spcBef>
                <a:spcPts val="225"/>
              </a:spcBef>
              <a:buNone/>
              <a:defRPr sz="750">
                <a:solidFill>
                  <a:schemeClr val="bg1"/>
                </a:solidFill>
              </a:defRPr>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8" name="TextBox 7">
            <a:extLst>
              <a:ext uri="{FF2B5EF4-FFF2-40B4-BE49-F238E27FC236}">
                <a16:creationId xmlns:a16="http://schemas.microsoft.com/office/drawing/2014/main" xmlns="" id="{F59F0994-F17C-46C2-935A-B93E8CA3C61A}"/>
              </a:ext>
            </a:extLst>
          </p:cNvPr>
          <p:cNvSpPr txBox="1"/>
          <p:nvPr userDrawn="1"/>
        </p:nvSpPr>
        <p:spPr>
          <a:xfrm>
            <a:off x="7620000" y="4958835"/>
            <a:ext cx="1524000" cy="207749"/>
          </a:xfrm>
          <a:prstGeom prst="rect">
            <a:avLst/>
          </a:prstGeom>
          <a:noFill/>
        </p:spPr>
        <p:txBody>
          <a:bodyPr wrap="square" rtlCol="0">
            <a:spAutoFit/>
          </a:bodyPr>
          <a:lstStyle/>
          <a:p>
            <a:pPr algn="r"/>
            <a:r>
              <a:rPr lang="en-US" sz="750" b="0" baseline="0" dirty="0">
                <a:solidFill>
                  <a:schemeClr val="tx1"/>
                </a:solidFill>
                <a:latin typeface="Arial" pitchFamily="34" charset="0"/>
                <a:cs typeface="Arial" pitchFamily="34" charset="0"/>
              </a:rPr>
              <a:t>© AstraZeneca 2020</a:t>
            </a:r>
          </a:p>
        </p:txBody>
      </p:sp>
    </p:spTree>
    <p:extLst>
      <p:ext uri="{BB962C8B-B14F-4D97-AF65-F5344CB8AC3E}">
        <p14:creationId xmlns:p14="http://schemas.microsoft.com/office/powerpoint/2010/main" val="242376205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F7931E2-EDD0-4116-93D3-AFB5F385AD78}" type="datetime1">
              <a:rPr lang="en-US" smtClean="0"/>
              <a:t>6/2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24113938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19A2B74B-AB22-448A-A265-268311487055}" type="datetime1">
              <a:rPr lang="en-US" smtClean="0"/>
              <a:t>6/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9" name="Text Placeholder 8"/>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3" name="Content Placeholder 2"/>
          <p:cNvSpPr>
            <a:spLocks noGrp="1"/>
          </p:cNvSpPr>
          <p:nvPr>
            <p:ph sz="half" idx="1"/>
          </p:nvPr>
        </p:nvSpPr>
        <p:spPr>
          <a:xfrm>
            <a:off x="342900" y="946404"/>
            <a:ext cx="4229100" cy="341780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72000" y="946404"/>
            <a:ext cx="4229100" cy="341780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200121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171451"/>
            <a:ext cx="8458200" cy="600075"/>
          </a:xfrm>
        </p:spPr>
        <p:txBody>
          <a:bodyPr/>
          <a:lstStyle/>
          <a:p>
            <a:r>
              <a:rPr lang="en-US"/>
              <a:t>Click to edit Master title style</a:t>
            </a:r>
            <a:endParaRPr lang="en-US" dirty="0"/>
          </a:p>
        </p:txBody>
      </p:sp>
      <p:sp>
        <p:nvSpPr>
          <p:cNvPr id="3" name="Text Placeholder 2"/>
          <p:cNvSpPr>
            <a:spLocks noGrp="1"/>
          </p:cNvSpPr>
          <p:nvPr>
            <p:ph type="body" idx="1"/>
          </p:nvPr>
        </p:nvSpPr>
        <p:spPr>
          <a:xfrm>
            <a:off x="342900" y="948538"/>
            <a:ext cx="4229100" cy="321212"/>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Text Placeholder 4"/>
          <p:cNvSpPr>
            <a:spLocks noGrp="1"/>
          </p:cNvSpPr>
          <p:nvPr>
            <p:ph type="body" sz="quarter" idx="3"/>
          </p:nvPr>
        </p:nvSpPr>
        <p:spPr>
          <a:xfrm>
            <a:off x="4572000" y="948538"/>
            <a:ext cx="4229100" cy="321212"/>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Date Placeholder 6"/>
          <p:cNvSpPr>
            <a:spLocks noGrp="1"/>
          </p:cNvSpPr>
          <p:nvPr>
            <p:ph type="dt" sz="half" idx="10"/>
          </p:nvPr>
        </p:nvSpPr>
        <p:spPr/>
        <p:txBody>
          <a:bodyPr/>
          <a:lstStyle/>
          <a:p>
            <a:fld id="{F8CB1101-080C-4B85-AC54-06AFAC4F0A81}" type="datetime1">
              <a:rPr lang="en-US" smtClean="0"/>
              <a:t>6/29/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11" name="Text Placeholder 10"/>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4" name="Content Placeholder 3"/>
          <p:cNvSpPr>
            <a:spLocks noGrp="1"/>
          </p:cNvSpPr>
          <p:nvPr>
            <p:ph sz="half" idx="2"/>
          </p:nvPr>
        </p:nvSpPr>
        <p:spPr>
          <a:xfrm>
            <a:off x="342900" y="1269748"/>
            <a:ext cx="4229100" cy="310222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4572000" y="1269748"/>
            <a:ext cx="4229100" cy="3102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924191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171450"/>
            <a:ext cx="8458200" cy="600075"/>
          </a:xfrm>
        </p:spPr>
        <p:txBody>
          <a:bodyPr anchor="b">
            <a:normAutofit/>
          </a:bodyPr>
          <a:lstStyle>
            <a:lvl1pPr>
              <a:defRPr sz="1800"/>
            </a:lvl1pPr>
          </a:lstStyle>
          <a:p>
            <a:r>
              <a:rPr lang="en-US"/>
              <a:t>Click to edit Master title style</a:t>
            </a:r>
            <a:endParaRPr lang="en-US" dirty="0"/>
          </a:p>
        </p:txBody>
      </p:sp>
      <p:sp>
        <p:nvSpPr>
          <p:cNvPr id="4" name="Text Placeholder 3"/>
          <p:cNvSpPr>
            <a:spLocks noGrp="1"/>
          </p:cNvSpPr>
          <p:nvPr>
            <p:ph type="body" sz="half" idx="2" hasCustomPrompt="1"/>
          </p:nvPr>
        </p:nvSpPr>
        <p:spPr>
          <a:xfrm>
            <a:off x="877824" y="4080510"/>
            <a:ext cx="7406640" cy="274320"/>
          </a:xfrm>
          <a:prstGeom prst="roundRect">
            <a:avLst/>
          </a:prstGeom>
          <a:solidFill>
            <a:schemeClr val="accent2"/>
          </a:solidFill>
        </p:spPr>
        <p:txBody>
          <a:bodyPr anchor="ctr"/>
          <a:lstStyle>
            <a:lvl1pPr marL="0" indent="0" algn="ctr">
              <a:buNone/>
              <a:defRPr sz="12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nter caption</a:t>
            </a:r>
          </a:p>
        </p:txBody>
      </p:sp>
      <p:sp>
        <p:nvSpPr>
          <p:cNvPr id="5" name="Date Placeholder 4"/>
          <p:cNvSpPr>
            <a:spLocks noGrp="1"/>
          </p:cNvSpPr>
          <p:nvPr>
            <p:ph type="dt" sz="half" idx="10"/>
          </p:nvPr>
        </p:nvSpPr>
        <p:spPr/>
        <p:txBody>
          <a:bodyPr/>
          <a:lstStyle/>
          <a:p>
            <a:fld id="{3E4588B8-10AE-4A18-A901-70972D5E175A}" type="datetime1">
              <a:rPr lang="en-US" smtClean="0"/>
              <a:t>6/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9" name="Text Placeholder 8"/>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
        <p:nvSpPr>
          <p:cNvPr id="3" name="Content Placeholder 2"/>
          <p:cNvSpPr>
            <a:spLocks noGrp="1"/>
          </p:cNvSpPr>
          <p:nvPr>
            <p:ph idx="1"/>
          </p:nvPr>
        </p:nvSpPr>
        <p:spPr>
          <a:xfrm>
            <a:off x="342900" y="945358"/>
            <a:ext cx="8458200" cy="3138920"/>
          </a:xfrm>
        </p:spPr>
        <p:txBody>
          <a:bodyPr/>
          <a:lstStyle>
            <a:lvl1pPr>
              <a:defRPr sz="1500"/>
            </a:lvl1pPr>
            <a:lvl2pPr>
              <a:defRPr sz="1350"/>
            </a:lvl2pPr>
            <a:lvl3pPr>
              <a:defRPr sz="1200"/>
            </a:lvl3pPr>
            <a:lvl4pPr>
              <a:defRPr sz="1200"/>
            </a:lvl4pPr>
            <a:lvl5pPr>
              <a:defRPr sz="12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35685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Текст и рисун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9965" y="250032"/>
            <a:ext cx="6275154" cy="647700"/>
          </a:xfrm>
        </p:spPr>
        <p:txBody>
          <a:bodyPr>
            <a:normAutofit/>
          </a:bodyPr>
          <a:lstStyle>
            <a:lvl1pPr>
              <a:defRPr sz="2100" b="1">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pic>
        <p:nvPicPr>
          <p:cNvPr id="4" name="Рисунок 7">
            <a:extLst>
              <a:ext uri="{FF2B5EF4-FFF2-40B4-BE49-F238E27FC236}">
                <a16:creationId xmlns:a16="http://schemas.microsoft.com/office/drawing/2014/main" xmlns="" id="{4B39995E-C1F2-41D2-B20B-C38C294FB48A}"/>
              </a:ext>
            </a:extLst>
          </p:cNvPr>
          <p:cNvPicPr>
            <a:picLocks noChangeAspect="1"/>
          </p:cNvPicPr>
          <p:nvPr userDrawn="1"/>
        </p:nvPicPr>
        <p:blipFill>
          <a:blip r:embed="rId2"/>
          <a:stretch>
            <a:fillRect/>
          </a:stretch>
        </p:blipFill>
        <p:spPr>
          <a:xfrm>
            <a:off x="7699034" y="4667639"/>
            <a:ext cx="1314887" cy="324103"/>
          </a:xfrm>
          <a:prstGeom prst="rect">
            <a:avLst/>
          </a:prstGeom>
        </p:spPr>
      </p:pic>
    </p:spTree>
    <p:extLst>
      <p:ext uri="{BB962C8B-B14F-4D97-AF65-F5344CB8AC3E}">
        <p14:creationId xmlns:p14="http://schemas.microsoft.com/office/powerpoint/2010/main" val="3475534190"/>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EE4230D-527C-497C-AE7B-88F10673E221}" type="datetime1">
              <a:rPr lang="en-US" smtClean="0"/>
              <a:t>6/2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algn="ctr"/>
            <a:fld id="{CC7432E5-F8E0-41AE-9A6B-AD730338B005}" type="slidenum">
              <a:rPr lang="en-US" smtClean="0"/>
              <a:pPr algn="ctr"/>
              <a:t>‹#›</a:t>
            </a:fld>
            <a:endParaRPr lang="en-US" dirty="0"/>
          </a:p>
        </p:txBody>
      </p:sp>
      <p:sp>
        <p:nvSpPr>
          <p:cNvPr id="8" name="Text Placeholder 7"/>
          <p:cNvSpPr>
            <a:spLocks noGrp="1"/>
          </p:cNvSpPr>
          <p:nvPr>
            <p:ph type="body" sz="quarter" idx="14" hasCustomPrompt="1"/>
          </p:nvPr>
        </p:nvSpPr>
        <p:spPr>
          <a:xfrm>
            <a:off x="877824" y="4080510"/>
            <a:ext cx="7406640" cy="271463"/>
          </a:xfrm>
          <a:prstGeom prst="roundRect">
            <a:avLst/>
          </a:prstGeom>
          <a:solidFill>
            <a:schemeClr val="accent2"/>
          </a:solidFill>
        </p:spPr>
        <p:txBody>
          <a:bodyPr>
            <a:normAutofit/>
          </a:bodyPr>
          <a:lstStyle>
            <a:lvl1pPr marL="0" indent="0" algn="ctr">
              <a:buNone/>
              <a:defRPr sz="1200" b="1">
                <a:solidFill>
                  <a:schemeClr val="bg1"/>
                </a:solidFill>
              </a:defRPr>
            </a:lvl1pPr>
            <a:lvl2pPr marL="171450" indent="0">
              <a:buNone/>
              <a:defRPr/>
            </a:lvl2pPr>
            <a:lvl3pPr marL="342900" indent="0">
              <a:buNone/>
              <a:defRPr/>
            </a:lvl3pPr>
            <a:lvl4pPr marL="514350" indent="0">
              <a:buNone/>
              <a:defRPr/>
            </a:lvl4pPr>
            <a:lvl5pPr marL="685800" indent="0">
              <a:buNone/>
              <a:defRPr/>
            </a:lvl5pPr>
          </a:lstStyle>
          <a:p>
            <a:pPr lvl="0"/>
            <a:r>
              <a:rPr lang="en-US" dirty="0"/>
              <a:t>Click to enter caption</a:t>
            </a:r>
          </a:p>
        </p:txBody>
      </p:sp>
      <p:sp>
        <p:nvSpPr>
          <p:cNvPr id="7" name="Text Placeholder 6"/>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250971895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 No Line">
    <p:spTree>
      <p:nvGrpSpPr>
        <p:cNvPr id="1" name=""/>
        <p:cNvGrpSpPr/>
        <p:nvPr/>
      </p:nvGrpSpPr>
      <p:grpSpPr>
        <a:xfrm>
          <a:off x="0" y="0"/>
          <a:ext cx="0" cy="0"/>
          <a:chOff x="0" y="0"/>
          <a:chExt cx="0" cy="0"/>
        </a:xfrm>
      </p:grpSpPr>
      <p:sp>
        <p:nvSpPr>
          <p:cNvPr id="10" name="Rectangle 9"/>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Date Placeholder 3"/>
          <p:cNvSpPr>
            <a:spLocks noGrp="1"/>
          </p:cNvSpPr>
          <p:nvPr>
            <p:ph type="dt" sz="half" idx="10"/>
          </p:nvPr>
        </p:nvSpPr>
        <p:spPr/>
        <p:txBody>
          <a:bodyPr/>
          <a:lstStyle/>
          <a:p>
            <a:fld id="{CED11A09-3DD3-4814-BDCF-935499F15EA0}" type="datetime1">
              <a:rPr lang="en-US" smtClean="0"/>
              <a:t>6/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8702"/>
            <a:ext cx="7391400" cy="75438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771525"/>
            <a:ext cx="8458200" cy="36038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515838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9" name="Rectangle 8"/>
          <p:cNvSpPr/>
          <p:nvPr userDrawn="1"/>
        </p:nvSpPr>
        <p:spPr>
          <a:xfrm>
            <a:off x="7464383" y="4891108"/>
            <a:ext cx="1607475" cy="2490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Date Placeholder 3"/>
          <p:cNvSpPr>
            <a:spLocks noGrp="1"/>
          </p:cNvSpPr>
          <p:nvPr>
            <p:ph type="dt" sz="half" idx="10"/>
          </p:nvPr>
        </p:nvSpPr>
        <p:spPr/>
        <p:txBody>
          <a:bodyPr/>
          <a:lstStyle/>
          <a:p>
            <a:fld id="{3C4AE3A5-F483-4560-8FF9-FCB3A3589909}" type="datetime1">
              <a:rPr lang="en-US" smtClean="0"/>
              <a:t>6/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8702"/>
            <a:ext cx="7391400" cy="75438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771525"/>
            <a:ext cx="8458200" cy="36038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258383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 No Line">
    <p:spTree>
      <p:nvGrpSpPr>
        <p:cNvPr id="1" name=""/>
        <p:cNvGrpSpPr/>
        <p:nvPr/>
      </p:nvGrpSpPr>
      <p:grpSpPr>
        <a:xfrm>
          <a:off x="0" y="0"/>
          <a:ext cx="0" cy="0"/>
          <a:chOff x="0" y="0"/>
          <a:chExt cx="0" cy="0"/>
        </a:xfrm>
      </p:grpSpPr>
      <p:sp>
        <p:nvSpPr>
          <p:cNvPr id="9" name="Rectangle 8"/>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EC1012E-D535-4D45-93DD-9B16E0D20A43}" type="datetime1">
              <a:rPr lang="en-US" smtClean="0"/>
              <a:t>6/2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8702"/>
            <a:ext cx="7391400" cy="754380"/>
          </a:xfrm>
        </p:spPr>
        <p:txBody>
          <a:bodyPr anchor="b">
            <a:noAutofit/>
          </a:bodyPr>
          <a:lstStyle>
            <a:lvl1pPr marL="0" indent="0">
              <a:spcBef>
                <a:spcPts val="225"/>
              </a:spcBef>
              <a:buNone/>
              <a:defRPr sz="750"/>
            </a:lvl1pPr>
            <a:lvl2pPr marL="171450" indent="0">
              <a:buNone/>
              <a:defRPr sz="750"/>
            </a:lvl2pPr>
            <a:lvl3pPr marL="342900" indent="0">
              <a:buNone/>
              <a:defRPr sz="750"/>
            </a:lvl3pPr>
            <a:lvl4pPr marL="514350" indent="0">
              <a:buNone/>
              <a:defRPr sz="750"/>
            </a:lvl4pPr>
            <a:lvl5pPr marL="685800" indent="0">
              <a:buNone/>
              <a:defRPr sz="750"/>
            </a:lvl5pPr>
          </a:lstStyle>
          <a:p>
            <a:pPr lvl="0"/>
            <a:r>
              <a:rPr lang="en-US" dirty="0"/>
              <a:t>Reference(s)</a:t>
            </a:r>
          </a:p>
        </p:txBody>
      </p:sp>
    </p:spTree>
    <p:extLst>
      <p:ext uri="{BB962C8B-B14F-4D97-AF65-F5344CB8AC3E}">
        <p14:creationId xmlns:p14="http://schemas.microsoft.com/office/powerpoint/2010/main" val="256414197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8" name="Rectangle 7"/>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Date Placeholder 1" hidden="1"/>
          <p:cNvSpPr>
            <a:spLocks noGrp="1"/>
          </p:cNvSpPr>
          <p:nvPr>
            <p:ph type="dt" sz="half" idx="10"/>
          </p:nvPr>
        </p:nvSpPr>
        <p:spPr/>
        <p:txBody>
          <a:bodyPr/>
          <a:lstStyle/>
          <a:p>
            <a:endParaRPr lang="en-US" dirty="0"/>
          </a:p>
        </p:txBody>
      </p:sp>
      <p:sp>
        <p:nvSpPr>
          <p:cNvPr id="3" name="Footer Placeholder 2" hidden="1"/>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81597010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9" name="Rectangle 8"/>
          <p:cNvSpPr/>
          <p:nvPr userDrawn="1"/>
        </p:nvSpPr>
        <p:spPr>
          <a:xfrm>
            <a:off x="7520600" y="4898400"/>
            <a:ext cx="1551963" cy="193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userDrawn="1"/>
        </p:nvSpPr>
        <p:spPr>
          <a:xfrm>
            <a:off x="145125" y="117088"/>
            <a:ext cx="8856000" cy="4919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8" name="TextBox 7"/>
          <p:cNvSpPr txBox="1"/>
          <p:nvPr userDrawn="1"/>
        </p:nvSpPr>
        <p:spPr>
          <a:xfrm>
            <a:off x="7592037" y="4840136"/>
            <a:ext cx="1409088" cy="207749"/>
          </a:xfrm>
          <a:prstGeom prst="rect">
            <a:avLst/>
          </a:prstGeom>
          <a:noFill/>
        </p:spPr>
        <p:txBody>
          <a:bodyPr wrap="square" rtlCol="0">
            <a:spAutoFit/>
          </a:bodyPr>
          <a:lstStyle/>
          <a:p>
            <a:pPr algn="r"/>
            <a:r>
              <a:rPr lang="en-US" sz="750" dirty="0">
                <a:solidFill>
                  <a:srgbClr val="FFFFFF"/>
                </a:solidFill>
                <a:cs typeface="Arial" pitchFamily="34" charset="0"/>
              </a:rPr>
              <a:t>© AstraZeneca 2020</a:t>
            </a:r>
          </a:p>
        </p:txBody>
      </p:sp>
      <p:sp>
        <p:nvSpPr>
          <p:cNvPr id="2" name="Title 1"/>
          <p:cNvSpPr>
            <a:spLocks noGrp="1"/>
          </p:cNvSpPr>
          <p:nvPr>
            <p:ph type="title"/>
          </p:nvPr>
        </p:nvSpPr>
        <p:spPr>
          <a:xfrm>
            <a:off x="357187" y="971382"/>
            <a:ext cx="8443913" cy="685800"/>
          </a:xfrm>
        </p:spPr>
        <p:txBody>
          <a:bodyPr anchor="b">
            <a:normAutofit/>
          </a:bodyPr>
          <a:lstStyle>
            <a:lvl1pPr>
              <a:defRPr sz="27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57187" y="2576715"/>
            <a:ext cx="8443913" cy="1165860"/>
          </a:xfrm>
        </p:spPr>
        <p:txBody>
          <a:bodyPr>
            <a:noAutofit/>
          </a:bodyPr>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93DCB33-94CF-4740-8CCE-D567E9934160}" type="datetime1">
              <a:rPr lang="en-US" smtClean="0"/>
              <a:t>6/29/2023</a:t>
            </a:fld>
            <a:endParaRPr lang="en-US"/>
          </a:p>
        </p:txBody>
      </p:sp>
      <p:sp>
        <p:nvSpPr>
          <p:cNvPr id="5" name="Footer Placeholder 4"/>
          <p:cNvSpPr>
            <a:spLocks noGrp="1"/>
          </p:cNvSpPr>
          <p:nvPr>
            <p:ph type="ftr" sz="quarter" idx="11"/>
          </p:nvPr>
        </p:nvSpPr>
        <p:spPr/>
        <p:txBody>
          <a:bodyPr/>
          <a:lstStyle/>
          <a:p>
            <a:endParaRPr lang="en-US"/>
          </a:p>
        </p:txBody>
      </p:sp>
      <p:sp>
        <p:nvSpPr>
          <p:cNvPr id="11" name="Text Placeholder 10"/>
          <p:cNvSpPr>
            <a:spLocks noGrp="1"/>
          </p:cNvSpPr>
          <p:nvPr>
            <p:ph type="body" sz="quarter" idx="12" hasCustomPrompt="1"/>
          </p:nvPr>
        </p:nvSpPr>
        <p:spPr>
          <a:xfrm>
            <a:off x="342900" y="4371975"/>
            <a:ext cx="7543800" cy="664369"/>
          </a:xfrm>
        </p:spPr>
        <p:txBody>
          <a:bodyPr anchor="b" anchorCtr="0">
            <a:normAutofit/>
          </a:bodyPr>
          <a:lstStyle>
            <a:lvl1pPr marL="0" indent="0">
              <a:spcBef>
                <a:spcPts val="225"/>
              </a:spcBef>
              <a:buNone/>
              <a:defRPr sz="750">
                <a:solidFill>
                  <a:schemeClr val="bg1"/>
                </a:solidFill>
              </a:defRPr>
            </a:lvl1pPr>
            <a:lvl2pPr marL="171450" indent="0">
              <a:buNone/>
              <a:defRPr>
                <a:solidFill>
                  <a:schemeClr val="bg1"/>
                </a:solidFill>
              </a:defRPr>
            </a:lvl2pPr>
            <a:lvl3pPr marL="342900" indent="0">
              <a:buNone/>
              <a:defRPr>
                <a:solidFill>
                  <a:schemeClr val="bg1"/>
                </a:solidFill>
              </a:defRPr>
            </a:lvl3pPr>
            <a:lvl4pPr marL="514350" indent="0">
              <a:buNone/>
              <a:defRPr>
                <a:solidFill>
                  <a:schemeClr val="bg1"/>
                </a:solidFill>
              </a:defRPr>
            </a:lvl4pPr>
            <a:lvl5pPr marL="685800" indent="0">
              <a:buNone/>
              <a:defRPr>
                <a:solidFill>
                  <a:schemeClr val="bg1"/>
                </a:solidFill>
              </a:defRPr>
            </a:lvl5pPr>
          </a:lstStyle>
          <a:p>
            <a:pPr lvl="0"/>
            <a:r>
              <a:rPr lang="en-US" dirty="0"/>
              <a:t>Reference(s)</a:t>
            </a:r>
          </a:p>
        </p:txBody>
      </p:sp>
    </p:spTree>
    <p:extLst>
      <p:ext uri="{BB962C8B-B14F-4D97-AF65-F5344CB8AC3E}">
        <p14:creationId xmlns:p14="http://schemas.microsoft.com/office/powerpoint/2010/main" val="112637814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744" y="1138237"/>
            <a:ext cx="8677656" cy="3240882"/>
          </a:xfrm>
          <a:prstGeom prst="rect">
            <a:avLst/>
          </a:prstGeom>
        </p:spPr>
        <p:txBody>
          <a:bodyPr/>
          <a:lstStyle>
            <a:lvl1pPr marL="135000" marR="0" indent="-135000" algn="l" defTabSz="342900" rtl="0" eaLnBrk="1" fontAlgn="auto" latinLnBrk="0" hangingPunct="1">
              <a:lnSpc>
                <a:spcPct val="100000"/>
              </a:lnSpc>
              <a:spcBef>
                <a:spcPts val="0"/>
              </a:spcBef>
              <a:spcAft>
                <a:spcPts val="450"/>
              </a:spcAft>
              <a:buClr>
                <a:srgbClr val="830051"/>
              </a:buClr>
              <a:buSzTx/>
              <a:buFont typeface="Arial" pitchFamily="34" charset="0"/>
              <a:buChar char="•"/>
              <a:tabLst/>
              <a:defRPr lang="en-US" sz="1800" dirty="0" smtClean="0">
                <a:latin typeface="Arial" pitchFamily="34" charset="0"/>
                <a:cs typeface="Arial" pitchFamily="34" charset="0"/>
              </a:defRPr>
            </a:lvl1pPr>
            <a:lvl2pPr marL="342900" marR="0" indent="-134541" algn="l" defTabSz="342900" rtl="0" eaLnBrk="1" fontAlgn="auto" latinLnBrk="0" hangingPunct="1">
              <a:lnSpc>
                <a:spcPct val="100000"/>
              </a:lnSpc>
              <a:spcBef>
                <a:spcPts val="0"/>
              </a:spcBef>
              <a:spcAft>
                <a:spcPts val="450"/>
              </a:spcAft>
              <a:buClrTx/>
              <a:buSzTx/>
              <a:buFont typeface="Arial"/>
              <a:buChar char="–"/>
              <a:tabLst/>
              <a:defRPr lang="en-US" sz="1500" baseline="0" dirty="0" smtClean="0">
                <a:latin typeface="Arial" pitchFamily="34" charset="0"/>
                <a:cs typeface="Arial" pitchFamily="34" charset="0"/>
              </a:defRPr>
            </a:lvl2pPr>
            <a:lvl3pPr marL="685800" marR="0" indent="-171450" algn="l" defTabSz="342900" rtl="0" eaLnBrk="1" fontAlgn="auto" latinLnBrk="0" hangingPunct="1">
              <a:lnSpc>
                <a:spcPct val="100000"/>
              </a:lnSpc>
              <a:spcBef>
                <a:spcPct val="20000"/>
              </a:spcBef>
              <a:spcAft>
                <a:spcPts val="450"/>
              </a:spcAft>
              <a:buClrTx/>
              <a:buSzPct val="100000"/>
              <a:buFont typeface="Wingdings" panose="05000000000000000000" pitchFamily="2" charset="2"/>
              <a:buChar char="§"/>
              <a:tabLst/>
              <a:defRPr lang="en-US" sz="1350" baseline="0" dirty="0" smtClean="0">
                <a:latin typeface="Arial" pitchFamily="34" charset="0"/>
                <a:cs typeface="Arial" pitchFamily="34" charset="0"/>
              </a:defRPr>
            </a:lvl3pPr>
            <a:lvl4pPr marL="860822" marR="0" indent="-134541" algn="l" defTabSz="342900" rtl="0" eaLnBrk="1" fontAlgn="auto" latinLnBrk="0" hangingPunct="1">
              <a:lnSpc>
                <a:spcPct val="100000"/>
              </a:lnSpc>
              <a:spcBef>
                <a:spcPct val="20000"/>
              </a:spcBef>
              <a:spcAft>
                <a:spcPts val="450"/>
              </a:spcAft>
              <a:buClrTx/>
              <a:buSzTx/>
              <a:buFont typeface="Arial" panose="020B0604020202020204" pitchFamily="34" charset="0"/>
              <a:buChar char="•"/>
              <a:tabLst/>
              <a:defRPr lang="en-US" sz="1050" dirty="0" smtClean="0">
                <a:latin typeface="Arial" pitchFamily="34" charset="0"/>
                <a:cs typeface="Arial" pitchFamily="34" charset="0"/>
              </a:defRPr>
            </a:lvl4pPr>
            <a:lvl5pPr marL="1028700" marR="0" indent="-80963" algn="l" defTabSz="342900" rtl="0" eaLnBrk="1" fontAlgn="auto" latinLnBrk="0" hangingPunct="1">
              <a:lnSpc>
                <a:spcPct val="100000"/>
              </a:lnSpc>
              <a:spcBef>
                <a:spcPct val="20000"/>
              </a:spcBef>
              <a:spcAft>
                <a:spcPts val="450"/>
              </a:spcAft>
              <a:buClrTx/>
              <a:buSzTx/>
              <a:buFont typeface="Arial"/>
              <a:buChar char="»"/>
              <a:tabLst/>
              <a:defRPr lang="en-US" sz="900" dirty="0">
                <a:latin typeface="Arial" pitchFamily="34" charset="0"/>
                <a:cs typeface="Arial" pitchFamily="34" charset="0"/>
              </a:defRPr>
            </a:lvl5pPr>
          </a:lstStyle>
          <a:p>
            <a:pPr marL="135000" lvl="0" indent="-135000">
              <a:lnSpc>
                <a:spcPct val="100000"/>
              </a:lnSpc>
              <a:spcBef>
                <a:spcPts val="0"/>
              </a:spcBef>
              <a:spcAft>
                <a:spcPts val="450"/>
              </a:spcAft>
              <a:buClr>
                <a:srgbClr val="830051"/>
              </a:buClr>
              <a:buFont typeface="Arial" pitchFamily="34" charset="0"/>
            </a:pPr>
            <a:r>
              <a:rPr lang="en-US" dirty="0"/>
              <a:t>Click to edit Master text styles</a:t>
            </a:r>
          </a:p>
          <a:p>
            <a:pPr marL="342900" lvl="1" indent="-134541">
              <a:lnSpc>
                <a:spcPct val="100000"/>
              </a:lnSpc>
              <a:spcBef>
                <a:spcPts val="0"/>
              </a:spcBef>
              <a:spcAft>
                <a:spcPts val="450"/>
              </a:spcAft>
              <a:buClrTx/>
            </a:pPr>
            <a:r>
              <a:rPr lang="en-US" dirty="0"/>
              <a:t>Second level</a:t>
            </a:r>
          </a:p>
          <a:p>
            <a:pPr marL="685800" lvl="2">
              <a:lnSpc>
                <a:spcPct val="100000"/>
              </a:lnSpc>
              <a:spcAft>
                <a:spcPts val="450"/>
              </a:spcAft>
              <a:buClrTx/>
              <a:buFont typeface="Wingdings" panose="05000000000000000000" pitchFamily="2" charset="2"/>
            </a:pPr>
            <a:r>
              <a:rPr lang="en-US" dirty="0"/>
              <a:t>Third level</a:t>
            </a:r>
          </a:p>
          <a:p>
            <a:pPr marL="860822" lvl="3" indent="-134541">
              <a:lnSpc>
                <a:spcPct val="100000"/>
              </a:lnSpc>
              <a:spcAft>
                <a:spcPts val="450"/>
              </a:spcAft>
              <a:buClrTx/>
              <a:buFont typeface="Arial" panose="020B0604020202020204" pitchFamily="34" charset="0"/>
            </a:pPr>
            <a:r>
              <a:rPr lang="en-US" dirty="0"/>
              <a:t>Fourth level</a:t>
            </a:r>
          </a:p>
          <a:p>
            <a:pPr marL="1028700" lvl="4" indent="-80963">
              <a:lnSpc>
                <a:spcPct val="100000"/>
              </a:lnSpc>
              <a:spcAft>
                <a:spcPts val="450"/>
              </a:spcAft>
              <a:buClrTx/>
            </a:pPr>
            <a:r>
              <a:rPr lang="en-US" dirty="0"/>
              <a:t>Fifth level</a:t>
            </a:r>
          </a:p>
        </p:txBody>
      </p:sp>
      <p:sp>
        <p:nvSpPr>
          <p:cNvPr id="7" name="Text Placeholder 10"/>
          <p:cNvSpPr>
            <a:spLocks noGrp="1"/>
          </p:cNvSpPr>
          <p:nvPr>
            <p:ph type="body" sz="quarter" idx="11" hasCustomPrompt="1"/>
          </p:nvPr>
        </p:nvSpPr>
        <p:spPr>
          <a:xfrm>
            <a:off x="237744" y="4423410"/>
            <a:ext cx="8677656" cy="534924"/>
          </a:xfrm>
          <a:prstGeom prst="rect">
            <a:avLst/>
          </a:prstGeom>
        </p:spPr>
        <p:txBody>
          <a:bodyPr anchor="b"/>
          <a:lstStyle>
            <a:lvl1pPr marL="0" indent="0">
              <a:spcBef>
                <a:spcPts val="0"/>
              </a:spcBef>
              <a:buFont typeface="+mj-lt"/>
              <a:buNone/>
              <a:defRPr sz="750"/>
            </a:lvl1pPr>
          </a:lstStyle>
          <a:p>
            <a:pPr lvl="0"/>
            <a:r>
              <a:rPr lang="en-US" dirty="0"/>
              <a:t>Reference(s)</a:t>
            </a:r>
          </a:p>
        </p:txBody>
      </p:sp>
      <p:sp>
        <p:nvSpPr>
          <p:cNvPr id="2" name="Slide Number Placeholder 1"/>
          <p:cNvSpPr>
            <a:spLocks noGrp="1"/>
          </p:cNvSpPr>
          <p:nvPr>
            <p:ph type="sldNum" sz="quarter" idx="12"/>
          </p:nvPr>
        </p:nvSpPr>
        <p:spPr/>
        <p:txBody>
          <a:bodyPr/>
          <a:lstStyle/>
          <a:p>
            <a:fld id="{89E35B64-C4CC-4BCA-B5DA-C997F2C2E20E}" type="slidenum">
              <a:rPr lang="en-US" smtClean="0">
                <a:solidFill>
                  <a:srgbClr val="000000"/>
                </a:solidFill>
              </a:rPr>
              <a:pPr/>
              <a:t>‹#›</a:t>
            </a:fld>
            <a:endParaRPr lang="en-US" dirty="0">
              <a:solidFill>
                <a:srgbClr val="000000"/>
              </a:solidFill>
            </a:endParaRPr>
          </a:p>
        </p:txBody>
      </p:sp>
      <p:sp>
        <p:nvSpPr>
          <p:cNvPr id="8" name="Title Placeholder 1"/>
          <p:cNvSpPr>
            <a:spLocks noGrp="1"/>
          </p:cNvSpPr>
          <p:nvPr>
            <p:ph type="title"/>
          </p:nvPr>
        </p:nvSpPr>
        <p:spPr>
          <a:xfrm>
            <a:off x="342900" y="269425"/>
            <a:ext cx="8458200" cy="600074"/>
          </a:xfrm>
          <a:prstGeom prst="rect">
            <a:avLst/>
          </a:prstGeom>
        </p:spPr>
        <p:txBody>
          <a:bodyPr vert="horz" lIns="91440" tIns="45720" rIns="91440" bIns="45720" rtlCol="0" anchor="b">
            <a:noAutofit/>
          </a:bodyPr>
          <a:lstStyle/>
          <a:p>
            <a:r>
              <a:rPr lang="en-US" dirty="0"/>
              <a:t>Click to edit Master title style</a:t>
            </a:r>
          </a:p>
        </p:txBody>
      </p:sp>
    </p:spTree>
    <p:extLst>
      <p:ext uri="{BB962C8B-B14F-4D97-AF65-F5344CB8AC3E}">
        <p14:creationId xmlns:p14="http://schemas.microsoft.com/office/powerpoint/2010/main" val="388775961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3" y="144000"/>
            <a:ext cx="8765651" cy="311624"/>
          </a:xfrm>
          <a:prstGeom prst="rect">
            <a:avLst/>
          </a:prstGeom>
        </p:spPr>
        <p:txBody>
          <a:bodyPr vert="horz"/>
          <a:lstStyle>
            <a:lvl1pPr algn="l" defTabSz="457189" rtl="0" eaLnBrk="1" latinLnBrk="0" hangingPunct="1">
              <a:lnSpc>
                <a:spcPct val="100000"/>
              </a:lnSpc>
              <a:spcBef>
                <a:spcPct val="0"/>
              </a:spcBef>
              <a:buNone/>
              <a:defRPr lang="en-GB" sz="18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3" name="Text Placeholder 2">
            <a:extLst>
              <a:ext uri="{FF2B5EF4-FFF2-40B4-BE49-F238E27FC236}">
                <a16:creationId xmlns:a16="http://schemas.microsoft.com/office/drawing/2014/main" xmlns="" id="{03F7A2D0-92E0-4C0D-9F4A-960014704AA4}"/>
              </a:ext>
            </a:extLst>
          </p:cNvPr>
          <p:cNvSpPr>
            <a:spLocks noGrp="1"/>
          </p:cNvSpPr>
          <p:nvPr>
            <p:ph type="body" sz="quarter" idx="10" hasCustomPrompt="1"/>
          </p:nvPr>
        </p:nvSpPr>
        <p:spPr>
          <a:xfrm>
            <a:off x="61200" y="4742021"/>
            <a:ext cx="8298180" cy="205740"/>
          </a:xfrm>
          <a:prstGeom prst="rect">
            <a:avLst/>
          </a:prstGeom>
        </p:spPr>
        <p:txBody>
          <a:bodyPr lIns="91440" tIns="45720" rIns="91440" bIns="45720" anchor="b"/>
          <a:lstStyle>
            <a:lvl1pPr marL="0" indent="0">
              <a:spcBef>
                <a:spcPts val="225"/>
              </a:spcBef>
              <a:buNone/>
              <a:defRPr sz="750"/>
            </a:lvl1pPr>
            <a:lvl2pPr marL="457189" indent="0">
              <a:buNone/>
              <a:defRPr sz="750"/>
            </a:lvl2pPr>
            <a:lvl3pPr marL="914378" indent="0">
              <a:buNone/>
              <a:defRPr sz="750"/>
            </a:lvl3pPr>
            <a:lvl4pPr marL="1371566" indent="0">
              <a:buNone/>
              <a:defRPr sz="750"/>
            </a:lvl4pPr>
            <a:lvl5pPr marL="1828754" indent="0">
              <a:buNone/>
              <a:defRPr sz="750"/>
            </a:lvl5pPr>
          </a:lstStyle>
          <a:p>
            <a:pPr lvl="0"/>
            <a:r>
              <a:rPr lang="en-US" dirty="0"/>
              <a:t>Footer</a:t>
            </a:r>
          </a:p>
        </p:txBody>
      </p:sp>
      <p:sp>
        <p:nvSpPr>
          <p:cNvPr id="8" name="Slide Number Placeholder 5">
            <a:extLst>
              <a:ext uri="{FF2B5EF4-FFF2-40B4-BE49-F238E27FC236}">
                <a16:creationId xmlns:a16="http://schemas.microsoft.com/office/drawing/2014/main" xmlns="" id="{17735340-C9C0-4A39-BA41-68495B0E5A06}"/>
              </a:ext>
            </a:extLst>
          </p:cNvPr>
          <p:cNvSpPr>
            <a:spLocks noGrp="1"/>
          </p:cNvSpPr>
          <p:nvPr>
            <p:ph type="sldNum" sz="quarter" idx="4"/>
          </p:nvPr>
        </p:nvSpPr>
        <p:spPr>
          <a:xfrm>
            <a:off x="61200" y="4967420"/>
            <a:ext cx="396000" cy="171450"/>
          </a:xfrm>
          <a:prstGeom prst="rect">
            <a:avLst/>
          </a:prstGeom>
        </p:spPr>
        <p:txBody>
          <a:bodyPr vert="horz" lIns="91440" tIns="45720" rIns="91440" bIns="45720" rtlCol="0" anchor="b" anchorCtr="0"/>
          <a:lstStyle>
            <a:lvl1pPr algn="l">
              <a:defRPr sz="750" b="1">
                <a:solidFill>
                  <a:schemeClr val="tx1"/>
                </a:solidFill>
                <a:latin typeface="Arial" pitchFamily="34" charset="0"/>
                <a:cs typeface="Arial" pitchFamily="34" charset="0"/>
              </a:defRPr>
            </a:lvl1pPr>
          </a:lstStyle>
          <a:p>
            <a:pPr defTabSz="685800">
              <a:defRPr/>
            </a:pPr>
            <a:fld id="{3C4F54F3-C349-4609-AFEE-01462D5C7942}" type="slidenum">
              <a:rPr lang="en-GB" smtClean="0">
                <a:solidFill>
                  <a:srgbClr val="000000"/>
                </a:solidFill>
              </a:rPr>
              <a:pPr defTabSz="685800">
                <a:defRPr/>
              </a:pPr>
              <a:t>‹#›</a:t>
            </a:fld>
            <a:endParaRPr lang="en-GB" dirty="0">
              <a:solidFill>
                <a:srgbClr val="000000"/>
              </a:solidFill>
            </a:endParaRPr>
          </a:p>
        </p:txBody>
      </p:sp>
      <p:sp>
        <p:nvSpPr>
          <p:cNvPr id="4" name="Content Placeholder 3">
            <a:extLst>
              <a:ext uri="{FF2B5EF4-FFF2-40B4-BE49-F238E27FC236}">
                <a16:creationId xmlns:a16="http://schemas.microsoft.com/office/drawing/2014/main" xmlns="" id="{16C1A277-F27F-45FA-A155-5CB5D34DE122}"/>
              </a:ext>
            </a:extLst>
          </p:cNvPr>
          <p:cNvSpPr>
            <a:spLocks noGrp="1"/>
          </p:cNvSpPr>
          <p:nvPr>
            <p:ph sz="quarter" idx="11"/>
          </p:nvPr>
        </p:nvSpPr>
        <p:spPr>
          <a:xfrm>
            <a:off x="244079" y="853678"/>
            <a:ext cx="8259365" cy="3764042"/>
          </a:xfrm>
          <a:prstGeom prst="rect">
            <a:avLst/>
          </a:prstGeom>
        </p:spPr>
        <p:txBody>
          <a:bodyPr/>
          <a:lstStyle>
            <a:lvl1pPr marL="171450" indent="-171450">
              <a:spcBef>
                <a:spcPts val="1350"/>
              </a:spcBef>
              <a:buClr>
                <a:schemeClr val="tx2"/>
              </a:buClr>
              <a:defRPr sz="1800"/>
            </a:lvl1pPr>
            <a:lvl2pPr marL="514350" indent="-171450">
              <a:spcBef>
                <a:spcPts val="450"/>
              </a:spcBef>
              <a:buClr>
                <a:schemeClr val="tx2"/>
              </a:buClr>
              <a:defRPr sz="1500"/>
            </a:lvl2pPr>
            <a:lvl3pPr marL="857250" indent="-171450">
              <a:spcBef>
                <a:spcPts val="450"/>
              </a:spcBef>
              <a:buClr>
                <a:schemeClr val="tx2"/>
              </a:buClr>
              <a:buSzPct val="75000"/>
              <a:buFont typeface="Wingdings" panose="05000000000000000000" pitchFamily="2" charset="2"/>
              <a:buChar char="§"/>
              <a:defRPr sz="1350"/>
            </a:lvl3pPr>
            <a:lvl4pPr marL="1028700" marR="0" indent="0" algn="l" defTabSz="457189" rtl="0" eaLnBrk="1" fontAlgn="auto" latinLnBrk="0" hangingPunct="1">
              <a:lnSpc>
                <a:spcPct val="100000"/>
              </a:lnSpc>
              <a:spcBef>
                <a:spcPts val="225"/>
              </a:spcBef>
              <a:spcAft>
                <a:spcPts val="0"/>
              </a:spcAft>
              <a:buClr>
                <a:schemeClr val="tx2"/>
              </a:buClr>
              <a:buSzTx/>
              <a:buFont typeface="Courier New" panose="02070309020205020404" pitchFamily="49" charset="0"/>
              <a:buNone/>
              <a:tabLst/>
              <a:defRPr sz="1200"/>
            </a:lvl4pPr>
            <a:lvl5pPr>
              <a:defRPr sz="900"/>
            </a:lvl5pPr>
          </a:lstStyle>
          <a:p>
            <a:pPr lvl="0"/>
            <a:r>
              <a:rPr lang="en-US" dirty="0"/>
              <a:t>Edit Master text styles</a:t>
            </a:r>
          </a:p>
          <a:p>
            <a:pPr lvl="1"/>
            <a:r>
              <a:rPr lang="en-US" dirty="0"/>
              <a:t>Second level</a:t>
            </a:r>
          </a:p>
          <a:p>
            <a:pPr lvl="2"/>
            <a:r>
              <a:rPr lang="en-US" dirty="0"/>
              <a:t>Third level</a:t>
            </a:r>
          </a:p>
          <a:p>
            <a:pPr marL="1200150" marR="0" lvl="3" indent="-171450" algn="l" defTabSz="457189" rtl="0" eaLnBrk="1" fontAlgn="auto" latinLnBrk="0" hangingPunct="1">
              <a:lnSpc>
                <a:spcPct val="100000"/>
              </a:lnSpc>
              <a:spcBef>
                <a:spcPts val="225"/>
              </a:spcBef>
              <a:spcAft>
                <a:spcPts val="0"/>
              </a:spcAft>
              <a:buClr>
                <a:schemeClr val="tx2"/>
              </a:buClr>
              <a:buSzTx/>
              <a:buFont typeface="Courier New" panose="02070309020205020404" pitchFamily="49" charset="0"/>
              <a:buChar char="o"/>
              <a:tabLst/>
              <a:defRPr/>
            </a:pPr>
            <a:r>
              <a:rPr lang="en-US" dirty="0"/>
              <a:t>Fourth level</a:t>
            </a:r>
          </a:p>
        </p:txBody>
      </p:sp>
    </p:spTree>
    <p:extLst>
      <p:ext uri="{BB962C8B-B14F-4D97-AF65-F5344CB8AC3E}">
        <p14:creationId xmlns:p14="http://schemas.microsoft.com/office/powerpoint/2010/main" val="44629362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33375" y="4537168"/>
            <a:ext cx="8477250" cy="418682"/>
          </a:xfrm>
        </p:spPr>
        <p:txBody>
          <a:bodyPr lIns="0" bIns="0" anchor="b">
            <a:noAutofit/>
          </a:bodyPr>
          <a:lstStyle>
            <a:lvl1pPr marL="0" indent="0" algn="l">
              <a:lnSpc>
                <a:spcPct val="95000"/>
              </a:lnSpc>
              <a:spcBef>
                <a:spcPts val="225"/>
              </a:spcBef>
              <a:buFont typeface="Arial" pitchFamily="34" charset="0"/>
              <a:buNone/>
              <a:defRPr sz="750"/>
            </a:lvl1pPr>
            <a:lvl2pPr marL="171446" indent="0">
              <a:buNone/>
              <a:defRPr/>
            </a:lvl2pPr>
            <a:lvl3pPr marL="342892" indent="0">
              <a:buNone/>
              <a:defRPr/>
            </a:lvl3pPr>
            <a:lvl4pPr marL="514337" indent="0">
              <a:buNone/>
              <a:defRPr/>
            </a:lvl4pPr>
            <a:lvl5pPr marL="685783" indent="0">
              <a:buNone/>
              <a:defRPr/>
            </a:lvl5pPr>
          </a:lstStyle>
          <a:p>
            <a:pPr lvl="0"/>
            <a:r>
              <a:rPr lang="en-US" dirty="0"/>
              <a:t>Reference(s)</a:t>
            </a:r>
          </a:p>
        </p:txBody>
      </p:sp>
      <p:sp>
        <p:nvSpPr>
          <p:cNvPr id="3" name="Content Placeholder 2"/>
          <p:cNvSpPr>
            <a:spLocks noGrp="1"/>
          </p:cNvSpPr>
          <p:nvPr>
            <p:ph idx="1"/>
          </p:nvPr>
        </p:nvSpPr>
        <p:spPr>
          <a:xfrm>
            <a:off x="342900" y="946404"/>
            <a:ext cx="845820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64549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4"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992" indent="-179992">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74" indent="-179992">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69" indent="-179992">
              <a:defRPr sz="1400">
                <a:latin typeface="Arial" pitchFamily="34" charset="0"/>
                <a:cs typeface="Arial" pitchFamily="34" charset="0"/>
              </a:defRPr>
            </a:lvl4pPr>
            <a:lvl5pPr marL="622769">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0137009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F2998267-5FAF-4AD3-AB8D-11D5E3272F9E}"/>
              </a:ext>
            </a:extLst>
          </p:cNvPr>
          <p:cNvSpPr txBox="1"/>
          <p:nvPr userDrawn="1"/>
        </p:nvSpPr>
        <p:spPr>
          <a:xfrm>
            <a:off x="7844118" y="551224"/>
            <a:ext cx="403412" cy="110158"/>
          </a:xfrm>
          <a:prstGeom prst="rect">
            <a:avLst/>
          </a:prstGeom>
          <a:noFill/>
        </p:spPr>
        <p:txBody>
          <a:bodyPr wrap="square" lIns="0" tIns="0" rIns="0" bIns="0" rtlCol="0">
            <a:spAutoFit/>
          </a:bodyPr>
          <a:lstStyle/>
          <a:p>
            <a:pPr algn="ctr" rtl="0"/>
            <a:fld id="{1557E216-6EC4-479C-A925-99C3A58B26AE}" type="slidenum">
              <a:rPr lang="ru-RU" sz="716" smtClean="0">
                <a:solidFill>
                  <a:schemeClr val="bg1"/>
                </a:solidFill>
              </a:rPr>
              <a:pPr algn="ctr"/>
              <a:t>‹#›</a:t>
            </a:fld>
            <a:endParaRPr lang="ru-RU" sz="716" dirty="0">
              <a:solidFill>
                <a:schemeClr val="bg1"/>
              </a:solidFill>
            </a:endParaRPr>
          </a:p>
        </p:txBody>
      </p:sp>
      <p:sp>
        <p:nvSpPr>
          <p:cNvPr id="12" name="Прямоугольник 11">
            <a:extLst>
              <a:ext uri="{FF2B5EF4-FFF2-40B4-BE49-F238E27FC236}">
                <a16:creationId xmlns:a16="http://schemas.microsoft.com/office/drawing/2014/main" xmlns="" id="{BE8BBFA3-BE25-403C-8537-8C8EA855C7B3}"/>
              </a:ext>
            </a:extLst>
          </p:cNvPr>
          <p:cNvSpPr/>
          <p:nvPr userDrawn="1"/>
        </p:nvSpPr>
        <p:spPr>
          <a:xfrm>
            <a:off x="261214" y="27766"/>
            <a:ext cx="7414922" cy="283672"/>
          </a:xfrm>
          <a:prstGeom prst="rect">
            <a:avLst/>
          </a:prstGeom>
          <a:noFill/>
        </p:spPr>
        <p:txBody>
          <a:bodyPr lIns="0" tIns="0" rIns="0" bIns="0" rtlCol="0">
            <a:noAutofit/>
          </a:bodyPr>
          <a:lstStyle/>
          <a:p>
            <a:pPr indent="0" rtl="0"/>
            <a:r>
              <a:rPr lang="ru-RU" sz="920" kern="1200" dirty="0">
                <a:solidFill>
                  <a:srgbClr val="FFFFFF"/>
                </a:solidFill>
                <a:latin typeface="Arial"/>
                <a:ea typeface="+mn-ea"/>
                <a:cs typeface="+mn-cs"/>
              </a:rPr>
              <a:t>Сводное резюме по применению препарата</a:t>
            </a:r>
            <a:r>
              <a:rPr lang="ru-RU" sz="920" dirty="0">
                <a:solidFill>
                  <a:srgbClr val="FFFFFF"/>
                </a:solidFill>
                <a:latin typeface="Arial"/>
              </a:rPr>
              <a:t/>
            </a:r>
            <a:br>
              <a:rPr lang="ru-RU" sz="920" dirty="0">
                <a:solidFill>
                  <a:srgbClr val="FFFFFF"/>
                </a:solidFill>
                <a:latin typeface="Arial"/>
              </a:rPr>
            </a:br>
            <a:r>
              <a:rPr lang="ru-RU" sz="1023" b="1" kern="1200" dirty="0">
                <a:solidFill>
                  <a:srgbClr val="FFFFFF"/>
                </a:solidFill>
                <a:latin typeface="Arial"/>
                <a:ea typeface="+mn-ea"/>
                <a:cs typeface="+mn-cs"/>
              </a:rPr>
              <a:t>ЭНХЕРТУ</a:t>
            </a:r>
            <a:r>
              <a:rPr lang="ru-RU" sz="1023" b="1" kern="1200" baseline="30000" dirty="0">
                <a:solidFill>
                  <a:srgbClr val="FFFFFF"/>
                </a:solidFill>
                <a:latin typeface="Arial"/>
                <a:ea typeface="+mn-ea"/>
                <a:cs typeface="+mn-cs"/>
              </a:rPr>
              <a:t>® </a:t>
            </a:r>
            <a:r>
              <a:rPr lang="ru-RU" sz="1023" b="1" kern="1200" dirty="0">
                <a:solidFill>
                  <a:srgbClr val="FFFFFF"/>
                </a:solidFill>
                <a:latin typeface="Arial"/>
                <a:ea typeface="+mn-ea"/>
                <a:cs typeface="+mn-cs"/>
              </a:rPr>
              <a:t>при распространенном раке желудка</a:t>
            </a:r>
            <a:endParaRPr lang="ru" sz="1023" b="1" kern="1200" dirty="0">
              <a:solidFill>
                <a:srgbClr val="FFFFFF"/>
              </a:solidFill>
              <a:latin typeface="Arial"/>
              <a:ea typeface="+mn-ea"/>
              <a:cs typeface="+mn-cs"/>
            </a:endParaRPr>
          </a:p>
        </p:txBody>
      </p:sp>
      <p:pic>
        <p:nvPicPr>
          <p:cNvPr id="10" name="Рисунок 7">
            <a:extLst>
              <a:ext uri="{FF2B5EF4-FFF2-40B4-BE49-F238E27FC236}">
                <a16:creationId xmlns:a16="http://schemas.microsoft.com/office/drawing/2014/main" xmlns="" id="{57D2DA1A-B3EE-4B76-8B1C-581F7F5BF88B}"/>
              </a:ext>
            </a:extLst>
          </p:cNvPr>
          <p:cNvPicPr>
            <a:picLocks noChangeAspect="1"/>
          </p:cNvPicPr>
          <p:nvPr userDrawn="1"/>
        </p:nvPicPr>
        <p:blipFill>
          <a:blip r:embed="rId2"/>
          <a:stretch>
            <a:fillRect/>
          </a:stretch>
        </p:blipFill>
        <p:spPr>
          <a:xfrm>
            <a:off x="7699034" y="4667639"/>
            <a:ext cx="1314887" cy="324103"/>
          </a:xfrm>
          <a:prstGeom prst="rect">
            <a:avLst/>
          </a:prstGeom>
        </p:spPr>
      </p:pic>
    </p:spTree>
    <p:extLst>
      <p:ext uri="{BB962C8B-B14F-4D97-AF65-F5344CB8AC3E}">
        <p14:creationId xmlns:p14="http://schemas.microsoft.com/office/powerpoint/2010/main" val="190542192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8_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37744" y="144018"/>
            <a:ext cx="8677656" cy="685800"/>
          </a:xfrm>
          <a:prstGeom prst="rect">
            <a:avLst/>
          </a:prstGeom>
        </p:spPr>
        <p:txBody>
          <a:bodyPr anchor="ctr"/>
          <a:lstStyle>
            <a:lvl1pPr algn="l">
              <a:defRPr lang="en-US" sz="1800" b="1" baseline="0">
                <a:solidFill>
                  <a:schemeClr val="accent1"/>
                </a:solidFill>
                <a:latin typeface="Arial" pitchFamily="34" charset="0"/>
                <a:cs typeface="Arial" pitchFamily="34" charset="0"/>
              </a:defRPr>
            </a:lvl1pPr>
          </a:lstStyle>
          <a:p>
            <a:pPr lvl="0"/>
            <a:r>
              <a:rPr lang="en-US" dirty="0"/>
              <a:t>Click to add title</a:t>
            </a:r>
          </a:p>
        </p:txBody>
      </p:sp>
      <p:sp>
        <p:nvSpPr>
          <p:cNvPr id="2" name="Slide Number Placeholder 1"/>
          <p:cNvSpPr>
            <a:spLocks noGrp="1"/>
          </p:cNvSpPr>
          <p:nvPr>
            <p:ph type="sldNum" sz="quarter" idx="12"/>
          </p:nvPr>
        </p:nvSpPr>
        <p:spPr>
          <a:xfrm>
            <a:off x="39744" y="4981500"/>
            <a:ext cx="265056" cy="154828"/>
          </a:xfrm>
        </p:spPr>
        <p:txBody>
          <a:bodyPr/>
          <a:lstStyle/>
          <a:p>
            <a:fld id="{89E35B64-C4CC-4BCA-B5DA-C997F2C2E20E}" type="slidenum">
              <a:rPr lang="en-US" smtClean="0">
                <a:solidFill>
                  <a:srgbClr val="000000"/>
                </a:solidFill>
              </a:rPr>
              <a:pPr/>
              <a:t>‹#›</a:t>
            </a:fld>
            <a:endParaRPr lang="en-US" dirty="0">
              <a:solidFill>
                <a:srgbClr val="000000"/>
              </a:solidFill>
            </a:endParaRPr>
          </a:p>
        </p:txBody>
      </p:sp>
      <p:cxnSp>
        <p:nvCxnSpPr>
          <p:cNvPr id="6" name="Straight Connector 5">
            <a:extLst>
              <a:ext uri="{FF2B5EF4-FFF2-40B4-BE49-F238E27FC236}">
                <a16:creationId xmlns:a16="http://schemas.microsoft.com/office/drawing/2014/main" xmlns="" id="{B7B80B47-7538-4E24-B81C-981FD5A6E65F}"/>
              </a:ext>
            </a:extLst>
          </p:cNvPr>
          <p:cNvCxnSpPr/>
          <p:nvPr userDrawn="1"/>
        </p:nvCxnSpPr>
        <p:spPr>
          <a:xfrm>
            <a:off x="144000" y="829818"/>
            <a:ext cx="8856000" cy="0"/>
          </a:xfrm>
          <a:prstGeom prst="line">
            <a:avLst/>
          </a:prstGeom>
          <a:ln w="41275"/>
          <a:effectLst/>
        </p:spPr>
        <p:style>
          <a:lnRef idx="2">
            <a:schemeClr val="accent1"/>
          </a:lnRef>
          <a:fillRef idx="0">
            <a:schemeClr val="accent1"/>
          </a:fillRef>
          <a:effectRef idx="1">
            <a:schemeClr val="accent1"/>
          </a:effectRef>
          <a:fontRef idx="minor">
            <a:schemeClr val="tx1"/>
          </a:fontRef>
        </p:style>
      </p:cxnSp>
      <p:sp>
        <p:nvSpPr>
          <p:cNvPr id="8" name="Text Placeholder 10">
            <a:extLst>
              <a:ext uri="{FF2B5EF4-FFF2-40B4-BE49-F238E27FC236}">
                <a16:creationId xmlns:a16="http://schemas.microsoft.com/office/drawing/2014/main" xmlns="" id="{DDDB2D96-27C9-42DA-A490-8C19C10441EE}"/>
              </a:ext>
            </a:extLst>
          </p:cNvPr>
          <p:cNvSpPr>
            <a:spLocks noGrp="1"/>
          </p:cNvSpPr>
          <p:nvPr>
            <p:ph type="body" sz="quarter" idx="11" hasCustomPrompt="1"/>
          </p:nvPr>
        </p:nvSpPr>
        <p:spPr>
          <a:xfrm>
            <a:off x="233364" y="4722445"/>
            <a:ext cx="8453437" cy="369332"/>
          </a:xfrm>
          <a:prstGeom prst="rect">
            <a:avLst/>
          </a:prstGeom>
        </p:spPr>
        <p:txBody>
          <a:bodyPr anchor="b"/>
          <a:lstStyle>
            <a:lvl1pPr marL="0" indent="0">
              <a:spcBef>
                <a:spcPts val="0"/>
              </a:spcBef>
              <a:buFont typeface="+mj-lt"/>
              <a:buNone/>
              <a:defRPr sz="600"/>
            </a:lvl1pPr>
          </a:lstStyle>
          <a:p>
            <a:pPr lvl="0"/>
            <a:r>
              <a:rPr lang="en-US" dirty="0"/>
              <a:t>Reference(s)</a:t>
            </a:r>
          </a:p>
        </p:txBody>
      </p:sp>
    </p:spTree>
    <p:extLst>
      <p:ext uri="{BB962C8B-B14F-4D97-AF65-F5344CB8AC3E}">
        <p14:creationId xmlns:p14="http://schemas.microsoft.com/office/powerpoint/2010/main" val="226368751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6" y="144000"/>
            <a:ext cx="8765651" cy="504000"/>
          </a:xfrm>
          <a:prstGeom prst="rect">
            <a:avLst/>
          </a:prstGeom>
        </p:spPr>
        <p:txBody>
          <a:bodyPr vert="horz"/>
          <a:lstStyle>
            <a:lvl1pPr algn="l" defTabSz="457154" rtl="0" eaLnBrk="1" latinLnBrk="0" hangingPunct="1">
              <a:lnSpc>
                <a:spcPct val="100000"/>
              </a:lnSpc>
              <a:spcBef>
                <a:spcPct val="0"/>
              </a:spcBef>
              <a:buNone/>
              <a:defRPr lang="en-GB" sz="21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5" name="Text Placeholder 29">
            <a:extLst>
              <a:ext uri="{FF2B5EF4-FFF2-40B4-BE49-F238E27FC236}">
                <a16:creationId xmlns:a16="http://schemas.microsoft.com/office/drawing/2014/main" xmlns="" id="{4BA5E4A0-C82F-4734-B27D-1B33047BD2D8}"/>
              </a:ext>
            </a:extLst>
          </p:cNvPr>
          <p:cNvSpPr>
            <a:spLocks noGrp="1"/>
          </p:cNvSpPr>
          <p:nvPr>
            <p:ph type="body" sz="quarter" idx="12" hasCustomPrompt="1"/>
          </p:nvPr>
        </p:nvSpPr>
        <p:spPr>
          <a:xfrm>
            <a:off x="237061" y="4808700"/>
            <a:ext cx="5006192" cy="190800"/>
          </a:xfrm>
          <a:prstGeom prst="rect">
            <a:avLst/>
          </a:prstGeom>
        </p:spPr>
        <p:txBody>
          <a:bodyPr vert="horz" anchor="b"/>
          <a:lstStyle>
            <a:lvl1pPr marL="0" indent="0">
              <a:lnSpc>
                <a:spcPct val="100000"/>
              </a:lnSpc>
              <a:spcBef>
                <a:spcPts val="0"/>
              </a:spcBef>
              <a:buNone/>
              <a:defRPr sz="563">
                <a:solidFill>
                  <a:schemeClr val="tx1"/>
                </a:solidFill>
                <a:latin typeface="Arial" pitchFamily="34" charset="0"/>
                <a:cs typeface="Arial" pitchFamily="34" charset="0"/>
              </a:defRPr>
            </a:lvl1pPr>
          </a:lstStyle>
          <a:p>
            <a:pPr lvl="0"/>
            <a:r>
              <a:rPr lang="en-GB" noProof="0"/>
              <a:t>Click to add event title</a:t>
            </a:r>
          </a:p>
        </p:txBody>
      </p:sp>
    </p:spTree>
    <p:extLst>
      <p:ext uri="{BB962C8B-B14F-4D97-AF65-F5344CB8AC3E}">
        <p14:creationId xmlns:p14="http://schemas.microsoft.com/office/powerpoint/2010/main" val="158353178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1"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7399482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Только заголовок">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6" name="Title 8"/>
          <p:cNvSpPr>
            <a:spLocks noGrp="1"/>
          </p:cNvSpPr>
          <p:nvPr>
            <p:ph type="title" hasCustomPrompt="1"/>
          </p:nvPr>
        </p:nvSpPr>
        <p:spPr>
          <a:xfrm>
            <a:off x="237063" y="216189"/>
            <a:ext cx="8765651" cy="504000"/>
          </a:xfrm>
          <a:prstGeom prst="rect">
            <a:avLst/>
          </a:prstGeom>
        </p:spPr>
        <p:txBody>
          <a:bodyPr vert="horz"/>
          <a:lstStyle>
            <a:lvl1pPr algn="l" defTabSz="457189" rtl="0" eaLnBrk="1" latinLnBrk="0" hangingPunct="1">
              <a:lnSpc>
                <a:spcPct val="100000"/>
              </a:lnSpc>
              <a:spcBef>
                <a:spcPct val="0"/>
              </a:spcBef>
              <a:buNone/>
              <a:defRPr lang="en-GB" sz="1800" b="1" kern="1200" baseline="0" noProof="0" dirty="0">
                <a:solidFill>
                  <a:schemeClr val="accent2"/>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378052017"/>
      </p:ext>
    </p:extLst>
  </p:cSld>
  <p:clrMapOvr>
    <a:masterClrMapping/>
  </p:clrMapOvr>
  <p:hf hdr="0" ftr="0" dt="0"/>
  <p:extLst>
    <p:ext uri="{DCECCB84-F9BA-43D5-87BE-67443E8EF086}">
      <p15:sldGuideLst xmlns:p15="http://schemas.microsoft.com/office/powerpoint/2012/main" xmlns="">
        <p15:guide id="1" orient="horz" pos="4201">
          <p15:clr>
            <a:srgbClr val="FBAE40"/>
          </p15:clr>
        </p15:guide>
        <p15:guide id="2" pos="3840">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915038ED-AD0C-4E15-B574-9C336CC4A905}"/>
              </a:ext>
            </a:extLst>
          </p:cNvPr>
          <p:cNvPicPr>
            <a:picLocks noChangeAspect="1"/>
          </p:cNvPicPr>
          <p:nvPr userDrawn="1"/>
        </p:nvPicPr>
        <p:blipFill rotWithShape="1">
          <a:blip r:embed="rId2"/>
          <a:srcRect l="-61894" t="1085" r="1" b="-1"/>
          <a:stretch/>
        </p:blipFill>
        <p:spPr>
          <a:xfrm>
            <a:off x="141082" y="1122626"/>
            <a:ext cx="8858918" cy="3840892"/>
          </a:xfrm>
          <a:prstGeom prst="rect">
            <a:avLst/>
          </a:prstGeom>
          <a:solidFill>
            <a:srgbClr val="ABC1BD"/>
          </a:solidFill>
        </p:spPr>
      </p:pic>
      <p:sp>
        <p:nvSpPr>
          <p:cNvPr id="13" name="Title 8"/>
          <p:cNvSpPr>
            <a:spLocks noGrp="1"/>
          </p:cNvSpPr>
          <p:nvPr>
            <p:ph type="title" hasCustomPrompt="1"/>
          </p:nvPr>
        </p:nvSpPr>
        <p:spPr>
          <a:xfrm>
            <a:off x="323852" y="1289872"/>
            <a:ext cx="4120255" cy="339924"/>
          </a:xfrm>
          <a:prstGeom prst="rect">
            <a:avLst/>
          </a:prstGeom>
        </p:spPr>
        <p:txBody>
          <a:bodyPr vert="horz" lIns="0" tIns="0" rIns="0" bIns="0"/>
          <a:lstStyle>
            <a:lvl1pPr algn="l">
              <a:lnSpc>
                <a:spcPct val="90000"/>
              </a:lnSpc>
              <a:defRPr sz="1800" b="1" baseline="0">
                <a:solidFill>
                  <a:schemeClr val="tx1"/>
                </a:solidFill>
                <a:latin typeface="+mj-lt"/>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323850" y="1645246"/>
            <a:ext cx="6480000" cy="190800"/>
          </a:xfrm>
          <a:prstGeom prst="rect">
            <a:avLst/>
          </a:prstGeom>
        </p:spPr>
        <p:txBody>
          <a:bodyPr vert="horz" lIns="0" tIns="0" rIns="0" bIns="0"/>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6" name="Text Placeholder 29"/>
          <p:cNvSpPr>
            <a:spLocks noGrp="1"/>
          </p:cNvSpPr>
          <p:nvPr>
            <p:ph type="body" sz="quarter" idx="12" hasCustomPrompt="1"/>
          </p:nvPr>
        </p:nvSpPr>
        <p:spPr>
          <a:xfrm>
            <a:off x="323850" y="1851496"/>
            <a:ext cx="6480000" cy="190800"/>
          </a:xfrm>
          <a:prstGeom prst="rect">
            <a:avLst/>
          </a:prstGeom>
        </p:spPr>
        <p:txBody>
          <a:bodyPr vert="horz" lIns="0" tIns="0" rIns="0" bIns="0"/>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Tree>
    <p:extLst>
      <p:ext uri="{BB962C8B-B14F-4D97-AF65-F5344CB8AC3E}">
        <p14:creationId xmlns:p14="http://schemas.microsoft.com/office/powerpoint/2010/main" val="122396150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RIA Tez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l="2036"/>
          <a:stretch/>
        </p:blipFill>
        <p:spPr>
          <a:xfrm>
            <a:off x="323851" y="2876551"/>
            <a:ext cx="8654221" cy="2120400"/>
          </a:xfrm>
          <a:prstGeom prst="rect">
            <a:avLst/>
          </a:prstGeom>
        </p:spPr>
      </p:pic>
      <p:sp>
        <p:nvSpPr>
          <p:cNvPr id="9" name="Title 8"/>
          <p:cNvSpPr>
            <a:spLocks noGrp="1"/>
          </p:cNvSpPr>
          <p:nvPr>
            <p:ph type="title" hasCustomPrompt="1"/>
          </p:nvPr>
        </p:nvSpPr>
        <p:spPr>
          <a:xfrm>
            <a:off x="323851" y="979137"/>
            <a:ext cx="6479998" cy="1078530"/>
          </a:xfrm>
          <a:prstGeom prst="rect">
            <a:avLst/>
          </a:prstGeom>
        </p:spPr>
        <p:txBody>
          <a:bodyPr vert="horz" lIns="0" tIns="0" rIns="0" bIns="0" anchor="b"/>
          <a:lstStyle>
            <a:lvl1pPr algn="l">
              <a:lnSpc>
                <a:spcPct val="100000"/>
              </a:lnSpc>
              <a:defRPr sz="2800" b="0" baseline="0">
                <a:solidFill>
                  <a:schemeClr val="tx1"/>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0" name="Text Placeholder 29"/>
          <p:cNvSpPr>
            <a:spLocks noGrp="1"/>
          </p:cNvSpPr>
          <p:nvPr>
            <p:ph type="body" sz="quarter" idx="11" hasCustomPrompt="1"/>
          </p:nvPr>
        </p:nvSpPr>
        <p:spPr>
          <a:xfrm>
            <a:off x="323848" y="2135516"/>
            <a:ext cx="6480000" cy="456933"/>
          </a:xfrm>
          <a:prstGeom prst="rect">
            <a:avLst/>
          </a:prstGeom>
        </p:spPr>
        <p:txBody>
          <a:bodyPr vert="horz" lIns="0" tIns="0" rIns="0" bIns="0"/>
          <a:lstStyle>
            <a:lvl1pPr marL="0" indent="0">
              <a:lnSpc>
                <a:spcPct val="100000"/>
              </a:lnSpc>
              <a:spcBef>
                <a:spcPts val="0"/>
              </a:spcBef>
              <a:buNone/>
              <a:defRPr sz="1400" b="1">
                <a:solidFill>
                  <a:schemeClr val="tx2"/>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1" name="Text Placeholder 29"/>
          <p:cNvSpPr>
            <a:spLocks noGrp="1"/>
          </p:cNvSpPr>
          <p:nvPr>
            <p:ph type="body" sz="quarter" idx="12" hasCustomPrompt="1"/>
          </p:nvPr>
        </p:nvSpPr>
        <p:spPr>
          <a:xfrm>
            <a:off x="323848" y="2607900"/>
            <a:ext cx="6480000" cy="190800"/>
          </a:xfrm>
          <a:prstGeom prst="rect">
            <a:avLst/>
          </a:prstGeom>
        </p:spPr>
        <p:txBody>
          <a:bodyPr vert="horz" lIns="0" tIns="0" rIns="0" bIns="0"/>
          <a:lstStyle>
            <a:lvl1pPr marL="0" indent="0">
              <a:lnSpc>
                <a:spcPct val="1000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
        <p:nvSpPr>
          <p:cNvPr id="14" name="ICON Fwd">
            <a:hlinkClick r:id="" action="ppaction://hlinkshowjump?jump=nextslide"/>
            <a:extLst>
              <a:ext uri="{FF2B5EF4-FFF2-40B4-BE49-F238E27FC236}">
                <a16:creationId xmlns:a16="http://schemas.microsoft.com/office/drawing/2014/main" xmlns="" id="{13E1646E-C772-47EE-A449-CC468813813E}"/>
              </a:ext>
            </a:extLst>
          </p:cNvPr>
          <p:cNvSpPr/>
          <p:nvPr userDrawn="1"/>
        </p:nvSpPr>
        <p:spPr>
          <a:xfrm rot="5400000" flipH="1">
            <a:off x="793715"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5" name="ICON home">
            <a:extLst>
              <a:ext uri="{FF2B5EF4-FFF2-40B4-BE49-F238E27FC236}">
                <a16:creationId xmlns:a16="http://schemas.microsoft.com/office/drawing/2014/main" xmlns="" id="{11BE3A71-DF52-4479-B93C-8D29BA586358}"/>
              </a:ext>
            </a:extLst>
          </p:cNvPr>
          <p:cNvSpPr>
            <a:spLocks/>
          </p:cNvSpPr>
          <p:nvPr userDrawn="1"/>
        </p:nvSpPr>
        <p:spPr bwMode="auto">
          <a:xfrm>
            <a:off x="348140"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6" name="LINK Fwd">
            <a:hlinkClick r:id="" action="ppaction://hlinkshowjump?jump=nextslide"/>
            <a:extLst>
              <a:ext uri="{FF2B5EF4-FFF2-40B4-BE49-F238E27FC236}">
                <a16:creationId xmlns:a16="http://schemas.microsoft.com/office/drawing/2014/main" xmlns="" id="{EE5AC066-C6B7-4B80-A21D-83934D009CF4}"/>
              </a:ext>
            </a:extLst>
          </p:cNvPr>
          <p:cNvSpPr/>
          <p:nvPr userDrawn="1"/>
        </p:nvSpPr>
        <p:spPr>
          <a:xfrm>
            <a:off x="760947"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LINK home">
            <a:hlinkClick r:id="rId4" action="ppaction://hlinksldjump"/>
            <a:extLst>
              <a:ext uri="{FF2B5EF4-FFF2-40B4-BE49-F238E27FC236}">
                <a16:creationId xmlns:a16="http://schemas.microsoft.com/office/drawing/2014/main" xmlns="" id="{495292C8-BB79-4D1E-8D9C-BAD3FD274856}"/>
              </a:ext>
            </a:extLst>
          </p:cNvPr>
          <p:cNvSpPr/>
          <p:nvPr userDrawn="1"/>
        </p:nvSpPr>
        <p:spPr>
          <a:xfrm>
            <a:off x="322435"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3632526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Oncology">
    <p:spTree>
      <p:nvGrpSpPr>
        <p:cNvPr id="1" name=""/>
        <p:cNvGrpSpPr/>
        <p:nvPr/>
      </p:nvGrpSpPr>
      <p:grpSpPr>
        <a:xfrm>
          <a:off x="0" y="0"/>
          <a:ext cx="0" cy="0"/>
          <a:chOff x="0" y="0"/>
          <a:chExt cx="0" cy="0"/>
        </a:xfrm>
      </p:grpSpPr>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l="2026"/>
          <a:stretch/>
        </p:blipFill>
        <p:spPr>
          <a:xfrm>
            <a:off x="323847" y="2876550"/>
            <a:ext cx="8676615" cy="2125664"/>
          </a:xfrm>
          <a:prstGeom prst="rect">
            <a:avLst/>
          </a:prstGeom>
        </p:spPr>
      </p:pic>
      <p:sp>
        <p:nvSpPr>
          <p:cNvPr id="14" name="Title 8">
            <a:extLst>
              <a:ext uri="{FF2B5EF4-FFF2-40B4-BE49-F238E27FC236}">
                <a16:creationId xmlns:a16="http://schemas.microsoft.com/office/drawing/2014/main" xmlns="" id="{0E34D7DC-0B65-455B-8AD7-EF0CD4B3710C}"/>
              </a:ext>
            </a:extLst>
          </p:cNvPr>
          <p:cNvSpPr>
            <a:spLocks noGrp="1"/>
          </p:cNvSpPr>
          <p:nvPr>
            <p:ph type="title" hasCustomPrompt="1"/>
          </p:nvPr>
        </p:nvSpPr>
        <p:spPr>
          <a:xfrm>
            <a:off x="323851" y="979137"/>
            <a:ext cx="6479998" cy="1078530"/>
          </a:xfrm>
          <a:prstGeom prst="rect">
            <a:avLst/>
          </a:prstGeom>
        </p:spPr>
        <p:txBody>
          <a:bodyPr vert="horz" lIns="0" tIns="0" rIns="0" bIns="0" anchor="b"/>
          <a:lstStyle>
            <a:lvl1pPr algn="l">
              <a:lnSpc>
                <a:spcPct val="100000"/>
              </a:lnSpc>
              <a:defRPr sz="2800" b="0" baseline="0">
                <a:solidFill>
                  <a:schemeClr val="tx1"/>
                </a:solidFill>
                <a:latin typeface="Arial" pitchFamily="34" charset="0"/>
                <a:cs typeface="Arial" pitchFamily="34" charset="0"/>
              </a:defRPr>
            </a:lvl1pPr>
          </a:lstStyle>
          <a:p>
            <a:r>
              <a:rPr lang="en-GB" noProof="0" dirty="0"/>
              <a:t>Click to add presentation title</a:t>
            </a:r>
          </a:p>
        </p:txBody>
      </p:sp>
      <p:sp>
        <p:nvSpPr>
          <p:cNvPr id="15" name="Text Placeholder 29">
            <a:extLst>
              <a:ext uri="{FF2B5EF4-FFF2-40B4-BE49-F238E27FC236}">
                <a16:creationId xmlns:a16="http://schemas.microsoft.com/office/drawing/2014/main" xmlns="" id="{B107FA84-5792-4E07-B675-43B2D9EE975D}"/>
              </a:ext>
            </a:extLst>
          </p:cNvPr>
          <p:cNvSpPr>
            <a:spLocks noGrp="1"/>
          </p:cNvSpPr>
          <p:nvPr>
            <p:ph type="body" sz="quarter" idx="11" hasCustomPrompt="1"/>
          </p:nvPr>
        </p:nvSpPr>
        <p:spPr>
          <a:xfrm>
            <a:off x="323848" y="2135516"/>
            <a:ext cx="6480000" cy="456933"/>
          </a:xfrm>
          <a:prstGeom prst="rect">
            <a:avLst/>
          </a:prstGeom>
        </p:spPr>
        <p:txBody>
          <a:bodyPr vert="horz" lIns="0" tIns="0" rIns="0" bIns="0"/>
          <a:lstStyle>
            <a:lvl1pPr marL="0" indent="0">
              <a:lnSpc>
                <a:spcPct val="100000"/>
              </a:lnSpc>
              <a:spcBef>
                <a:spcPts val="0"/>
              </a:spcBef>
              <a:buNone/>
              <a:defRPr sz="1400" b="1">
                <a:solidFill>
                  <a:schemeClr val="tx2"/>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6" name="Text Placeholder 29">
            <a:extLst>
              <a:ext uri="{FF2B5EF4-FFF2-40B4-BE49-F238E27FC236}">
                <a16:creationId xmlns:a16="http://schemas.microsoft.com/office/drawing/2014/main" xmlns="" id="{37D507CD-B228-4221-B079-06DBD8DE6D08}"/>
              </a:ext>
            </a:extLst>
          </p:cNvPr>
          <p:cNvSpPr>
            <a:spLocks noGrp="1"/>
          </p:cNvSpPr>
          <p:nvPr>
            <p:ph type="body" sz="quarter" idx="12" hasCustomPrompt="1"/>
          </p:nvPr>
        </p:nvSpPr>
        <p:spPr>
          <a:xfrm>
            <a:off x="323848" y="2607900"/>
            <a:ext cx="6480000" cy="190800"/>
          </a:xfrm>
          <a:prstGeom prst="rect">
            <a:avLst/>
          </a:prstGeom>
        </p:spPr>
        <p:txBody>
          <a:bodyPr vert="horz" lIns="0" tIns="0" rIns="0" bIns="0"/>
          <a:lstStyle>
            <a:lvl1pPr marL="0" indent="0">
              <a:lnSpc>
                <a:spcPct val="1000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
        <p:nvSpPr>
          <p:cNvPr id="11" name="ICON Fwd">
            <a:hlinkClick r:id="" action="ppaction://hlinkshowjump?jump=nextslide"/>
            <a:extLst>
              <a:ext uri="{FF2B5EF4-FFF2-40B4-BE49-F238E27FC236}">
                <a16:creationId xmlns:a16="http://schemas.microsoft.com/office/drawing/2014/main" xmlns="" id="{FE1C7A59-9C23-4971-8420-5D6A52F19DFF}"/>
              </a:ext>
            </a:extLst>
          </p:cNvPr>
          <p:cNvSpPr/>
          <p:nvPr userDrawn="1"/>
        </p:nvSpPr>
        <p:spPr>
          <a:xfrm rot="5400000" flipH="1">
            <a:off x="793715"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2" name="ICON home">
            <a:extLst>
              <a:ext uri="{FF2B5EF4-FFF2-40B4-BE49-F238E27FC236}">
                <a16:creationId xmlns:a16="http://schemas.microsoft.com/office/drawing/2014/main" xmlns="" id="{1FE314D8-B5E8-4837-B6F0-C2071AB240FD}"/>
              </a:ext>
            </a:extLst>
          </p:cNvPr>
          <p:cNvSpPr>
            <a:spLocks/>
          </p:cNvSpPr>
          <p:nvPr userDrawn="1"/>
        </p:nvSpPr>
        <p:spPr bwMode="auto">
          <a:xfrm>
            <a:off x="348140"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3" name="LINK Fwd">
            <a:hlinkClick r:id="" action="ppaction://hlinkshowjump?jump=nextslide"/>
            <a:extLst>
              <a:ext uri="{FF2B5EF4-FFF2-40B4-BE49-F238E27FC236}">
                <a16:creationId xmlns:a16="http://schemas.microsoft.com/office/drawing/2014/main" xmlns="" id="{FAAF62DE-8E78-49C1-BA94-15E34A707B94}"/>
              </a:ext>
            </a:extLst>
          </p:cNvPr>
          <p:cNvSpPr/>
          <p:nvPr userDrawn="1"/>
        </p:nvSpPr>
        <p:spPr>
          <a:xfrm>
            <a:off x="760947"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LINK home">
            <a:hlinkClick r:id="rId4" action="ppaction://hlinksldjump"/>
            <a:extLst>
              <a:ext uri="{FF2B5EF4-FFF2-40B4-BE49-F238E27FC236}">
                <a16:creationId xmlns:a16="http://schemas.microsoft.com/office/drawing/2014/main" xmlns="" id="{A1790F68-7F72-4580-A204-C6A012E1BFC7}"/>
              </a:ext>
            </a:extLst>
          </p:cNvPr>
          <p:cNvSpPr/>
          <p:nvPr userDrawn="1"/>
        </p:nvSpPr>
        <p:spPr>
          <a:xfrm>
            <a:off x="322435"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0820081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tDNA">
    <p:spTree>
      <p:nvGrpSpPr>
        <p:cNvPr id="1" name=""/>
        <p:cNvGrpSpPr/>
        <p:nvPr/>
      </p:nvGrpSpPr>
      <p:grpSpPr>
        <a:xfrm>
          <a:off x="0" y="0"/>
          <a:ext cx="0" cy="0"/>
          <a:chOff x="0" y="0"/>
          <a:chExt cx="0" cy="0"/>
        </a:xfrm>
      </p:grpSpPr>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l="1997"/>
          <a:stretch/>
        </p:blipFill>
        <p:spPr>
          <a:xfrm>
            <a:off x="323847" y="2876550"/>
            <a:ext cx="8679109" cy="2125664"/>
          </a:xfrm>
          <a:prstGeom prst="rect">
            <a:avLst/>
          </a:prstGeom>
        </p:spPr>
      </p:pic>
      <p:sp>
        <p:nvSpPr>
          <p:cNvPr id="14" name="Title 8">
            <a:extLst>
              <a:ext uri="{FF2B5EF4-FFF2-40B4-BE49-F238E27FC236}">
                <a16:creationId xmlns:a16="http://schemas.microsoft.com/office/drawing/2014/main" xmlns="" id="{716355B1-3889-49F3-896F-BC0C8092B78D}"/>
              </a:ext>
            </a:extLst>
          </p:cNvPr>
          <p:cNvSpPr>
            <a:spLocks noGrp="1"/>
          </p:cNvSpPr>
          <p:nvPr>
            <p:ph type="title" hasCustomPrompt="1"/>
          </p:nvPr>
        </p:nvSpPr>
        <p:spPr>
          <a:xfrm>
            <a:off x="323851" y="979137"/>
            <a:ext cx="6479998" cy="1078530"/>
          </a:xfrm>
          <a:prstGeom prst="rect">
            <a:avLst/>
          </a:prstGeom>
        </p:spPr>
        <p:txBody>
          <a:bodyPr vert="horz" lIns="0" tIns="0" rIns="0" bIns="0" anchor="b"/>
          <a:lstStyle>
            <a:lvl1pPr algn="l">
              <a:lnSpc>
                <a:spcPct val="100000"/>
              </a:lnSpc>
              <a:defRPr sz="2800" b="0" baseline="0">
                <a:solidFill>
                  <a:schemeClr val="tx1"/>
                </a:solidFill>
                <a:latin typeface="Arial" pitchFamily="34" charset="0"/>
                <a:cs typeface="Arial" pitchFamily="34" charset="0"/>
              </a:defRPr>
            </a:lvl1pPr>
          </a:lstStyle>
          <a:p>
            <a:r>
              <a:rPr lang="en-GB" noProof="0" dirty="0"/>
              <a:t>Click to add presentation title</a:t>
            </a:r>
          </a:p>
        </p:txBody>
      </p:sp>
      <p:sp>
        <p:nvSpPr>
          <p:cNvPr id="15" name="Text Placeholder 29">
            <a:extLst>
              <a:ext uri="{FF2B5EF4-FFF2-40B4-BE49-F238E27FC236}">
                <a16:creationId xmlns:a16="http://schemas.microsoft.com/office/drawing/2014/main" xmlns="" id="{FE834565-7915-41B2-9D3B-60943970EC68}"/>
              </a:ext>
            </a:extLst>
          </p:cNvPr>
          <p:cNvSpPr>
            <a:spLocks noGrp="1"/>
          </p:cNvSpPr>
          <p:nvPr>
            <p:ph type="body" sz="quarter" idx="11" hasCustomPrompt="1"/>
          </p:nvPr>
        </p:nvSpPr>
        <p:spPr>
          <a:xfrm>
            <a:off x="323848" y="2135516"/>
            <a:ext cx="6480000" cy="456933"/>
          </a:xfrm>
          <a:prstGeom prst="rect">
            <a:avLst/>
          </a:prstGeom>
        </p:spPr>
        <p:txBody>
          <a:bodyPr vert="horz" lIns="0" tIns="0" rIns="0" bIns="0"/>
          <a:lstStyle>
            <a:lvl1pPr marL="0" indent="0">
              <a:lnSpc>
                <a:spcPct val="100000"/>
              </a:lnSpc>
              <a:spcBef>
                <a:spcPts val="0"/>
              </a:spcBef>
              <a:buNone/>
              <a:defRPr sz="1400" b="1">
                <a:solidFill>
                  <a:schemeClr val="tx2"/>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6" name="Text Placeholder 29">
            <a:extLst>
              <a:ext uri="{FF2B5EF4-FFF2-40B4-BE49-F238E27FC236}">
                <a16:creationId xmlns:a16="http://schemas.microsoft.com/office/drawing/2014/main" xmlns="" id="{4D3D89E4-8FA1-409A-8248-5E488FD21077}"/>
              </a:ext>
            </a:extLst>
          </p:cNvPr>
          <p:cNvSpPr>
            <a:spLocks noGrp="1"/>
          </p:cNvSpPr>
          <p:nvPr>
            <p:ph type="body" sz="quarter" idx="12" hasCustomPrompt="1"/>
          </p:nvPr>
        </p:nvSpPr>
        <p:spPr>
          <a:xfrm>
            <a:off x="323848" y="2607900"/>
            <a:ext cx="6480000" cy="190800"/>
          </a:xfrm>
          <a:prstGeom prst="rect">
            <a:avLst/>
          </a:prstGeom>
        </p:spPr>
        <p:txBody>
          <a:bodyPr vert="horz" lIns="0" tIns="0" rIns="0" bIns="0"/>
          <a:lstStyle>
            <a:lvl1pPr marL="0" indent="0">
              <a:lnSpc>
                <a:spcPct val="1000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
        <p:nvSpPr>
          <p:cNvPr id="11" name="ICON Fwd">
            <a:hlinkClick r:id="" action="ppaction://hlinkshowjump?jump=nextslide"/>
            <a:extLst>
              <a:ext uri="{FF2B5EF4-FFF2-40B4-BE49-F238E27FC236}">
                <a16:creationId xmlns:a16="http://schemas.microsoft.com/office/drawing/2014/main" xmlns="" id="{D1BACF27-A6BA-4A6F-A2BF-472AF5989837}"/>
              </a:ext>
            </a:extLst>
          </p:cNvPr>
          <p:cNvSpPr/>
          <p:nvPr userDrawn="1"/>
        </p:nvSpPr>
        <p:spPr>
          <a:xfrm rot="5400000" flipH="1">
            <a:off x="793715"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2" name="ICON home">
            <a:extLst>
              <a:ext uri="{FF2B5EF4-FFF2-40B4-BE49-F238E27FC236}">
                <a16:creationId xmlns:a16="http://schemas.microsoft.com/office/drawing/2014/main" xmlns="" id="{47D326EB-1FB5-41D9-B89E-909B94204D22}"/>
              </a:ext>
            </a:extLst>
          </p:cNvPr>
          <p:cNvSpPr>
            <a:spLocks/>
          </p:cNvSpPr>
          <p:nvPr userDrawn="1"/>
        </p:nvSpPr>
        <p:spPr bwMode="auto">
          <a:xfrm>
            <a:off x="348140"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3" name="LINK Fwd">
            <a:hlinkClick r:id="" action="ppaction://hlinkshowjump?jump=nextslide"/>
            <a:extLst>
              <a:ext uri="{FF2B5EF4-FFF2-40B4-BE49-F238E27FC236}">
                <a16:creationId xmlns:a16="http://schemas.microsoft.com/office/drawing/2014/main" xmlns="" id="{D8907A58-621A-4EEE-963F-CA41DDEA71DC}"/>
              </a:ext>
            </a:extLst>
          </p:cNvPr>
          <p:cNvSpPr/>
          <p:nvPr userDrawn="1"/>
        </p:nvSpPr>
        <p:spPr>
          <a:xfrm>
            <a:off x="760947"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LINK home">
            <a:hlinkClick r:id="rId4" action="ppaction://hlinksldjump"/>
            <a:extLst>
              <a:ext uri="{FF2B5EF4-FFF2-40B4-BE49-F238E27FC236}">
                <a16:creationId xmlns:a16="http://schemas.microsoft.com/office/drawing/2014/main" xmlns="" id="{0D9D35BC-C710-4722-A046-613B93301372}"/>
              </a:ext>
            </a:extLst>
          </p:cNvPr>
          <p:cNvSpPr/>
          <p:nvPr userDrawn="1"/>
        </p:nvSpPr>
        <p:spPr>
          <a:xfrm>
            <a:off x="322435"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33600733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iscovery Sciences">
    <p:spTree>
      <p:nvGrpSpPr>
        <p:cNvPr id="1" name=""/>
        <p:cNvGrpSpPr/>
        <p:nvPr/>
      </p:nvGrpSpPr>
      <p:grpSpPr>
        <a:xfrm>
          <a:off x="0" y="0"/>
          <a:ext cx="0" cy="0"/>
          <a:chOff x="0" y="0"/>
          <a:chExt cx="0" cy="0"/>
        </a:xfrm>
      </p:grpSpPr>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l="1997"/>
          <a:stretch/>
        </p:blipFill>
        <p:spPr>
          <a:xfrm>
            <a:off x="323847" y="2876550"/>
            <a:ext cx="8679109" cy="2125664"/>
          </a:xfrm>
          <a:prstGeom prst="rect">
            <a:avLst/>
          </a:prstGeom>
        </p:spPr>
      </p:pic>
      <p:sp>
        <p:nvSpPr>
          <p:cNvPr id="14" name="Title 8">
            <a:extLst>
              <a:ext uri="{FF2B5EF4-FFF2-40B4-BE49-F238E27FC236}">
                <a16:creationId xmlns:a16="http://schemas.microsoft.com/office/drawing/2014/main" xmlns="" id="{9DB2DE7C-78C5-4911-858E-F0555E5AFD3D}"/>
              </a:ext>
            </a:extLst>
          </p:cNvPr>
          <p:cNvSpPr>
            <a:spLocks noGrp="1"/>
          </p:cNvSpPr>
          <p:nvPr>
            <p:ph type="title" hasCustomPrompt="1"/>
          </p:nvPr>
        </p:nvSpPr>
        <p:spPr>
          <a:xfrm>
            <a:off x="323851" y="979137"/>
            <a:ext cx="6479998" cy="1078530"/>
          </a:xfrm>
          <a:prstGeom prst="rect">
            <a:avLst/>
          </a:prstGeom>
        </p:spPr>
        <p:txBody>
          <a:bodyPr vert="horz" lIns="0" tIns="0" rIns="0" bIns="0" anchor="b"/>
          <a:lstStyle>
            <a:lvl1pPr algn="l">
              <a:lnSpc>
                <a:spcPct val="100000"/>
              </a:lnSpc>
              <a:defRPr sz="2800" b="0" baseline="0">
                <a:solidFill>
                  <a:schemeClr val="tx1"/>
                </a:solidFill>
                <a:latin typeface="Arial" pitchFamily="34" charset="0"/>
                <a:cs typeface="Arial" pitchFamily="34" charset="0"/>
              </a:defRPr>
            </a:lvl1pPr>
          </a:lstStyle>
          <a:p>
            <a:r>
              <a:rPr lang="en-GB" noProof="0" dirty="0"/>
              <a:t>Click to add presentation title</a:t>
            </a:r>
          </a:p>
        </p:txBody>
      </p:sp>
      <p:sp>
        <p:nvSpPr>
          <p:cNvPr id="15" name="Text Placeholder 29">
            <a:extLst>
              <a:ext uri="{FF2B5EF4-FFF2-40B4-BE49-F238E27FC236}">
                <a16:creationId xmlns:a16="http://schemas.microsoft.com/office/drawing/2014/main" xmlns="" id="{BF6F803D-BCFA-4646-BE63-3B97CF72E4C9}"/>
              </a:ext>
            </a:extLst>
          </p:cNvPr>
          <p:cNvSpPr>
            <a:spLocks noGrp="1"/>
          </p:cNvSpPr>
          <p:nvPr>
            <p:ph type="body" sz="quarter" idx="11" hasCustomPrompt="1"/>
          </p:nvPr>
        </p:nvSpPr>
        <p:spPr>
          <a:xfrm>
            <a:off x="323848" y="2135516"/>
            <a:ext cx="6480000" cy="456933"/>
          </a:xfrm>
          <a:prstGeom prst="rect">
            <a:avLst/>
          </a:prstGeom>
        </p:spPr>
        <p:txBody>
          <a:bodyPr vert="horz" lIns="0" tIns="0" rIns="0" bIns="0"/>
          <a:lstStyle>
            <a:lvl1pPr marL="0" indent="0">
              <a:lnSpc>
                <a:spcPct val="100000"/>
              </a:lnSpc>
              <a:spcBef>
                <a:spcPts val="0"/>
              </a:spcBef>
              <a:buNone/>
              <a:defRPr sz="1400" b="1">
                <a:solidFill>
                  <a:schemeClr val="tx2"/>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6" name="Text Placeholder 29">
            <a:extLst>
              <a:ext uri="{FF2B5EF4-FFF2-40B4-BE49-F238E27FC236}">
                <a16:creationId xmlns:a16="http://schemas.microsoft.com/office/drawing/2014/main" xmlns="" id="{5686D532-EB20-4CD6-8F0C-56078D9395B3}"/>
              </a:ext>
            </a:extLst>
          </p:cNvPr>
          <p:cNvSpPr>
            <a:spLocks noGrp="1"/>
          </p:cNvSpPr>
          <p:nvPr>
            <p:ph type="body" sz="quarter" idx="12" hasCustomPrompt="1"/>
          </p:nvPr>
        </p:nvSpPr>
        <p:spPr>
          <a:xfrm>
            <a:off x="323848" y="2607900"/>
            <a:ext cx="6480000" cy="190800"/>
          </a:xfrm>
          <a:prstGeom prst="rect">
            <a:avLst/>
          </a:prstGeom>
        </p:spPr>
        <p:txBody>
          <a:bodyPr vert="horz" lIns="0" tIns="0" rIns="0" bIns="0"/>
          <a:lstStyle>
            <a:lvl1pPr marL="0" indent="0">
              <a:lnSpc>
                <a:spcPct val="1000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
        <p:nvSpPr>
          <p:cNvPr id="11" name="ICON Fwd">
            <a:hlinkClick r:id="" action="ppaction://hlinkshowjump?jump=nextslide"/>
            <a:extLst>
              <a:ext uri="{FF2B5EF4-FFF2-40B4-BE49-F238E27FC236}">
                <a16:creationId xmlns:a16="http://schemas.microsoft.com/office/drawing/2014/main" xmlns="" id="{254C9664-8C01-4860-8E0B-0C2BA24573A1}"/>
              </a:ext>
            </a:extLst>
          </p:cNvPr>
          <p:cNvSpPr/>
          <p:nvPr userDrawn="1"/>
        </p:nvSpPr>
        <p:spPr>
          <a:xfrm rot="5400000" flipH="1">
            <a:off x="793715"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2" name="ICON home">
            <a:extLst>
              <a:ext uri="{FF2B5EF4-FFF2-40B4-BE49-F238E27FC236}">
                <a16:creationId xmlns:a16="http://schemas.microsoft.com/office/drawing/2014/main" xmlns="" id="{6FFB9951-4219-42C9-9713-D2CDACCA7EE7}"/>
              </a:ext>
            </a:extLst>
          </p:cNvPr>
          <p:cNvSpPr>
            <a:spLocks/>
          </p:cNvSpPr>
          <p:nvPr userDrawn="1"/>
        </p:nvSpPr>
        <p:spPr bwMode="auto">
          <a:xfrm>
            <a:off x="348140"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3" name="LINK Fwd">
            <a:hlinkClick r:id="" action="ppaction://hlinkshowjump?jump=nextslide"/>
            <a:extLst>
              <a:ext uri="{FF2B5EF4-FFF2-40B4-BE49-F238E27FC236}">
                <a16:creationId xmlns:a16="http://schemas.microsoft.com/office/drawing/2014/main" xmlns="" id="{21517BD2-434E-419D-98F5-068E4D74ECE9}"/>
              </a:ext>
            </a:extLst>
          </p:cNvPr>
          <p:cNvSpPr/>
          <p:nvPr userDrawn="1"/>
        </p:nvSpPr>
        <p:spPr>
          <a:xfrm>
            <a:off x="760947"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LINK home">
            <a:hlinkClick r:id="rId4" action="ppaction://hlinksldjump"/>
            <a:extLst>
              <a:ext uri="{FF2B5EF4-FFF2-40B4-BE49-F238E27FC236}">
                <a16:creationId xmlns:a16="http://schemas.microsoft.com/office/drawing/2014/main" xmlns="" id="{A5BF963D-312D-4217-BB77-0CC6FEC73BD9}"/>
              </a:ext>
            </a:extLst>
          </p:cNvPr>
          <p:cNvSpPr/>
          <p:nvPr userDrawn="1"/>
        </p:nvSpPr>
        <p:spPr>
          <a:xfrm>
            <a:off x="322435"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66531426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RIA">
    <p:spTree>
      <p:nvGrpSpPr>
        <p:cNvPr id="1" name=""/>
        <p:cNvGrpSpPr/>
        <p:nvPr/>
      </p:nvGrpSpPr>
      <p:grpSpPr>
        <a:xfrm>
          <a:off x="0" y="0"/>
          <a:ext cx="0" cy="0"/>
          <a:chOff x="0" y="0"/>
          <a:chExt cx="0" cy="0"/>
        </a:xfrm>
      </p:grpSpPr>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l="2026"/>
          <a:stretch/>
        </p:blipFill>
        <p:spPr>
          <a:xfrm>
            <a:off x="323847" y="2876550"/>
            <a:ext cx="8676615" cy="2125664"/>
          </a:xfrm>
          <a:prstGeom prst="rect">
            <a:avLst/>
          </a:prstGeom>
        </p:spPr>
      </p:pic>
      <p:sp>
        <p:nvSpPr>
          <p:cNvPr id="14" name="Title 8">
            <a:extLst>
              <a:ext uri="{FF2B5EF4-FFF2-40B4-BE49-F238E27FC236}">
                <a16:creationId xmlns:a16="http://schemas.microsoft.com/office/drawing/2014/main" xmlns="" id="{B6046098-F919-4E66-BC39-71C10660708C}"/>
              </a:ext>
            </a:extLst>
          </p:cNvPr>
          <p:cNvSpPr>
            <a:spLocks noGrp="1"/>
          </p:cNvSpPr>
          <p:nvPr>
            <p:ph type="title" hasCustomPrompt="1"/>
          </p:nvPr>
        </p:nvSpPr>
        <p:spPr>
          <a:xfrm>
            <a:off x="323851" y="979137"/>
            <a:ext cx="6479998" cy="1078530"/>
          </a:xfrm>
          <a:prstGeom prst="rect">
            <a:avLst/>
          </a:prstGeom>
        </p:spPr>
        <p:txBody>
          <a:bodyPr vert="horz" lIns="0" tIns="0" rIns="0" bIns="0" anchor="b"/>
          <a:lstStyle>
            <a:lvl1pPr algn="l">
              <a:lnSpc>
                <a:spcPct val="100000"/>
              </a:lnSpc>
              <a:defRPr sz="2800" b="0" baseline="0">
                <a:solidFill>
                  <a:schemeClr val="tx1"/>
                </a:solidFill>
                <a:latin typeface="Arial" pitchFamily="34" charset="0"/>
                <a:cs typeface="Arial" pitchFamily="34" charset="0"/>
              </a:defRPr>
            </a:lvl1pPr>
          </a:lstStyle>
          <a:p>
            <a:r>
              <a:rPr lang="en-GB" noProof="0" dirty="0"/>
              <a:t>Click to add presentation title</a:t>
            </a:r>
          </a:p>
        </p:txBody>
      </p:sp>
      <p:sp>
        <p:nvSpPr>
          <p:cNvPr id="15" name="Text Placeholder 29">
            <a:extLst>
              <a:ext uri="{FF2B5EF4-FFF2-40B4-BE49-F238E27FC236}">
                <a16:creationId xmlns:a16="http://schemas.microsoft.com/office/drawing/2014/main" xmlns="" id="{3E092BCF-F378-4C30-AA51-BB1A2156FA57}"/>
              </a:ext>
            </a:extLst>
          </p:cNvPr>
          <p:cNvSpPr>
            <a:spLocks noGrp="1"/>
          </p:cNvSpPr>
          <p:nvPr>
            <p:ph type="body" sz="quarter" idx="11" hasCustomPrompt="1"/>
          </p:nvPr>
        </p:nvSpPr>
        <p:spPr>
          <a:xfrm>
            <a:off x="323848" y="2135516"/>
            <a:ext cx="6480000" cy="456933"/>
          </a:xfrm>
          <a:prstGeom prst="rect">
            <a:avLst/>
          </a:prstGeom>
        </p:spPr>
        <p:txBody>
          <a:bodyPr vert="horz" lIns="0" tIns="0" rIns="0" bIns="0"/>
          <a:lstStyle>
            <a:lvl1pPr marL="0" indent="0">
              <a:lnSpc>
                <a:spcPct val="100000"/>
              </a:lnSpc>
              <a:spcBef>
                <a:spcPts val="0"/>
              </a:spcBef>
              <a:buNone/>
              <a:defRPr sz="1400" b="1">
                <a:solidFill>
                  <a:schemeClr val="tx2"/>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6" name="Text Placeholder 29">
            <a:extLst>
              <a:ext uri="{FF2B5EF4-FFF2-40B4-BE49-F238E27FC236}">
                <a16:creationId xmlns:a16="http://schemas.microsoft.com/office/drawing/2014/main" xmlns="" id="{B5802C7C-CC7D-4652-86A9-3881B39C8A48}"/>
              </a:ext>
            </a:extLst>
          </p:cNvPr>
          <p:cNvSpPr>
            <a:spLocks noGrp="1"/>
          </p:cNvSpPr>
          <p:nvPr>
            <p:ph type="body" sz="quarter" idx="12" hasCustomPrompt="1"/>
          </p:nvPr>
        </p:nvSpPr>
        <p:spPr>
          <a:xfrm>
            <a:off x="323848" y="2607900"/>
            <a:ext cx="6480000" cy="190800"/>
          </a:xfrm>
          <a:prstGeom prst="rect">
            <a:avLst/>
          </a:prstGeom>
        </p:spPr>
        <p:txBody>
          <a:bodyPr vert="horz" lIns="0" tIns="0" rIns="0" bIns="0"/>
          <a:lstStyle>
            <a:lvl1pPr marL="0" indent="0">
              <a:lnSpc>
                <a:spcPct val="1000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
        <p:nvSpPr>
          <p:cNvPr id="11" name="ICON Fwd">
            <a:hlinkClick r:id="" action="ppaction://hlinkshowjump?jump=nextslide"/>
            <a:extLst>
              <a:ext uri="{FF2B5EF4-FFF2-40B4-BE49-F238E27FC236}">
                <a16:creationId xmlns:a16="http://schemas.microsoft.com/office/drawing/2014/main" xmlns="" id="{7AFAC027-BA55-401D-99F7-E26CAACDF602}"/>
              </a:ext>
            </a:extLst>
          </p:cNvPr>
          <p:cNvSpPr/>
          <p:nvPr userDrawn="1"/>
        </p:nvSpPr>
        <p:spPr>
          <a:xfrm rot="5400000" flipH="1">
            <a:off x="793715"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2" name="ICON home">
            <a:extLst>
              <a:ext uri="{FF2B5EF4-FFF2-40B4-BE49-F238E27FC236}">
                <a16:creationId xmlns:a16="http://schemas.microsoft.com/office/drawing/2014/main" xmlns="" id="{9A03255F-9619-4640-9A87-CDD3CE2E3DC9}"/>
              </a:ext>
            </a:extLst>
          </p:cNvPr>
          <p:cNvSpPr>
            <a:spLocks/>
          </p:cNvSpPr>
          <p:nvPr userDrawn="1"/>
        </p:nvSpPr>
        <p:spPr bwMode="auto">
          <a:xfrm>
            <a:off x="348140"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3" name="LINK Fwd">
            <a:hlinkClick r:id="" action="ppaction://hlinkshowjump?jump=nextslide"/>
            <a:extLst>
              <a:ext uri="{FF2B5EF4-FFF2-40B4-BE49-F238E27FC236}">
                <a16:creationId xmlns:a16="http://schemas.microsoft.com/office/drawing/2014/main" xmlns="" id="{4DB1B805-8303-4DB0-B5D9-B64DC8B4EDE6}"/>
              </a:ext>
            </a:extLst>
          </p:cNvPr>
          <p:cNvSpPr/>
          <p:nvPr userDrawn="1"/>
        </p:nvSpPr>
        <p:spPr>
          <a:xfrm>
            <a:off x="760947"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LINK home">
            <a:hlinkClick r:id="rId4" action="ppaction://hlinksldjump"/>
            <a:extLst>
              <a:ext uri="{FF2B5EF4-FFF2-40B4-BE49-F238E27FC236}">
                <a16:creationId xmlns:a16="http://schemas.microsoft.com/office/drawing/2014/main" xmlns="" id="{9857A1B0-020D-474A-ABE5-E862487C5AF2}"/>
              </a:ext>
            </a:extLst>
          </p:cNvPr>
          <p:cNvSpPr/>
          <p:nvPr userDrawn="1"/>
        </p:nvSpPr>
        <p:spPr>
          <a:xfrm>
            <a:off x="322435"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45546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Текст 2">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6954" y="250031"/>
            <a:ext cx="6249590" cy="647700"/>
          </a:xfrm>
        </p:spPr>
        <p:txBody>
          <a:bodyPr anchor="ctr">
            <a:normAutofit/>
          </a:bodyPr>
          <a:lstStyle>
            <a:lvl1pPr>
              <a:defRPr sz="2100" b="1">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11" name="Объект 10"/>
          <p:cNvSpPr>
            <a:spLocks noGrp="1"/>
          </p:cNvSpPr>
          <p:nvPr>
            <p:ph sz="quarter" idx="10"/>
          </p:nvPr>
        </p:nvSpPr>
        <p:spPr>
          <a:xfrm>
            <a:off x="386954" y="1146654"/>
            <a:ext cx="8370094" cy="3450350"/>
          </a:xfrm>
        </p:spPr>
        <p:txBody>
          <a:bodyPr>
            <a:normAutofit/>
          </a:bodyPr>
          <a:lstStyle>
            <a:lvl1pPr>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5" name="Рисунок 7">
            <a:extLst>
              <a:ext uri="{FF2B5EF4-FFF2-40B4-BE49-F238E27FC236}">
                <a16:creationId xmlns:a16="http://schemas.microsoft.com/office/drawing/2014/main" xmlns="" id="{7284447D-5597-4F97-BA4F-12CB5BF731B4}"/>
              </a:ext>
            </a:extLst>
          </p:cNvPr>
          <p:cNvPicPr>
            <a:picLocks noChangeAspect="1"/>
          </p:cNvPicPr>
          <p:nvPr userDrawn="1"/>
        </p:nvPicPr>
        <p:blipFill>
          <a:blip r:embed="rId2"/>
          <a:stretch>
            <a:fillRect/>
          </a:stretch>
        </p:blipFill>
        <p:spPr>
          <a:xfrm>
            <a:off x="7699034" y="4667639"/>
            <a:ext cx="1314887" cy="324103"/>
          </a:xfrm>
          <a:prstGeom prst="rect">
            <a:avLst/>
          </a:prstGeom>
        </p:spPr>
      </p:pic>
    </p:spTree>
    <p:extLst>
      <p:ext uri="{BB962C8B-B14F-4D97-AF65-F5344CB8AC3E}">
        <p14:creationId xmlns:p14="http://schemas.microsoft.com/office/powerpoint/2010/main" val="1306974084"/>
      </p:ext>
    </p:extLst>
  </p:cSld>
  <p:clrMapOvr>
    <a:masterClrMapping/>
  </p:clrMapOvr>
  <p:extLst>
    <p:ext uri="{DCECCB84-F9BA-43D5-87BE-67443E8EF086}">
      <p15:sldGuideLst xmlns:p15="http://schemas.microsoft.com/office/powerpoint/2012/main" xmlns="">
        <p15:guide id="1" pos="325">
          <p15:clr>
            <a:srgbClr val="FBAE40"/>
          </p15:clr>
        </p15:guide>
        <p15:guide id="2" pos="7355">
          <p15:clr>
            <a:srgbClr val="FBAE40"/>
          </p15:clr>
        </p15:guide>
        <p15:guide id="3" orient="horz" pos="386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arma_Science">
    <p:spTree>
      <p:nvGrpSpPr>
        <p:cNvPr id="1" name=""/>
        <p:cNvGrpSpPr/>
        <p:nvPr/>
      </p:nvGrpSpPr>
      <p:grpSpPr>
        <a:xfrm>
          <a:off x="0" y="0"/>
          <a:ext cx="0" cy="0"/>
          <a:chOff x="0" y="0"/>
          <a:chExt cx="0" cy="0"/>
        </a:xfrm>
      </p:grpSpPr>
      <p:pic>
        <p:nvPicPr>
          <p:cNvPr id="3" name="Picture 2" descr="A picture containing cake, indoor&#10;&#10;Description automatically generated">
            <a:extLst>
              <a:ext uri="{FF2B5EF4-FFF2-40B4-BE49-F238E27FC236}">
                <a16:creationId xmlns:a16="http://schemas.microsoft.com/office/drawing/2014/main" xmlns="" id="{039D58CE-906A-0B48-B080-3AC203DB51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032"/>
          <a:stretch/>
        </p:blipFill>
        <p:spPr>
          <a:xfrm>
            <a:off x="323848" y="2877963"/>
            <a:ext cx="8673233" cy="2113994"/>
          </a:xfrm>
          <a:prstGeom prst="rect">
            <a:avLst/>
          </a:prstGeom>
        </p:spPr>
      </p:pic>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0" name="Title 8">
            <a:extLst>
              <a:ext uri="{FF2B5EF4-FFF2-40B4-BE49-F238E27FC236}">
                <a16:creationId xmlns:a16="http://schemas.microsoft.com/office/drawing/2014/main" xmlns="" id="{5AE13539-1ECC-47C9-A7EF-DF42B15CF8D1}"/>
              </a:ext>
            </a:extLst>
          </p:cNvPr>
          <p:cNvSpPr>
            <a:spLocks noGrp="1"/>
          </p:cNvSpPr>
          <p:nvPr>
            <p:ph type="title" hasCustomPrompt="1"/>
          </p:nvPr>
        </p:nvSpPr>
        <p:spPr>
          <a:xfrm>
            <a:off x="323851" y="987229"/>
            <a:ext cx="6479998" cy="1078530"/>
          </a:xfrm>
          <a:prstGeom prst="rect">
            <a:avLst/>
          </a:prstGeom>
        </p:spPr>
        <p:txBody>
          <a:bodyPr vert="horz" lIns="0" tIns="0" rIns="0" bIns="0" anchor="b"/>
          <a:lstStyle>
            <a:lvl1pPr algn="l">
              <a:lnSpc>
                <a:spcPct val="100000"/>
              </a:lnSpc>
              <a:defRPr sz="2800" b="0" baseline="0">
                <a:solidFill>
                  <a:schemeClr val="tx1"/>
                </a:solidFill>
                <a:latin typeface="Arial" pitchFamily="34" charset="0"/>
                <a:cs typeface="Arial" pitchFamily="34" charset="0"/>
              </a:defRPr>
            </a:lvl1pPr>
          </a:lstStyle>
          <a:p>
            <a:r>
              <a:rPr lang="en-GB" noProof="0" dirty="0"/>
              <a:t>Click to add presentation title</a:t>
            </a:r>
          </a:p>
        </p:txBody>
      </p:sp>
      <p:sp>
        <p:nvSpPr>
          <p:cNvPr id="12" name="Text Placeholder 29">
            <a:extLst>
              <a:ext uri="{FF2B5EF4-FFF2-40B4-BE49-F238E27FC236}">
                <a16:creationId xmlns:a16="http://schemas.microsoft.com/office/drawing/2014/main" xmlns="" id="{BAF2C523-94DE-4B04-AC8A-9F4A3AF0834A}"/>
              </a:ext>
            </a:extLst>
          </p:cNvPr>
          <p:cNvSpPr>
            <a:spLocks noGrp="1"/>
          </p:cNvSpPr>
          <p:nvPr>
            <p:ph type="body" sz="quarter" idx="11" hasCustomPrompt="1"/>
          </p:nvPr>
        </p:nvSpPr>
        <p:spPr>
          <a:xfrm>
            <a:off x="323848" y="2143608"/>
            <a:ext cx="6480000" cy="456933"/>
          </a:xfrm>
          <a:prstGeom prst="rect">
            <a:avLst/>
          </a:prstGeom>
        </p:spPr>
        <p:txBody>
          <a:bodyPr vert="horz" lIns="0" tIns="0" rIns="0" bIns="0"/>
          <a:lstStyle>
            <a:lvl1pPr marL="0" indent="0">
              <a:lnSpc>
                <a:spcPct val="100000"/>
              </a:lnSpc>
              <a:spcBef>
                <a:spcPts val="0"/>
              </a:spcBef>
              <a:buNone/>
              <a:defRPr sz="1400" b="1">
                <a:solidFill>
                  <a:schemeClr val="tx2"/>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4" name="Text Placeholder 29">
            <a:extLst>
              <a:ext uri="{FF2B5EF4-FFF2-40B4-BE49-F238E27FC236}">
                <a16:creationId xmlns:a16="http://schemas.microsoft.com/office/drawing/2014/main" xmlns="" id="{966C8D25-08C0-486F-B31A-68F1BF35EDDF}"/>
              </a:ext>
            </a:extLst>
          </p:cNvPr>
          <p:cNvSpPr>
            <a:spLocks noGrp="1"/>
          </p:cNvSpPr>
          <p:nvPr>
            <p:ph type="body" sz="quarter" idx="12" hasCustomPrompt="1"/>
          </p:nvPr>
        </p:nvSpPr>
        <p:spPr>
          <a:xfrm>
            <a:off x="323848" y="2615992"/>
            <a:ext cx="6480000" cy="190800"/>
          </a:xfrm>
          <a:prstGeom prst="rect">
            <a:avLst/>
          </a:prstGeom>
        </p:spPr>
        <p:txBody>
          <a:bodyPr vert="horz" lIns="0" tIns="0" rIns="0" bIns="0"/>
          <a:lstStyle>
            <a:lvl1pPr marL="0" indent="0">
              <a:lnSpc>
                <a:spcPct val="1000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
        <p:nvSpPr>
          <p:cNvPr id="15" name="ICON Fwd">
            <a:hlinkClick r:id="" action="ppaction://hlinkshowjump?jump=nextslide"/>
            <a:extLst>
              <a:ext uri="{FF2B5EF4-FFF2-40B4-BE49-F238E27FC236}">
                <a16:creationId xmlns:a16="http://schemas.microsoft.com/office/drawing/2014/main" xmlns="" id="{672005D0-E69B-459C-A5BF-9C3A68BA5D82}"/>
              </a:ext>
            </a:extLst>
          </p:cNvPr>
          <p:cNvSpPr/>
          <p:nvPr userDrawn="1"/>
        </p:nvSpPr>
        <p:spPr>
          <a:xfrm rot="5400000" flipH="1">
            <a:off x="793715"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6" name="ICON home">
            <a:extLst>
              <a:ext uri="{FF2B5EF4-FFF2-40B4-BE49-F238E27FC236}">
                <a16:creationId xmlns:a16="http://schemas.microsoft.com/office/drawing/2014/main" xmlns="" id="{3FE53A75-A3EC-4582-841E-F66FDF94C0E1}"/>
              </a:ext>
            </a:extLst>
          </p:cNvPr>
          <p:cNvSpPr>
            <a:spLocks/>
          </p:cNvSpPr>
          <p:nvPr userDrawn="1"/>
        </p:nvSpPr>
        <p:spPr bwMode="auto">
          <a:xfrm>
            <a:off x="348140"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7" name="LINK Fwd">
            <a:hlinkClick r:id="" action="ppaction://hlinkshowjump?jump=nextslide"/>
            <a:extLst>
              <a:ext uri="{FF2B5EF4-FFF2-40B4-BE49-F238E27FC236}">
                <a16:creationId xmlns:a16="http://schemas.microsoft.com/office/drawing/2014/main" xmlns="" id="{7318E1DA-C446-4FE8-8790-81A2DD783B5D}"/>
              </a:ext>
            </a:extLst>
          </p:cNvPr>
          <p:cNvSpPr/>
          <p:nvPr userDrawn="1"/>
        </p:nvSpPr>
        <p:spPr>
          <a:xfrm>
            <a:off x="760947"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 name="LINK home">
            <a:hlinkClick r:id="rId4" action="ppaction://hlinksldjump"/>
            <a:extLst>
              <a:ext uri="{FF2B5EF4-FFF2-40B4-BE49-F238E27FC236}">
                <a16:creationId xmlns:a16="http://schemas.microsoft.com/office/drawing/2014/main" xmlns="" id="{6ED5BAA4-F380-4717-A289-79674E951800}"/>
              </a:ext>
            </a:extLst>
          </p:cNvPr>
          <p:cNvSpPr/>
          <p:nvPr userDrawn="1"/>
        </p:nvSpPr>
        <p:spPr>
          <a:xfrm>
            <a:off x="322435"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0882811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harma_Science_3">
    <p:spTree>
      <p:nvGrpSpPr>
        <p:cNvPr id="1" name=""/>
        <p:cNvGrpSpPr/>
        <p:nvPr/>
      </p:nvGrpSpPr>
      <p:grpSpPr>
        <a:xfrm>
          <a:off x="0" y="0"/>
          <a:ext cx="0" cy="0"/>
          <a:chOff x="0" y="0"/>
          <a:chExt cx="0" cy="0"/>
        </a:xfrm>
      </p:grpSpPr>
      <p:pic>
        <p:nvPicPr>
          <p:cNvPr id="3" name="Picture 2" descr="A picture containing cake, tree, reef, indoor&#10;&#10;Description automatically generated">
            <a:extLst>
              <a:ext uri="{FF2B5EF4-FFF2-40B4-BE49-F238E27FC236}">
                <a16:creationId xmlns:a16="http://schemas.microsoft.com/office/drawing/2014/main" xmlns="" id="{D70BBD08-7D34-5548-A954-46F975288B59}"/>
              </a:ext>
            </a:extLst>
          </p:cNvPr>
          <p:cNvPicPr>
            <a:picLocks noChangeAspect="1"/>
          </p:cNvPicPr>
          <p:nvPr userDrawn="1"/>
        </p:nvPicPr>
        <p:blipFill rotWithShape="1">
          <a:blip r:embed="rId2"/>
          <a:srcRect l="2032" t="28772" b="28772"/>
          <a:stretch/>
        </p:blipFill>
        <p:spPr>
          <a:xfrm>
            <a:off x="323850" y="2877964"/>
            <a:ext cx="8672549" cy="2113994"/>
          </a:xfrm>
          <a:prstGeom prst="rect">
            <a:avLst/>
          </a:prstGeom>
        </p:spPr>
      </p:pic>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0" name="Title 8">
            <a:extLst>
              <a:ext uri="{FF2B5EF4-FFF2-40B4-BE49-F238E27FC236}">
                <a16:creationId xmlns:a16="http://schemas.microsoft.com/office/drawing/2014/main" xmlns="" id="{F9E39129-FADF-45B4-8F05-C777627E46DB}"/>
              </a:ext>
            </a:extLst>
          </p:cNvPr>
          <p:cNvSpPr>
            <a:spLocks noGrp="1"/>
          </p:cNvSpPr>
          <p:nvPr>
            <p:ph type="title" hasCustomPrompt="1"/>
          </p:nvPr>
        </p:nvSpPr>
        <p:spPr>
          <a:xfrm>
            <a:off x="323851" y="979137"/>
            <a:ext cx="6479998" cy="1078530"/>
          </a:xfrm>
          <a:prstGeom prst="rect">
            <a:avLst/>
          </a:prstGeom>
        </p:spPr>
        <p:txBody>
          <a:bodyPr vert="horz" lIns="0" tIns="0" rIns="0" bIns="0" anchor="b"/>
          <a:lstStyle>
            <a:lvl1pPr algn="l">
              <a:lnSpc>
                <a:spcPct val="100000"/>
              </a:lnSpc>
              <a:defRPr sz="2800" b="0" baseline="0">
                <a:solidFill>
                  <a:schemeClr val="tx1"/>
                </a:solidFill>
                <a:latin typeface="Arial" pitchFamily="34" charset="0"/>
                <a:cs typeface="Arial" pitchFamily="34" charset="0"/>
              </a:defRPr>
            </a:lvl1pPr>
          </a:lstStyle>
          <a:p>
            <a:r>
              <a:rPr lang="en-GB" noProof="0" dirty="0"/>
              <a:t>Click to add presentation title</a:t>
            </a:r>
          </a:p>
        </p:txBody>
      </p:sp>
      <p:sp>
        <p:nvSpPr>
          <p:cNvPr id="12" name="Text Placeholder 29">
            <a:extLst>
              <a:ext uri="{FF2B5EF4-FFF2-40B4-BE49-F238E27FC236}">
                <a16:creationId xmlns:a16="http://schemas.microsoft.com/office/drawing/2014/main" xmlns="" id="{EBA8EB69-BADC-47EF-AD46-DEA8AB26FDBD}"/>
              </a:ext>
            </a:extLst>
          </p:cNvPr>
          <p:cNvSpPr>
            <a:spLocks noGrp="1"/>
          </p:cNvSpPr>
          <p:nvPr>
            <p:ph type="body" sz="quarter" idx="11" hasCustomPrompt="1"/>
          </p:nvPr>
        </p:nvSpPr>
        <p:spPr>
          <a:xfrm>
            <a:off x="323848" y="2135516"/>
            <a:ext cx="6480000" cy="456933"/>
          </a:xfrm>
          <a:prstGeom prst="rect">
            <a:avLst/>
          </a:prstGeom>
        </p:spPr>
        <p:txBody>
          <a:bodyPr vert="horz" lIns="0" tIns="0" rIns="0" bIns="0"/>
          <a:lstStyle>
            <a:lvl1pPr marL="0" indent="0">
              <a:lnSpc>
                <a:spcPct val="100000"/>
              </a:lnSpc>
              <a:spcBef>
                <a:spcPts val="0"/>
              </a:spcBef>
              <a:buNone/>
              <a:defRPr sz="1400" b="1">
                <a:solidFill>
                  <a:schemeClr val="tx2"/>
                </a:solidFill>
                <a:latin typeface="Arial" pitchFamily="34" charset="0"/>
                <a:cs typeface="Arial" pitchFamily="34" charset="0"/>
              </a:defRPr>
            </a:lvl1pPr>
          </a:lstStyle>
          <a:p>
            <a:pPr lvl="0"/>
            <a:r>
              <a:rPr lang="en-GB" noProof="0" dirty="0"/>
              <a:t>Subtitle </a:t>
            </a:r>
            <a:r>
              <a:rPr lang="en-GB" noProof="0" dirty="0" err="1"/>
              <a:t>subtitle</a:t>
            </a:r>
            <a:r>
              <a:rPr lang="en-GB" noProof="0" dirty="0"/>
              <a:t> </a:t>
            </a:r>
            <a:r>
              <a:rPr lang="en-GB" noProof="0" dirty="0" err="1"/>
              <a:t>subtitle</a:t>
            </a:r>
            <a:endParaRPr lang="en-GB" noProof="0" dirty="0"/>
          </a:p>
        </p:txBody>
      </p:sp>
      <p:sp>
        <p:nvSpPr>
          <p:cNvPr id="14" name="Text Placeholder 29">
            <a:extLst>
              <a:ext uri="{FF2B5EF4-FFF2-40B4-BE49-F238E27FC236}">
                <a16:creationId xmlns:a16="http://schemas.microsoft.com/office/drawing/2014/main" xmlns="" id="{B1547842-5008-4FE5-ABC1-142CD5571CA9}"/>
              </a:ext>
            </a:extLst>
          </p:cNvPr>
          <p:cNvSpPr>
            <a:spLocks noGrp="1"/>
          </p:cNvSpPr>
          <p:nvPr>
            <p:ph type="body" sz="quarter" idx="12" hasCustomPrompt="1"/>
          </p:nvPr>
        </p:nvSpPr>
        <p:spPr>
          <a:xfrm>
            <a:off x="323848" y="2607900"/>
            <a:ext cx="6480000" cy="190800"/>
          </a:xfrm>
          <a:prstGeom prst="rect">
            <a:avLst/>
          </a:prstGeom>
        </p:spPr>
        <p:txBody>
          <a:bodyPr vert="horz" lIns="0" tIns="0" rIns="0" bIns="0"/>
          <a:lstStyle>
            <a:lvl1pPr marL="0" indent="0">
              <a:lnSpc>
                <a:spcPct val="100000"/>
              </a:lnSpc>
              <a:spcBef>
                <a:spcPts val="0"/>
              </a:spcBef>
              <a:buNone/>
              <a:defRPr sz="1200">
                <a:solidFill>
                  <a:schemeClr val="tx1"/>
                </a:solidFill>
                <a:latin typeface="Arial" pitchFamily="34" charset="0"/>
                <a:cs typeface="Arial" pitchFamily="34" charset="0"/>
              </a:defRPr>
            </a:lvl1pPr>
          </a:lstStyle>
          <a:p>
            <a:pPr lvl="0"/>
            <a:r>
              <a:rPr lang="en-GB" noProof="0" dirty="0"/>
              <a:t>Date</a:t>
            </a:r>
          </a:p>
        </p:txBody>
      </p:sp>
      <p:sp>
        <p:nvSpPr>
          <p:cNvPr id="15" name="ICON Fwd">
            <a:hlinkClick r:id="" action="ppaction://hlinkshowjump?jump=nextslide"/>
            <a:extLst>
              <a:ext uri="{FF2B5EF4-FFF2-40B4-BE49-F238E27FC236}">
                <a16:creationId xmlns:a16="http://schemas.microsoft.com/office/drawing/2014/main" xmlns="" id="{AE62FFF5-9704-4AB3-8E79-895B196B90FB}"/>
              </a:ext>
            </a:extLst>
          </p:cNvPr>
          <p:cNvSpPr/>
          <p:nvPr userDrawn="1"/>
        </p:nvSpPr>
        <p:spPr>
          <a:xfrm rot="5400000" flipH="1">
            <a:off x="793715"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6" name="ICON home">
            <a:extLst>
              <a:ext uri="{FF2B5EF4-FFF2-40B4-BE49-F238E27FC236}">
                <a16:creationId xmlns:a16="http://schemas.microsoft.com/office/drawing/2014/main" xmlns="" id="{4BAC31EC-50C5-4005-93E1-B3A4808DCE12}"/>
              </a:ext>
            </a:extLst>
          </p:cNvPr>
          <p:cNvSpPr>
            <a:spLocks/>
          </p:cNvSpPr>
          <p:nvPr userDrawn="1"/>
        </p:nvSpPr>
        <p:spPr bwMode="auto">
          <a:xfrm>
            <a:off x="348140"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7" name="LINK Fwd">
            <a:hlinkClick r:id="" action="ppaction://hlinkshowjump?jump=nextslide"/>
            <a:extLst>
              <a:ext uri="{FF2B5EF4-FFF2-40B4-BE49-F238E27FC236}">
                <a16:creationId xmlns:a16="http://schemas.microsoft.com/office/drawing/2014/main" xmlns="" id="{550B1218-3D22-47DD-AAB9-6B0965EDFA70}"/>
              </a:ext>
            </a:extLst>
          </p:cNvPr>
          <p:cNvSpPr/>
          <p:nvPr userDrawn="1"/>
        </p:nvSpPr>
        <p:spPr>
          <a:xfrm>
            <a:off x="760947"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 name="LINK home">
            <a:hlinkClick r:id="rId4" action="ppaction://hlinksldjump"/>
            <a:extLst>
              <a:ext uri="{FF2B5EF4-FFF2-40B4-BE49-F238E27FC236}">
                <a16:creationId xmlns:a16="http://schemas.microsoft.com/office/drawing/2014/main" xmlns="" id="{981FB137-55BC-4AB6-A6B1-B26F86E5B192}"/>
              </a:ext>
            </a:extLst>
          </p:cNvPr>
          <p:cNvSpPr/>
          <p:nvPr userDrawn="1"/>
        </p:nvSpPr>
        <p:spPr>
          <a:xfrm>
            <a:off x="322435"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6886474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25609" y="1203325"/>
            <a:ext cx="8678862" cy="3348038"/>
          </a:xfrm>
          <a:prstGeom prst="rect">
            <a:avLst/>
          </a:prstGeom>
        </p:spPr>
        <p:txBody>
          <a:bodyPr lIns="0" tIns="0" rIns="0" bIns="0"/>
          <a:lstStyle>
            <a:lvl1pPr>
              <a:defRPr lang="en-GB" sz="1400" b="0" noProof="0" dirty="0">
                <a:latin typeface="Arial" pitchFamily="34" charset="0"/>
                <a:cs typeface="Arial" pitchFamily="34" charset="0"/>
              </a:defRPr>
            </a:lvl1pPr>
            <a:lvl2pPr>
              <a:defRPr lang="en-GB" sz="1200" b="0" baseline="0" noProof="0" dirty="0">
                <a:latin typeface="Arial" pitchFamily="34" charset="0"/>
                <a:cs typeface="Arial" pitchFamily="34" charset="0"/>
              </a:defRPr>
            </a:lvl2pPr>
            <a:lvl3pPr>
              <a:defRPr lang="en-GB" sz="1050" baseline="0" noProof="0" dirty="0">
                <a:latin typeface="Arial" pitchFamily="34" charset="0"/>
                <a:cs typeface="Arial" pitchFamily="34" charset="0"/>
              </a:defRPr>
            </a:lvl3pPr>
          </a:lstStyle>
          <a:p>
            <a:pPr marL="182563" lvl="0" indent="-182563">
              <a:lnSpc>
                <a:spcPct val="100000"/>
              </a:lnSpc>
              <a:spcBef>
                <a:spcPts val="0"/>
              </a:spcBef>
              <a:buClr>
                <a:schemeClr val="tx2"/>
              </a:buClr>
              <a:buFont typeface="Arial" panose="020B0604020202020204" pitchFamily="34" charset="0"/>
            </a:pPr>
            <a:r>
              <a:rPr lang="en-GB" noProof="0" dirty="0"/>
              <a:t>First level</a:t>
            </a:r>
          </a:p>
          <a:p>
            <a:pPr marL="358775" lvl="1" indent="-176213">
              <a:lnSpc>
                <a:spcPct val="100000"/>
              </a:lnSpc>
              <a:spcBef>
                <a:spcPts val="0"/>
              </a:spcBef>
              <a:buClrTx/>
              <a:buFont typeface="Arial" panose="020B0604020202020204" pitchFamily="34" charset="0"/>
            </a:pPr>
            <a:r>
              <a:rPr lang="en-GB" noProof="0" dirty="0"/>
              <a:t>Second level</a:t>
            </a:r>
          </a:p>
          <a:p>
            <a:pPr marL="539750" lvl="2" indent="-180975">
              <a:buFont typeface="Courier New" panose="02070309020205020404" pitchFamily="49" charset="0"/>
              <a:buChar char="o"/>
            </a:pPr>
            <a:r>
              <a:rPr lang="en-GB" noProof="0" dirty="0"/>
              <a:t>Third level</a:t>
            </a:r>
          </a:p>
        </p:txBody>
      </p:sp>
      <p:sp>
        <p:nvSpPr>
          <p:cNvPr id="9" name="Title 8"/>
          <p:cNvSpPr>
            <a:spLocks noGrp="1"/>
          </p:cNvSpPr>
          <p:nvPr>
            <p:ph type="title" hasCustomPrompt="1"/>
          </p:nvPr>
        </p:nvSpPr>
        <p:spPr>
          <a:xfrm>
            <a:off x="325609" y="130352"/>
            <a:ext cx="7581299" cy="466779"/>
          </a:xfrm>
          <a:prstGeom prst="rect">
            <a:avLst/>
          </a:prstGeom>
          <a:effectLst/>
        </p:spPr>
        <p:txBody>
          <a:bodyPr vert="horz" wrap="square" lIns="0" tIns="0" rIns="0" bIns="0" rtlCol="0">
            <a:noAutofit/>
          </a:bodyPr>
          <a:lstStyle>
            <a:lvl1pPr algn="l">
              <a:defRPr lang="en-GB" sz="2800" spc="-20" noProof="0" dirty="0">
                <a:ea typeface="+mn-ea"/>
                <a:cs typeface="Century"/>
              </a:defRPr>
            </a:lvl1pPr>
          </a:lstStyle>
          <a:p>
            <a:pPr marL="0" marR="153670" lvl="0" algn="l">
              <a:spcAft>
                <a:spcPts val="1200"/>
              </a:spcAft>
            </a:pPr>
            <a:r>
              <a:rPr lang="en-GB" noProof="0" dirty="0"/>
              <a:t>Click to add content title</a:t>
            </a:r>
          </a:p>
        </p:txBody>
      </p:sp>
      <p:sp>
        <p:nvSpPr>
          <p:cNvPr id="3" name="Text Placeholder 2">
            <a:extLst>
              <a:ext uri="{FF2B5EF4-FFF2-40B4-BE49-F238E27FC236}">
                <a16:creationId xmlns:a16="http://schemas.microsoft.com/office/drawing/2014/main" xmlns="" id="{D6F6CDCB-6E38-4DF2-9624-13EBE5FE08BD}"/>
              </a:ext>
            </a:extLst>
          </p:cNvPr>
          <p:cNvSpPr>
            <a:spLocks noGrp="1"/>
          </p:cNvSpPr>
          <p:nvPr>
            <p:ph type="body" sz="quarter" idx="10" hasCustomPrompt="1"/>
          </p:nvPr>
        </p:nvSpPr>
        <p:spPr>
          <a:xfrm>
            <a:off x="325609" y="4536558"/>
            <a:ext cx="7596630" cy="491848"/>
          </a:xfrm>
          <a:prstGeom prst="rect">
            <a:avLst/>
          </a:prstGeom>
        </p:spPr>
        <p:txBody>
          <a:bodyPr lIns="0" tIns="0" rIns="0" bIns="0" anchor="b" anchorCtr="0"/>
          <a:lstStyle>
            <a:lvl1pPr marL="0" indent="0">
              <a:buNone/>
              <a:defRPr sz="800" b="0"/>
            </a:lvl1pPr>
          </a:lstStyle>
          <a:p>
            <a:pPr lvl="0"/>
            <a:r>
              <a:rPr lang="en-US" dirty="0"/>
              <a:t>Footnotes</a:t>
            </a:r>
            <a:endParaRPr lang="it-IT" dirty="0"/>
          </a:p>
        </p:txBody>
      </p:sp>
      <p:sp>
        <p:nvSpPr>
          <p:cNvPr id="14" name="Text Placeholder 2">
            <a:extLst>
              <a:ext uri="{FF2B5EF4-FFF2-40B4-BE49-F238E27FC236}">
                <a16:creationId xmlns:a16="http://schemas.microsoft.com/office/drawing/2014/main" xmlns="" id="{A57D7690-D385-4BA7-914D-E3F32D4A32EA}"/>
              </a:ext>
            </a:extLst>
          </p:cNvPr>
          <p:cNvSpPr>
            <a:spLocks noGrp="1"/>
          </p:cNvSpPr>
          <p:nvPr>
            <p:ph type="body" sz="quarter" idx="15" hasCustomPrompt="1"/>
          </p:nvPr>
        </p:nvSpPr>
        <p:spPr>
          <a:xfrm>
            <a:off x="325609" y="611187"/>
            <a:ext cx="7596629" cy="578489"/>
          </a:xfrm>
          <a:prstGeom prst="rect">
            <a:avLst/>
          </a:prstGeom>
        </p:spPr>
        <p:txBody>
          <a:bodyPr lIns="0" tIns="0" rIns="0" bIns="0"/>
          <a:lstStyle>
            <a:lvl1pPr marL="0" marR="153670" indent="0" algn="l" defTabSz="457200" rtl="0" eaLnBrk="1" latinLnBrk="0" hangingPunct="1">
              <a:buNone/>
              <a:defRPr lang="it-IT" sz="1400" b="1" kern="1200" spc="-5" dirty="0">
                <a:solidFill>
                  <a:srgbClr val="8B034F"/>
                </a:solidFill>
                <a:latin typeface="+mj-lt"/>
                <a:ea typeface="+mn-ea"/>
                <a:cs typeface="Book Antiqua"/>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it-IT" dirty="0"/>
          </a:p>
        </p:txBody>
      </p:sp>
      <p:sp>
        <p:nvSpPr>
          <p:cNvPr id="15" name="ICON back">
            <a:hlinkClick r:id="" action="ppaction://hlinkshowjump?jump=previousslide"/>
            <a:extLst>
              <a:ext uri="{FF2B5EF4-FFF2-40B4-BE49-F238E27FC236}">
                <a16:creationId xmlns:a16="http://schemas.microsoft.com/office/drawing/2014/main" xmlns="" id="{5DE7873B-3216-4578-B96B-D0D1FDE33CCF}"/>
              </a:ext>
            </a:extLst>
          </p:cNvPr>
          <p:cNvSpPr/>
          <p:nvPr userDrawn="1"/>
        </p:nvSpPr>
        <p:spPr>
          <a:xfrm rot="16200000">
            <a:off x="8033317"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6" name="ICON Fwd">
            <a:hlinkClick r:id="" action="ppaction://hlinkshowjump?jump=nextslide"/>
            <a:extLst>
              <a:ext uri="{FF2B5EF4-FFF2-40B4-BE49-F238E27FC236}">
                <a16:creationId xmlns:a16="http://schemas.microsoft.com/office/drawing/2014/main" xmlns="" id="{25301D6A-747A-49C9-B08D-1BC99F026ABE}"/>
              </a:ext>
            </a:extLst>
          </p:cNvPr>
          <p:cNvSpPr/>
          <p:nvPr userDrawn="1"/>
        </p:nvSpPr>
        <p:spPr>
          <a:xfrm rot="5400000" flipH="1">
            <a:off x="8769927"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17" name="ICON home">
            <a:extLst>
              <a:ext uri="{FF2B5EF4-FFF2-40B4-BE49-F238E27FC236}">
                <a16:creationId xmlns:a16="http://schemas.microsoft.com/office/drawing/2014/main" xmlns="" id="{2CAB40D2-8A88-4813-A821-7C24E97EBD8A}"/>
              </a:ext>
            </a:extLst>
          </p:cNvPr>
          <p:cNvSpPr>
            <a:spLocks/>
          </p:cNvSpPr>
          <p:nvPr userDrawn="1"/>
        </p:nvSpPr>
        <p:spPr bwMode="auto">
          <a:xfrm>
            <a:off x="8324352"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19" name="LINK Fwd">
            <a:hlinkClick r:id="" action="ppaction://hlinkshowjump?jump=nextslide"/>
            <a:extLst>
              <a:ext uri="{FF2B5EF4-FFF2-40B4-BE49-F238E27FC236}">
                <a16:creationId xmlns:a16="http://schemas.microsoft.com/office/drawing/2014/main" xmlns="" id="{B7E1F7AD-CA71-403E-89A3-8261C313CE4F}"/>
              </a:ext>
            </a:extLst>
          </p:cNvPr>
          <p:cNvSpPr/>
          <p:nvPr userDrawn="1"/>
        </p:nvSpPr>
        <p:spPr>
          <a:xfrm>
            <a:off x="8737159"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0" name="LINK Back">
            <a:hlinkClick r:id="" action="ppaction://hlinkshowjump?jump=previousslide"/>
            <a:extLst>
              <a:ext uri="{FF2B5EF4-FFF2-40B4-BE49-F238E27FC236}">
                <a16:creationId xmlns:a16="http://schemas.microsoft.com/office/drawing/2014/main" xmlns="" id="{258F93CE-00D6-474D-B32A-E306F6B20068}"/>
              </a:ext>
            </a:extLst>
          </p:cNvPr>
          <p:cNvSpPr/>
          <p:nvPr userDrawn="1"/>
        </p:nvSpPr>
        <p:spPr>
          <a:xfrm>
            <a:off x="7922239" y="181221"/>
            <a:ext cx="352024"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1" name="LINK home">
            <a:hlinkClick r:id="rId2" action="ppaction://hlinksldjump"/>
            <a:extLst>
              <a:ext uri="{FF2B5EF4-FFF2-40B4-BE49-F238E27FC236}">
                <a16:creationId xmlns:a16="http://schemas.microsoft.com/office/drawing/2014/main" xmlns="" id="{74FA77DE-7937-4F9D-9430-6E73F61A36AC}"/>
              </a:ext>
            </a:extLst>
          </p:cNvPr>
          <p:cNvSpPr/>
          <p:nvPr userDrawn="1"/>
        </p:nvSpPr>
        <p:spPr>
          <a:xfrm>
            <a:off x="8298647"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56193136"/>
      </p:ext>
    </p:extLst>
  </p:cSld>
  <p:clrMapOvr>
    <a:masterClrMapping/>
  </p:clrMapOvr>
  <p:extLst>
    <p:ext uri="{DCECCB84-F9BA-43D5-87BE-67443E8EF086}">
      <p15:sldGuideLst xmlns:p15="http://schemas.microsoft.com/office/powerpoint/2012/main" xmlns=""/>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18" name="Content Placeholder 2">
            <a:extLst>
              <a:ext uri="{FF2B5EF4-FFF2-40B4-BE49-F238E27FC236}">
                <a16:creationId xmlns:a16="http://schemas.microsoft.com/office/drawing/2014/main" xmlns="" id="{2A4656D8-7247-430F-90D7-0B7F062DECDE}"/>
              </a:ext>
            </a:extLst>
          </p:cNvPr>
          <p:cNvSpPr>
            <a:spLocks noGrp="1"/>
          </p:cNvSpPr>
          <p:nvPr>
            <p:ph idx="1" hasCustomPrompt="1"/>
          </p:nvPr>
        </p:nvSpPr>
        <p:spPr>
          <a:xfrm>
            <a:off x="316637" y="1103036"/>
            <a:ext cx="4266000" cy="3433522"/>
          </a:xfrm>
          <a:prstGeom prst="rect">
            <a:avLst/>
          </a:prstGeom>
        </p:spPr>
        <p:txBody>
          <a:bodyPr lIns="0" tIns="0" rIns="0" bIns="0"/>
          <a:lstStyle>
            <a:lvl1pPr>
              <a:defRPr lang="en-GB" sz="1400" b="0" noProof="0" dirty="0">
                <a:latin typeface="Arial" pitchFamily="34" charset="0"/>
                <a:cs typeface="Arial" pitchFamily="34" charset="0"/>
              </a:defRPr>
            </a:lvl1pPr>
            <a:lvl2pPr>
              <a:defRPr lang="en-GB" sz="1200" b="0" baseline="0" noProof="0" dirty="0">
                <a:latin typeface="Arial" pitchFamily="34" charset="0"/>
                <a:cs typeface="Arial" pitchFamily="34" charset="0"/>
              </a:defRPr>
            </a:lvl2pPr>
            <a:lvl3pPr>
              <a:defRPr lang="en-GB" sz="1050" baseline="0" noProof="0" dirty="0">
                <a:latin typeface="Arial" pitchFamily="34" charset="0"/>
                <a:cs typeface="Arial" pitchFamily="34" charset="0"/>
              </a:defRPr>
            </a:lvl3pPr>
          </a:lstStyle>
          <a:p>
            <a:pPr marL="182563" lvl="0" indent="-182563">
              <a:lnSpc>
                <a:spcPct val="100000"/>
              </a:lnSpc>
              <a:spcBef>
                <a:spcPts val="0"/>
              </a:spcBef>
              <a:buClr>
                <a:schemeClr val="tx2"/>
              </a:buClr>
              <a:buFont typeface="Arial" panose="020B0604020202020204" pitchFamily="34" charset="0"/>
            </a:pPr>
            <a:r>
              <a:rPr lang="en-GB" noProof="0" dirty="0"/>
              <a:t>First level</a:t>
            </a:r>
          </a:p>
          <a:p>
            <a:pPr marL="358775" lvl="1" indent="-176213">
              <a:lnSpc>
                <a:spcPct val="100000"/>
              </a:lnSpc>
              <a:spcBef>
                <a:spcPts val="0"/>
              </a:spcBef>
              <a:buClrTx/>
              <a:buFont typeface="Arial" panose="020B0604020202020204" pitchFamily="34" charset="0"/>
            </a:pPr>
            <a:r>
              <a:rPr lang="en-GB" noProof="0" dirty="0"/>
              <a:t>Second level</a:t>
            </a:r>
          </a:p>
          <a:p>
            <a:pPr marL="539750" lvl="2" indent="-180975">
              <a:buFont typeface="Courier New" panose="02070309020205020404" pitchFamily="49" charset="0"/>
              <a:buChar char="o"/>
            </a:pPr>
            <a:r>
              <a:rPr lang="en-GB" noProof="0" dirty="0"/>
              <a:t>Third level</a:t>
            </a:r>
          </a:p>
        </p:txBody>
      </p:sp>
      <p:sp>
        <p:nvSpPr>
          <p:cNvPr id="19" name="Title 8">
            <a:extLst>
              <a:ext uri="{FF2B5EF4-FFF2-40B4-BE49-F238E27FC236}">
                <a16:creationId xmlns:a16="http://schemas.microsoft.com/office/drawing/2014/main" xmlns="" id="{5A6127EC-C752-4939-80C9-9FEE1F513DFD}"/>
              </a:ext>
            </a:extLst>
          </p:cNvPr>
          <p:cNvSpPr>
            <a:spLocks noGrp="1"/>
          </p:cNvSpPr>
          <p:nvPr>
            <p:ph type="title" hasCustomPrompt="1"/>
          </p:nvPr>
        </p:nvSpPr>
        <p:spPr>
          <a:xfrm>
            <a:off x="325609" y="130352"/>
            <a:ext cx="7581299" cy="466779"/>
          </a:xfrm>
          <a:prstGeom prst="rect">
            <a:avLst/>
          </a:prstGeom>
        </p:spPr>
        <p:txBody>
          <a:bodyPr vert="horz" wrap="square" lIns="0" tIns="0" rIns="0" bIns="0" rtlCol="0">
            <a:noAutofit/>
          </a:bodyPr>
          <a:lstStyle>
            <a:lvl1pPr>
              <a:defRPr lang="en-GB" sz="2800" spc="-20" noProof="0" dirty="0">
                <a:ea typeface="+mn-ea"/>
                <a:cs typeface="Century"/>
              </a:defRPr>
            </a:lvl1pPr>
          </a:lstStyle>
          <a:p>
            <a:pPr marL="0" marR="153670" lvl="0" algn="l">
              <a:spcAft>
                <a:spcPts val="1200"/>
              </a:spcAft>
            </a:pPr>
            <a:r>
              <a:rPr lang="en-GB" noProof="0" dirty="0"/>
              <a:t>Click to add content title</a:t>
            </a:r>
          </a:p>
        </p:txBody>
      </p:sp>
      <p:sp>
        <p:nvSpPr>
          <p:cNvPr id="20" name="Text Placeholder 2">
            <a:extLst>
              <a:ext uri="{FF2B5EF4-FFF2-40B4-BE49-F238E27FC236}">
                <a16:creationId xmlns:a16="http://schemas.microsoft.com/office/drawing/2014/main" xmlns="" id="{528124ED-7745-48B7-A970-A32723058924}"/>
              </a:ext>
            </a:extLst>
          </p:cNvPr>
          <p:cNvSpPr>
            <a:spLocks noGrp="1"/>
          </p:cNvSpPr>
          <p:nvPr>
            <p:ph type="body" sz="quarter" idx="10" hasCustomPrompt="1"/>
          </p:nvPr>
        </p:nvSpPr>
        <p:spPr>
          <a:xfrm>
            <a:off x="325609" y="4536558"/>
            <a:ext cx="7596630" cy="491848"/>
          </a:xfrm>
          <a:prstGeom prst="rect">
            <a:avLst/>
          </a:prstGeom>
        </p:spPr>
        <p:txBody>
          <a:bodyPr lIns="0" tIns="0" rIns="0" bIns="0" anchor="b" anchorCtr="0"/>
          <a:lstStyle>
            <a:lvl1pPr marL="0" indent="0">
              <a:buNone/>
              <a:defRPr sz="800" b="0"/>
            </a:lvl1pPr>
          </a:lstStyle>
          <a:p>
            <a:pPr lvl="0"/>
            <a:r>
              <a:rPr lang="en-US" dirty="0"/>
              <a:t>Footnotes</a:t>
            </a:r>
            <a:endParaRPr lang="it-IT" dirty="0"/>
          </a:p>
        </p:txBody>
      </p:sp>
      <p:sp>
        <p:nvSpPr>
          <p:cNvPr id="22" name="Content Placeholder 2">
            <a:extLst>
              <a:ext uri="{FF2B5EF4-FFF2-40B4-BE49-F238E27FC236}">
                <a16:creationId xmlns:a16="http://schemas.microsoft.com/office/drawing/2014/main" xmlns="" id="{D51343C2-A805-4436-9CE9-7821DC1C613E}"/>
              </a:ext>
            </a:extLst>
          </p:cNvPr>
          <p:cNvSpPr>
            <a:spLocks noGrp="1"/>
          </p:cNvSpPr>
          <p:nvPr>
            <p:ph idx="18" hasCustomPrompt="1"/>
          </p:nvPr>
        </p:nvSpPr>
        <p:spPr>
          <a:xfrm>
            <a:off x="4741340" y="1103036"/>
            <a:ext cx="4266000" cy="3433522"/>
          </a:xfrm>
          <a:prstGeom prst="rect">
            <a:avLst/>
          </a:prstGeom>
        </p:spPr>
        <p:txBody>
          <a:bodyPr lIns="0" tIns="0" rIns="0" bIns="0"/>
          <a:lstStyle>
            <a:lvl1pPr>
              <a:defRPr lang="en-GB" sz="1400" b="0" noProof="0" dirty="0">
                <a:latin typeface="Arial" pitchFamily="34" charset="0"/>
                <a:cs typeface="Arial" pitchFamily="34" charset="0"/>
              </a:defRPr>
            </a:lvl1pPr>
            <a:lvl2pPr>
              <a:defRPr lang="en-GB" sz="1200" b="0" baseline="0" noProof="0" dirty="0">
                <a:latin typeface="Arial" pitchFamily="34" charset="0"/>
                <a:cs typeface="Arial" pitchFamily="34" charset="0"/>
              </a:defRPr>
            </a:lvl2pPr>
            <a:lvl3pPr>
              <a:defRPr lang="en-GB" sz="1050" baseline="0" noProof="0" dirty="0">
                <a:latin typeface="Arial" pitchFamily="34" charset="0"/>
                <a:cs typeface="Arial" pitchFamily="34" charset="0"/>
              </a:defRPr>
            </a:lvl3pPr>
          </a:lstStyle>
          <a:p>
            <a:pPr marL="182563" lvl="0" indent="-182563">
              <a:lnSpc>
                <a:spcPct val="100000"/>
              </a:lnSpc>
              <a:spcBef>
                <a:spcPts val="0"/>
              </a:spcBef>
              <a:buClr>
                <a:schemeClr val="tx2"/>
              </a:buClr>
              <a:buFont typeface="Arial" panose="020B0604020202020204" pitchFamily="34" charset="0"/>
            </a:pPr>
            <a:r>
              <a:rPr lang="en-GB" noProof="0" dirty="0"/>
              <a:t>First level</a:t>
            </a:r>
          </a:p>
          <a:p>
            <a:pPr marL="358775" lvl="1" indent="-176213">
              <a:lnSpc>
                <a:spcPct val="100000"/>
              </a:lnSpc>
              <a:spcBef>
                <a:spcPts val="0"/>
              </a:spcBef>
              <a:buClrTx/>
              <a:buFont typeface="Arial" panose="020B0604020202020204" pitchFamily="34" charset="0"/>
            </a:pPr>
            <a:r>
              <a:rPr lang="en-GB" noProof="0" dirty="0"/>
              <a:t>Second level</a:t>
            </a:r>
          </a:p>
          <a:p>
            <a:pPr marL="539750" lvl="2" indent="-180975">
              <a:buFont typeface="Courier New" panose="02070309020205020404" pitchFamily="49" charset="0"/>
              <a:buChar char="o"/>
            </a:pPr>
            <a:r>
              <a:rPr lang="en-GB" noProof="0" dirty="0"/>
              <a:t>Third level</a:t>
            </a:r>
          </a:p>
        </p:txBody>
      </p:sp>
      <p:sp>
        <p:nvSpPr>
          <p:cNvPr id="21" name="Text Placeholder 2">
            <a:extLst>
              <a:ext uri="{FF2B5EF4-FFF2-40B4-BE49-F238E27FC236}">
                <a16:creationId xmlns:a16="http://schemas.microsoft.com/office/drawing/2014/main" xmlns="" id="{29B3D06A-3499-4522-8655-9134B6AC4841}"/>
              </a:ext>
            </a:extLst>
          </p:cNvPr>
          <p:cNvSpPr>
            <a:spLocks noGrp="1"/>
          </p:cNvSpPr>
          <p:nvPr>
            <p:ph type="body" sz="quarter" idx="15" hasCustomPrompt="1"/>
          </p:nvPr>
        </p:nvSpPr>
        <p:spPr>
          <a:xfrm>
            <a:off x="325609" y="611188"/>
            <a:ext cx="7596629" cy="491848"/>
          </a:xfrm>
          <a:prstGeom prst="rect">
            <a:avLst/>
          </a:prstGeom>
        </p:spPr>
        <p:txBody>
          <a:bodyPr lIns="0" tIns="0" rIns="0" bIns="0"/>
          <a:lstStyle>
            <a:lvl1pPr marL="0" marR="153670" indent="0" algn="l" defTabSz="457200" rtl="0" eaLnBrk="1" latinLnBrk="0" hangingPunct="1">
              <a:buNone/>
              <a:defRPr lang="it-IT" sz="1400" b="1" kern="1200" spc="-5" dirty="0">
                <a:solidFill>
                  <a:srgbClr val="8B034F"/>
                </a:solidFill>
                <a:latin typeface="+mj-lt"/>
                <a:ea typeface="+mn-ea"/>
                <a:cs typeface="Book Antiqua"/>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a:t>
            </a:r>
            <a:endParaRPr lang="it-IT" dirty="0"/>
          </a:p>
        </p:txBody>
      </p:sp>
      <p:sp>
        <p:nvSpPr>
          <p:cNvPr id="26" name="ICON back">
            <a:hlinkClick r:id="" action="ppaction://hlinkshowjump?jump=previousslide"/>
            <a:extLst>
              <a:ext uri="{FF2B5EF4-FFF2-40B4-BE49-F238E27FC236}">
                <a16:creationId xmlns:a16="http://schemas.microsoft.com/office/drawing/2014/main" xmlns="" id="{60980224-DFFE-4BDC-9CB9-0880BDC51373}"/>
              </a:ext>
            </a:extLst>
          </p:cNvPr>
          <p:cNvSpPr/>
          <p:nvPr userDrawn="1"/>
        </p:nvSpPr>
        <p:spPr>
          <a:xfrm rot="16200000">
            <a:off x="8033317"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27" name="ICON Fwd">
            <a:hlinkClick r:id="" action="ppaction://hlinkshowjump?jump=nextslide"/>
            <a:extLst>
              <a:ext uri="{FF2B5EF4-FFF2-40B4-BE49-F238E27FC236}">
                <a16:creationId xmlns:a16="http://schemas.microsoft.com/office/drawing/2014/main" xmlns="" id="{BFE5B594-4CDF-4335-B734-9855942C7230}"/>
              </a:ext>
            </a:extLst>
          </p:cNvPr>
          <p:cNvSpPr/>
          <p:nvPr userDrawn="1"/>
        </p:nvSpPr>
        <p:spPr>
          <a:xfrm rot="5400000" flipH="1">
            <a:off x="8769927" y="309122"/>
            <a:ext cx="201558" cy="173756"/>
          </a:xfrm>
          <a:prstGeom prst="triangl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pc="50" dirty="0"/>
          </a:p>
        </p:txBody>
      </p:sp>
      <p:sp>
        <p:nvSpPr>
          <p:cNvPr id="28" name="ICON home">
            <a:extLst>
              <a:ext uri="{FF2B5EF4-FFF2-40B4-BE49-F238E27FC236}">
                <a16:creationId xmlns:a16="http://schemas.microsoft.com/office/drawing/2014/main" xmlns="" id="{87AD78F2-3AC3-4441-B38F-7D43514544A5}"/>
              </a:ext>
            </a:extLst>
          </p:cNvPr>
          <p:cNvSpPr>
            <a:spLocks/>
          </p:cNvSpPr>
          <p:nvPr userDrawn="1"/>
        </p:nvSpPr>
        <p:spPr bwMode="auto">
          <a:xfrm>
            <a:off x="8324352" y="226110"/>
            <a:ext cx="356097" cy="339781"/>
          </a:xfrm>
          <a:custGeom>
            <a:avLst/>
            <a:gdLst>
              <a:gd name="T0" fmla="*/ 172 w 355"/>
              <a:gd name="T1" fmla="*/ 3 h 339"/>
              <a:gd name="T2" fmla="*/ 5 w 355"/>
              <a:gd name="T3" fmla="*/ 172 h 339"/>
              <a:gd name="T4" fmla="*/ 11 w 355"/>
              <a:gd name="T5" fmla="*/ 186 h 339"/>
              <a:gd name="T6" fmla="*/ 40 w 355"/>
              <a:gd name="T7" fmla="*/ 186 h 339"/>
              <a:gd name="T8" fmla="*/ 47 w 355"/>
              <a:gd name="T9" fmla="*/ 193 h 339"/>
              <a:gd name="T10" fmla="*/ 47 w 355"/>
              <a:gd name="T11" fmla="*/ 331 h 339"/>
              <a:gd name="T12" fmla="*/ 55 w 355"/>
              <a:gd name="T13" fmla="*/ 339 h 339"/>
              <a:gd name="T14" fmla="*/ 130 w 355"/>
              <a:gd name="T15" fmla="*/ 339 h 339"/>
              <a:gd name="T16" fmla="*/ 138 w 355"/>
              <a:gd name="T17" fmla="*/ 331 h 339"/>
              <a:gd name="T18" fmla="*/ 138 w 355"/>
              <a:gd name="T19" fmla="*/ 251 h 339"/>
              <a:gd name="T20" fmla="*/ 146 w 355"/>
              <a:gd name="T21" fmla="*/ 243 h 339"/>
              <a:gd name="T22" fmla="*/ 210 w 355"/>
              <a:gd name="T23" fmla="*/ 243 h 339"/>
              <a:gd name="T24" fmla="*/ 218 w 355"/>
              <a:gd name="T25" fmla="*/ 251 h 339"/>
              <a:gd name="T26" fmla="*/ 218 w 355"/>
              <a:gd name="T27" fmla="*/ 331 h 339"/>
              <a:gd name="T28" fmla="*/ 225 w 355"/>
              <a:gd name="T29" fmla="*/ 339 h 339"/>
              <a:gd name="T30" fmla="*/ 300 w 355"/>
              <a:gd name="T31" fmla="*/ 339 h 339"/>
              <a:gd name="T32" fmla="*/ 308 w 355"/>
              <a:gd name="T33" fmla="*/ 331 h 339"/>
              <a:gd name="T34" fmla="*/ 308 w 355"/>
              <a:gd name="T35" fmla="*/ 193 h 339"/>
              <a:gd name="T36" fmla="*/ 316 w 355"/>
              <a:gd name="T37" fmla="*/ 186 h 339"/>
              <a:gd name="T38" fmla="*/ 344 w 355"/>
              <a:gd name="T39" fmla="*/ 186 h 339"/>
              <a:gd name="T40" fmla="*/ 350 w 355"/>
              <a:gd name="T41" fmla="*/ 172 h 339"/>
              <a:gd name="T42" fmla="*/ 183 w 355"/>
              <a:gd name="T43" fmla="*/ 3 h 339"/>
              <a:gd name="T44" fmla="*/ 172 w 355"/>
              <a:gd name="T45" fmla="*/ 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5" h="339">
                <a:moveTo>
                  <a:pt x="172" y="3"/>
                </a:moveTo>
                <a:cubicBezTo>
                  <a:pt x="5" y="172"/>
                  <a:pt x="5" y="172"/>
                  <a:pt x="5" y="172"/>
                </a:cubicBezTo>
                <a:cubicBezTo>
                  <a:pt x="0" y="177"/>
                  <a:pt x="4" y="186"/>
                  <a:pt x="11" y="186"/>
                </a:cubicBezTo>
                <a:cubicBezTo>
                  <a:pt x="40" y="186"/>
                  <a:pt x="40" y="186"/>
                  <a:pt x="40" y="186"/>
                </a:cubicBezTo>
                <a:cubicBezTo>
                  <a:pt x="44" y="186"/>
                  <a:pt x="47" y="189"/>
                  <a:pt x="47" y="193"/>
                </a:cubicBezTo>
                <a:cubicBezTo>
                  <a:pt x="47" y="331"/>
                  <a:pt x="47" y="331"/>
                  <a:pt x="47" y="331"/>
                </a:cubicBezTo>
                <a:cubicBezTo>
                  <a:pt x="47" y="335"/>
                  <a:pt x="51" y="339"/>
                  <a:pt x="55" y="339"/>
                </a:cubicBezTo>
                <a:cubicBezTo>
                  <a:pt x="130" y="339"/>
                  <a:pt x="130" y="339"/>
                  <a:pt x="130" y="339"/>
                </a:cubicBezTo>
                <a:cubicBezTo>
                  <a:pt x="134" y="339"/>
                  <a:pt x="138" y="335"/>
                  <a:pt x="138" y="331"/>
                </a:cubicBezTo>
                <a:cubicBezTo>
                  <a:pt x="138" y="251"/>
                  <a:pt x="138" y="251"/>
                  <a:pt x="138" y="251"/>
                </a:cubicBezTo>
                <a:cubicBezTo>
                  <a:pt x="138" y="246"/>
                  <a:pt x="141" y="243"/>
                  <a:pt x="146" y="243"/>
                </a:cubicBezTo>
                <a:cubicBezTo>
                  <a:pt x="210" y="243"/>
                  <a:pt x="210" y="243"/>
                  <a:pt x="210" y="243"/>
                </a:cubicBezTo>
                <a:cubicBezTo>
                  <a:pt x="214" y="243"/>
                  <a:pt x="218" y="246"/>
                  <a:pt x="218" y="251"/>
                </a:cubicBezTo>
                <a:cubicBezTo>
                  <a:pt x="218" y="331"/>
                  <a:pt x="218" y="331"/>
                  <a:pt x="218" y="331"/>
                </a:cubicBezTo>
                <a:cubicBezTo>
                  <a:pt x="218" y="335"/>
                  <a:pt x="221" y="339"/>
                  <a:pt x="225" y="339"/>
                </a:cubicBezTo>
                <a:cubicBezTo>
                  <a:pt x="300" y="339"/>
                  <a:pt x="300" y="339"/>
                  <a:pt x="300" y="339"/>
                </a:cubicBezTo>
                <a:cubicBezTo>
                  <a:pt x="304" y="339"/>
                  <a:pt x="308" y="335"/>
                  <a:pt x="308" y="331"/>
                </a:cubicBezTo>
                <a:cubicBezTo>
                  <a:pt x="308" y="193"/>
                  <a:pt x="308" y="193"/>
                  <a:pt x="308" y="193"/>
                </a:cubicBezTo>
                <a:cubicBezTo>
                  <a:pt x="308" y="189"/>
                  <a:pt x="311" y="186"/>
                  <a:pt x="316" y="186"/>
                </a:cubicBezTo>
                <a:cubicBezTo>
                  <a:pt x="344" y="186"/>
                  <a:pt x="344" y="186"/>
                  <a:pt x="344" y="186"/>
                </a:cubicBezTo>
                <a:cubicBezTo>
                  <a:pt x="351" y="186"/>
                  <a:pt x="355" y="177"/>
                  <a:pt x="350" y="172"/>
                </a:cubicBezTo>
                <a:cubicBezTo>
                  <a:pt x="183" y="3"/>
                  <a:pt x="183" y="3"/>
                  <a:pt x="183" y="3"/>
                </a:cubicBezTo>
                <a:cubicBezTo>
                  <a:pt x="180" y="0"/>
                  <a:pt x="175" y="0"/>
                  <a:pt x="172" y="3"/>
                </a:cubicBezTo>
                <a:close/>
              </a:path>
            </a:pathLst>
          </a:custGeom>
          <a:solidFill>
            <a:schemeClr val="accent6">
              <a:lumMod val="40000"/>
              <a:lumOff val="60000"/>
            </a:schemeClr>
          </a:solidFill>
          <a:ln>
            <a:noFill/>
          </a:ln>
        </p:spPr>
        <p:txBody>
          <a:bodyPr vert="horz" wrap="square" lIns="91440" tIns="45720" rIns="91440" bIns="45720" numCol="1" anchor="t" anchorCtr="0" compatLnSpc="1">
            <a:prstTxWarp prst="textNoShape">
              <a:avLst/>
            </a:prstTxWarp>
          </a:bodyPr>
          <a:lstStyle/>
          <a:p>
            <a:endParaRPr lang="it-IT"/>
          </a:p>
        </p:txBody>
      </p:sp>
      <p:sp>
        <p:nvSpPr>
          <p:cNvPr id="30" name="LINK Fwd">
            <a:hlinkClick r:id="" action="ppaction://hlinkshowjump?jump=nextslide"/>
            <a:extLst>
              <a:ext uri="{FF2B5EF4-FFF2-40B4-BE49-F238E27FC236}">
                <a16:creationId xmlns:a16="http://schemas.microsoft.com/office/drawing/2014/main" xmlns="" id="{516FA5C0-7CCE-4AA3-A788-F46222AEBF61}"/>
              </a:ext>
            </a:extLst>
          </p:cNvPr>
          <p:cNvSpPr/>
          <p:nvPr userDrawn="1"/>
        </p:nvSpPr>
        <p:spPr>
          <a:xfrm>
            <a:off x="8737159" y="181221"/>
            <a:ext cx="405771"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1" name="LINK Back">
            <a:hlinkClick r:id="" action="ppaction://hlinkshowjump?jump=previousslide"/>
            <a:extLst>
              <a:ext uri="{FF2B5EF4-FFF2-40B4-BE49-F238E27FC236}">
                <a16:creationId xmlns:a16="http://schemas.microsoft.com/office/drawing/2014/main" xmlns="" id="{C668E12B-B4B8-46B0-8EB7-28A7721E988A}"/>
              </a:ext>
            </a:extLst>
          </p:cNvPr>
          <p:cNvSpPr/>
          <p:nvPr userDrawn="1"/>
        </p:nvSpPr>
        <p:spPr>
          <a:xfrm>
            <a:off x="7922239" y="181221"/>
            <a:ext cx="352024"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 name="LINK home">
            <a:hlinkClick r:id="rId2" action="ppaction://hlinksldjump"/>
            <a:extLst>
              <a:ext uri="{FF2B5EF4-FFF2-40B4-BE49-F238E27FC236}">
                <a16:creationId xmlns:a16="http://schemas.microsoft.com/office/drawing/2014/main" xmlns="" id="{8D3D6771-DA27-4146-AF47-948F3698A760}"/>
              </a:ext>
            </a:extLst>
          </p:cNvPr>
          <p:cNvSpPr/>
          <p:nvPr userDrawn="1"/>
        </p:nvSpPr>
        <p:spPr>
          <a:xfrm>
            <a:off x="8298647" y="181221"/>
            <a:ext cx="407945" cy="429558"/>
          </a:xfrm>
          <a:prstGeom prst="rect">
            <a:avLst/>
          </a:prstGeom>
          <a:solidFill>
            <a:srgbClr val="FFFF00">
              <a:alpha val="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4578104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40975036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4325" y="113156"/>
            <a:ext cx="8406594" cy="681135"/>
          </a:xfrm>
        </p:spPr>
        <p:txBody>
          <a:bodyPr/>
          <a:lstStyle>
            <a:lvl1pPr>
              <a:defRPr>
                <a:solidFill>
                  <a:srgbClr val="830051"/>
                </a:solidFill>
              </a:defRPr>
            </a:lvl1pPr>
          </a:lstStyle>
          <a:p>
            <a:r>
              <a:rPr lang="en-GB"/>
              <a:t>Click to edit Master title style</a:t>
            </a:r>
          </a:p>
        </p:txBody>
      </p:sp>
      <p:sp>
        <p:nvSpPr>
          <p:cNvPr id="8" name="Text Placeholder 7"/>
          <p:cNvSpPr>
            <a:spLocks noGrp="1"/>
          </p:cNvSpPr>
          <p:nvPr>
            <p:ph type="body" sz="quarter" idx="10"/>
          </p:nvPr>
        </p:nvSpPr>
        <p:spPr>
          <a:xfrm>
            <a:off x="-1" y="4614658"/>
            <a:ext cx="7683501" cy="520700"/>
          </a:xfrm>
          <a:prstGeom prst="rect">
            <a:avLst/>
          </a:prstGeom>
        </p:spPr>
        <p:txBody>
          <a:bodyPr anchor="b">
            <a:normAutofit/>
          </a:bodyPr>
          <a:lstStyle>
            <a:lvl1pPr marL="0" algn="l" defTabSz="685783" rtl="0" eaLnBrk="1" fontAlgn="base" latinLnBrk="0" hangingPunct="1">
              <a:spcBef>
                <a:spcPct val="0"/>
              </a:spcBef>
              <a:spcAft>
                <a:spcPct val="0"/>
              </a:spcAft>
              <a:buClr>
                <a:schemeClr val="tx2"/>
              </a:buClr>
              <a:defRPr lang="en-US" sz="800"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8409520" y="4635201"/>
            <a:ext cx="289316" cy="346717"/>
          </a:xfrm>
          <a:prstGeom prst="rect">
            <a:avLst/>
          </a:prstGeom>
          <a:noFill/>
          <a:ln w="9525">
            <a:noFill/>
            <a:miter lim="800000"/>
            <a:headEnd/>
            <a:tailEnd/>
          </a:ln>
        </p:spPr>
      </p:pic>
      <p:sp>
        <p:nvSpPr>
          <p:cNvPr id="7" name="Text Placeholder 7"/>
          <p:cNvSpPr>
            <a:spLocks noGrp="1"/>
          </p:cNvSpPr>
          <p:nvPr>
            <p:ph type="body" sz="quarter" idx="12"/>
          </p:nvPr>
        </p:nvSpPr>
        <p:spPr>
          <a:xfrm>
            <a:off x="317329" y="793366"/>
            <a:ext cx="8403591" cy="525955"/>
          </a:xfrm>
          <a:prstGeom prst="rect">
            <a:avLst/>
          </a:prstGeom>
          <a:noFill/>
          <a:ln>
            <a:noFill/>
          </a:ln>
        </p:spPr>
        <p:txBody>
          <a:bodyPr anchor="t">
            <a:noAutofit/>
          </a:bodyPr>
          <a:lstStyle>
            <a:lvl1pPr marL="0" indent="0">
              <a:lnSpc>
                <a:spcPct val="100000"/>
              </a:lnSpc>
              <a:buNone/>
              <a:defRPr sz="1500" b="0" i="1" baseline="0">
                <a:solidFill>
                  <a:schemeClr val="accent4"/>
                </a:solidFill>
                <a:latin typeface="Arial" pitchFamily="34" charset="0"/>
                <a:cs typeface="Arial" pitchFamily="34" charset="0"/>
              </a:defRPr>
            </a:lvl1pPr>
            <a:lvl2pPr>
              <a:buNone/>
              <a:defRPr/>
            </a:lvl2pPr>
          </a:lstStyle>
          <a:p>
            <a:pPr lvl="0"/>
            <a:r>
              <a:rPr lang="en-GB"/>
              <a:t>Click to edit Master text styles</a:t>
            </a:r>
          </a:p>
        </p:txBody>
      </p:sp>
      <p:sp>
        <p:nvSpPr>
          <p:cNvPr id="9" name="Content Placeholder 8"/>
          <p:cNvSpPr>
            <a:spLocks noGrp="1"/>
          </p:cNvSpPr>
          <p:nvPr>
            <p:ph sz="quarter" idx="13" hasCustomPrompt="1"/>
          </p:nvPr>
        </p:nvSpPr>
        <p:spPr>
          <a:xfrm>
            <a:off x="322952" y="1265238"/>
            <a:ext cx="7832725" cy="3338512"/>
          </a:xfrm>
        </p:spPr>
        <p:txBody>
          <a:bodyPr>
            <a:normAutofit/>
          </a:bodyPr>
          <a:lstStyle>
            <a:lvl1pPr>
              <a:spcAft>
                <a:spcPts val="300"/>
              </a:spcAft>
              <a:defRPr sz="1600" b="0">
                <a:solidFill>
                  <a:srgbClr val="4B306A"/>
                </a:solidFill>
              </a:defRPr>
            </a:lvl1pPr>
            <a:lvl2pPr marL="180971" indent="-179384">
              <a:lnSpc>
                <a:spcPct val="100000"/>
              </a:lnSpc>
              <a:spcAft>
                <a:spcPts val="300"/>
              </a:spcAft>
              <a:defRPr sz="1600" b="0">
                <a:solidFill>
                  <a:schemeClr val="tx1"/>
                </a:solidFill>
              </a:defRPr>
            </a:lvl2pPr>
            <a:lvl3pPr marL="500051" indent="-141284">
              <a:lnSpc>
                <a:spcPct val="100000"/>
              </a:lnSpc>
              <a:spcAft>
                <a:spcPts val="300"/>
              </a:spcAft>
              <a:buSzPct val="80000"/>
              <a:buFont typeface="Arial" panose="020B0604020202020204" pitchFamily="34" charset="0"/>
              <a:buChar char="–"/>
              <a:defRPr sz="1200">
                <a:solidFill>
                  <a:schemeClr val="tx1"/>
                </a:solidFill>
              </a:defRPr>
            </a:lvl3pPr>
            <a:lvl4pPr>
              <a:lnSpc>
                <a:spcPct val="100000"/>
              </a:lnSpc>
              <a:spcAft>
                <a:spcPts val="300"/>
              </a:spcAft>
              <a:defRPr sz="1100">
                <a:solidFill>
                  <a:schemeClr val="tx1"/>
                </a:solidFill>
              </a:defRPr>
            </a:lvl4pPr>
            <a:lvl5pPr>
              <a:lnSpc>
                <a:spcPct val="100000"/>
              </a:lnSpc>
              <a:defRPr/>
            </a:lvl5pPr>
          </a:lstStyle>
          <a:p>
            <a:pPr lvl="1"/>
            <a:r>
              <a:rPr lang="en-GB"/>
              <a:t>Second level</a:t>
            </a:r>
          </a:p>
          <a:p>
            <a:pPr lvl="2"/>
            <a:r>
              <a:rPr lang="en-GB"/>
              <a:t>Third level</a:t>
            </a:r>
          </a:p>
          <a:p>
            <a:pPr lvl="3"/>
            <a:r>
              <a:rPr lang="en-GB"/>
              <a:t>Fourth level</a:t>
            </a:r>
          </a:p>
        </p:txBody>
      </p:sp>
      <p:sp>
        <p:nvSpPr>
          <p:cNvPr id="11" name="Slide Number Placeholder 2">
            <a:extLst>
              <a:ext uri="{FF2B5EF4-FFF2-40B4-BE49-F238E27FC236}">
                <a16:creationId xmlns:a16="http://schemas.microsoft.com/office/drawing/2014/main" xmlns="" id="{7B2951A6-B1C2-4DE0-B9E4-3FAC1A0E80A3}"/>
              </a:ext>
            </a:extLst>
          </p:cNvPr>
          <p:cNvSpPr>
            <a:spLocks noGrp="1"/>
          </p:cNvSpPr>
          <p:nvPr>
            <p:ph type="sldNum" sz="quarter" idx="14"/>
          </p:nvPr>
        </p:nvSpPr>
        <p:spPr>
          <a:xfrm>
            <a:off x="8652978" y="4865108"/>
            <a:ext cx="491023" cy="274637"/>
          </a:xfrm>
          <a:prstGeom prst="rect">
            <a:avLst/>
          </a:prstGeom>
        </p:spPr>
        <p:txBody>
          <a:bodyPr/>
          <a:lstStyle/>
          <a:p>
            <a:fld id="{47E66208-4A1C-594F-8665-CB46850971E6}" type="slidenum">
              <a:rPr lang="en-GB" smtClean="0"/>
              <a:pPr/>
              <a:t>‹#›</a:t>
            </a:fld>
            <a:endParaRPr lang="en-GB" dirty="0"/>
          </a:p>
        </p:txBody>
      </p:sp>
    </p:spTree>
    <p:custDataLst>
      <p:tags r:id="rId1"/>
    </p:custDataLst>
    <p:extLst>
      <p:ext uri="{BB962C8B-B14F-4D97-AF65-F5344CB8AC3E}">
        <p14:creationId xmlns:p14="http://schemas.microsoft.com/office/powerpoint/2010/main" val="418001542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4325" y="113156"/>
            <a:ext cx="8406594" cy="681135"/>
          </a:xfrm>
        </p:spPr>
        <p:txBody>
          <a:bodyPr/>
          <a:lstStyle>
            <a:lvl1pPr>
              <a:defRPr>
                <a:solidFill>
                  <a:srgbClr val="830051"/>
                </a:solidFill>
              </a:defRPr>
            </a:lvl1pPr>
          </a:lstStyle>
          <a:p>
            <a:r>
              <a:rPr lang="en-GB"/>
              <a:t>Click to edit Master title style</a:t>
            </a:r>
          </a:p>
        </p:txBody>
      </p:sp>
      <p:sp>
        <p:nvSpPr>
          <p:cNvPr id="8" name="Text Placeholder 7"/>
          <p:cNvSpPr>
            <a:spLocks noGrp="1"/>
          </p:cNvSpPr>
          <p:nvPr>
            <p:ph type="body" sz="quarter" idx="10"/>
          </p:nvPr>
        </p:nvSpPr>
        <p:spPr>
          <a:xfrm>
            <a:off x="-1" y="4614658"/>
            <a:ext cx="7683501" cy="520700"/>
          </a:xfrm>
          <a:prstGeom prst="rect">
            <a:avLst/>
          </a:prstGeom>
        </p:spPr>
        <p:txBody>
          <a:bodyPr anchor="b">
            <a:normAutofit/>
          </a:bodyPr>
          <a:lstStyle>
            <a:lvl1pPr marL="0" algn="l" defTabSz="685783" rtl="0" eaLnBrk="1" fontAlgn="base" latinLnBrk="0" hangingPunct="1">
              <a:spcBef>
                <a:spcPct val="0"/>
              </a:spcBef>
              <a:spcAft>
                <a:spcPct val="0"/>
              </a:spcAft>
              <a:buClr>
                <a:schemeClr val="tx2"/>
              </a:buClr>
              <a:defRPr lang="en-US" sz="800"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8409520" y="4635201"/>
            <a:ext cx="289316" cy="346717"/>
          </a:xfrm>
          <a:prstGeom prst="rect">
            <a:avLst/>
          </a:prstGeom>
          <a:noFill/>
          <a:ln w="9525">
            <a:noFill/>
            <a:miter lim="800000"/>
            <a:headEnd/>
            <a:tailEnd/>
          </a:ln>
        </p:spPr>
      </p:pic>
      <p:sp>
        <p:nvSpPr>
          <p:cNvPr id="9" name="Content Placeholder 8"/>
          <p:cNvSpPr>
            <a:spLocks noGrp="1"/>
          </p:cNvSpPr>
          <p:nvPr>
            <p:ph sz="quarter" idx="13" hasCustomPrompt="1"/>
          </p:nvPr>
        </p:nvSpPr>
        <p:spPr>
          <a:xfrm>
            <a:off x="322952" y="931610"/>
            <a:ext cx="7832725" cy="3672140"/>
          </a:xfrm>
        </p:spPr>
        <p:txBody>
          <a:bodyPr>
            <a:normAutofit/>
          </a:bodyPr>
          <a:lstStyle>
            <a:lvl1pPr>
              <a:spcAft>
                <a:spcPts val="300"/>
              </a:spcAft>
              <a:defRPr sz="1600" b="0">
                <a:solidFill>
                  <a:srgbClr val="4B306A"/>
                </a:solidFill>
              </a:defRPr>
            </a:lvl1pPr>
            <a:lvl2pPr marL="180971" indent="-179384">
              <a:lnSpc>
                <a:spcPct val="100000"/>
              </a:lnSpc>
              <a:spcAft>
                <a:spcPts val="300"/>
              </a:spcAft>
              <a:defRPr sz="1500" b="0">
                <a:solidFill>
                  <a:schemeClr val="tx1"/>
                </a:solidFill>
              </a:defRPr>
            </a:lvl2pPr>
            <a:lvl3pPr marL="500051" indent="-141284">
              <a:lnSpc>
                <a:spcPct val="100000"/>
              </a:lnSpc>
              <a:spcAft>
                <a:spcPts val="300"/>
              </a:spcAft>
              <a:buSzPct val="80000"/>
              <a:buFont typeface="Arial" panose="020B0604020202020204" pitchFamily="34" charset="0"/>
              <a:buChar char="–"/>
              <a:defRPr sz="1200">
                <a:solidFill>
                  <a:schemeClr val="tx1"/>
                </a:solidFill>
              </a:defRPr>
            </a:lvl3pPr>
            <a:lvl4pPr>
              <a:lnSpc>
                <a:spcPct val="100000"/>
              </a:lnSpc>
              <a:spcAft>
                <a:spcPts val="300"/>
              </a:spcAft>
              <a:defRPr sz="1100">
                <a:solidFill>
                  <a:schemeClr val="tx1"/>
                </a:solidFill>
              </a:defRPr>
            </a:lvl4pPr>
            <a:lvl5pPr>
              <a:lnSpc>
                <a:spcPct val="100000"/>
              </a:lnSpc>
              <a:defRPr/>
            </a:lvl5pPr>
          </a:lstStyle>
          <a:p>
            <a:pPr lvl="1"/>
            <a:r>
              <a:rPr lang="en-GB"/>
              <a:t>Second level</a:t>
            </a:r>
          </a:p>
          <a:p>
            <a:pPr lvl="2"/>
            <a:r>
              <a:rPr lang="en-GB"/>
              <a:t>Third level</a:t>
            </a:r>
          </a:p>
          <a:p>
            <a:pPr lvl="3"/>
            <a:r>
              <a:rPr lang="en-GB"/>
              <a:t>Fourth level</a:t>
            </a:r>
          </a:p>
        </p:txBody>
      </p:sp>
      <p:sp>
        <p:nvSpPr>
          <p:cNvPr id="11" name="Slide Number Placeholder 2">
            <a:extLst>
              <a:ext uri="{FF2B5EF4-FFF2-40B4-BE49-F238E27FC236}">
                <a16:creationId xmlns:a16="http://schemas.microsoft.com/office/drawing/2014/main" xmlns="" id="{BDAA94B9-0BAE-4A84-93DB-0AA306FDAFB0}"/>
              </a:ext>
            </a:extLst>
          </p:cNvPr>
          <p:cNvSpPr>
            <a:spLocks noGrp="1"/>
          </p:cNvSpPr>
          <p:nvPr>
            <p:ph type="sldNum" sz="quarter" idx="14"/>
          </p:nvPr>
        </p:nvSpPr>
        <p:spPr>
          <a:xfrm>
            <a:off x="8652978" y="4865108"/>
            <a:ext cx="491023" cy="274637"/>
          </a:xfrm>
          <a:prstGeom prst="rect">
            <a:avLst/>
          </a:prstGeom>
        </p:spPr>
        <p:txBody>
          <a:bodyPr/>
          <a:lstStyle/>
          <a:p>
            <a:fld id="{47E66208-4A1C-594F-8665-CB46850971E6}" type="slidenum">
              <a:rPr lang="en-GB" smtClean="0"/>
              <a:pPr/>
              <a:t>‹#›</a:t>
            </a:fld>
            <a:endParaRPr lang="en-GB" dirty="0"/>
          </a:p>
        </p:txBody>
      </p:sp>
    </p:spTree>
    <p:custDataLst>
      <p:tags r:id="rId1"/>
    </p:custDataLst>
    <p:extLst>
      <p:ext uri="{BB962C8B-B14F-4D97-AF65-F5344CB8AC3E}">
        <p14:creationId xmlns:p14="http://schemas.microsoft.com/office/powerpoint/2010/main" val="347174308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ab 1">
    <p:spTree>
      <p:nvGrpSpPr>
        <p:cNvPr id="1" name=""/>
        <p:cNvGrpSpPr/>
        <p:nvPr/>
      </p:nvGrpSpPr>
      <p:grpSpPr>
        <a:xfrm>
          <a:off x="0" y="0"/>
          <a:ext cx="0" cy="0"/>
          <a:chOff x="0" y="0"/>
          <a:chExt cx="0" cy="0"/>
        </a:xfrm>
      </p:grpSpPr>
      <p:sp>
        <p:nvSpPr>
          <p:cNvPr id="13" name="Rectangle 12"/>
          <p:cNvSpPr/>
          <p:nvPr userDrawn="1"/>
        </p:nvSpPr>
        <p:spPr>
          <a:xfrm>
            <a:off x="7619416" y="515917"/>
            <a:ext cx="1448384" cy="307997"/>
          </a:xfrm>
          <a:prstGeom prst="rect">
            <a:avLst/>
          </a:prstGeom>
          <a:solidFill>
            <a:srgbClr val="890656"/>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52" tIns="34276" rIns="68552" bIns="34276" rtlCol="0" anchor="ctr"/>
          <a:lstStyle/>
          <a:p>
            <a:pPr algn="ctr"/>
            <a:endParaRPr lang="en-US" sz="1055" dirty="0"/>
          </a:p>
        </p:txBody>
      </p:sp>
      <p:sp>
        <p:nvSpPr>
          <p:cNvPr id="23" name="Rectangle 22">
            <a:extLst>
              <a:ext uri="{FF2B5EF4-FFF2-40B4-BE49-F238E27FC236}">
                <a16:creationId xmlns:a16="http://schemas.microsoft.com/office/drawing/2014/main" xmlns="" id="{B6D7D809-0AE3-46D2-8978-A4320196F6EE}"/>
              </a:ext>
            </a:extLst>
          </p:cNvPr>
          <p:cNvSpPr/>
          <p:nvPr userDrawn="1"/>
        </p:nvSpPr>
        <p:spPr>
          <a:xfrm>
            <a:off x="5825098" y="515917"/>
            <a:ext cx="1853295" cy="307997"/>
          </a:xfrm>
          <a:prstGeom prst="rect">
            <a:avLst/>
          </a:prstGeom>
          <a:solidFill>
            <a:srgbClr val="890656"/>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52" tIns="34276" rIns="68552" bIns="34276" rtlCol="0" anchor="ctr"/>
          <a:lstStyle/>
          <a:p>
            <a:pPr algn="ctr"/>
            <a:endParaRPr lang="en-US" sz="1055" dirty="0"/>
          </a:p>
        </p:txBody>
      </p:sp>
      <p:sp>
        <p:nvSpPr>
          <p:cNvPr id="14" name="Rectangle 13"/>
          <p:cNvSpPr/>
          <p:nvPr userDrawn="1"/>
        </p:nvSpPr>
        <p:spPr>
          <a:xfrm>
            <a:off x="2107757" y="515917"/>
            <a:ext cx="3785353" cy="307997"/>
          </a:xfrm>
          <a:prstGeom prst="rect">
            <a:avLst/>
          </a:prstGeom>
          <a:solidFill>
            <a:srgbClr val="890656"/>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52" tIns="34276" rIns="68552" bIns="34276" rtlCol="0" anchor="ctr"/>
          <a:lstStyle/>
          <a:p>
            <a:pPr algn="ctr"/>
            <a:endParaRPr lang="en-US" sz="1055" dirty="0"/>
          </a:p>
        </p:txBody>
      </p:sp>
      <p:sp>
        <p:nvSpPr>
          <p:cNvPr id="15" name="Rectangle 14"/>
          <p:cNvSpPr/>
          <p:nvPr userDrawn="1"/>
        </p:nvSpPr>
        <p:spPr>
          <a:xfrm>
            <a:off x="77124" y="515917"/>
            <a:ext cx="2112958" cy="307997"/>
          </a:xfrm>
          <a:prstGeom prst="rect">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52" tIns="34276" rIns="68552" bIns="34276" rtlCol="0" anchor="ctr"/>
          <a:lstStyle/>
          <a:p>
            <a:pPr algn="ctr"/>
            <a:endParaRPr lang="en-US" sz="1055" dirty="0"/>
          </a:p>
        </p:txBody>
      </p:sp>
      <p:sp>
        <p:nvSpPr>
          <p:cNvPr id="16" name="Rectangle 15"/>
          <p:cNvSpPr/>
          <p:nvPr userDrawn="1"/>
        </p:nvSpPr>
        <p:spPr>
          <a:xfrm>
            <a:off x="77125" y="824299"/>
            <a:ext cx="8991600" cy="3861694"/>
          </a:xfrm>
          <a:prstGeom prst="rect">
            <a:avLst/>
          </a:prstGeom>
          <a:solidFill>
            <a:schemeClr val="bg1"/>
          </a:soli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52" tIns="34276" rIns="68552" bIns="34276" rtlCol="0" anchor="ctr"/>
          <a:lstStyle/>
          <a:p>
            <a:pPr algn="ctr"/>
            <a:endParaRPr lang="en-US" sz="1371" dirty="0"/>
          </a:p>
        </p:txBody>
      </p:sp>
      <p:sp>
        <p:nvSpPr>
          <p:cNvPr id="17" name="Rectangle 16"/>
          <p:cNvSpPr/>
          <p:nvPr userDrawn="1"/>
        </p:nvSpPr>
        <p:spPr>
          <a:xfrm>
            <a:off x="77124" y="708940"/>
            <a:ext cx="2108024" cy="2012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52" tIns="34276" rIns="68552" bIns="34276" rtlCol="0" anchor="ctr"/>
          <a:lstStyle/>
          <a:p>
            <a:pPr algn="ctr"/>
            <a:endParaRPr lang="en-US" sz="1055" dirty="0"/>
          </a:p>
        </p:txBody>
      </p:sp>
      <p:sp>
        <p:nvSpPr>
          <p:cNvPr id="2" name="Title 1"/>
          <p:cNvSpPr>
            <a:spLocks noGrp="1"/>
          </p:cNvSpPr>
          <p:nvPr>
            <p:ph type="title"/>
          </p:nvPr>
        </p:nvSpPr>
        <p:spPr/>
        <p:txBody>
          <a:bodyPr/>
          <a:lstStyle/>
          <a:p>
            <a:r>
              <a:rPr lang="en-US"/>
              <a:t>Click to edit Master title style</a:t>
            </a:r>
          </a:p>
        </p:txBody>
      </p:sp>
      <p:sp>
        <p:nvSpPr>
          <p:cNvPr id="18" name="TextBox 17"/>
          <p:cNvSpPr txBox="1"/>
          <p:nvPr userDrawn="1"/>
        </p:nvSpPr>
        <p:spPr>
          <a:xfrm>
            <a:off x="2342587" y="555336"/>
            <a:ext cx="3315693" cy="215287"/>
          </a:xfrm>
          <a:prstGeom prst="rect">
            <a:avLst/>
          </a:prstGeom>
          <a:noFill/>
        </p:spPr>
        <p:txBody>
          <a:bodyPr wrap="square" lIns="68552" tIns="34276" rIns="68552" bIns="34276" rtlCol="0">
            <a:spAutoFit/>
          </a:bodyPr>
          <a:lstStyle/>
          <a:p>
            <a:pPr algn="ctr"/>
            <a:r>
              <a:rPr lang="en-US" sz="949" dirty="0">
                <a:solidFill>
                  <a:schemeClr val="bg1"/>
                </a:solidFill>
                <a:latin typeface="Arial" pitchFamily="34" charset="0"/>
                <a:cs typeface="Arial" pitchFamily="34" charset="0"/>
              </a:rPr>
              <a:t>NCCN Treatment Guidelines: Stage I and II</a:t>
            </a:r>
          </a:p>
        </p:txBody>
      </p:sp>
      <p:sp>
        <p:nvSpPr>
          <p:cNvPr id="19" name="TextBox 18"/>
          <p:cNvSpPr txBox="1"/>
          <p:nvPr userDrawn="1"/>
        </p:nvSpPr>
        <p:spPr>
          <a:xfrm>
            <a:off x="260564" y="555336"/>
            <a:ext cx="1717453" cy="215287"/>
          </a:xfrm>
          <a:prstGeom prst="rect">
            <a:avLst/>
          </a:prstGeom>
          <a:noFill/>
        </p:spPr>
        <p:txBody>
          <a:bodyPr wrap="square" lIns="68552" tIns="34276" rIns="68552" bIns="34276" rtlCol="0">
            <a:spAutoFit/>
          </a:bodyPr>
          <a:lstStyle/>
          <a:p>
            <a:pPr algn="ctr"/>
            <a:r>
              <a:rPr lang="en-US" sz="949" b="0" dirty="0">
                <a:solidFill>
                  <a:srgbClr val="890656"/>
                </a:solidFill>
                <a:latin typeface="Arial" pitchFamily="34" charset="0"/>
                <a:cs typeface="Arial" pitchFamily="34" charset="0"/>
              </a:rPr>
              <a:t>Treatment Overview</a:t>
            </a:r>
          </a:p>
        </p:txBody>
      </p:sp>
      <p:sp>
        <p:nvSpPr>
          <p:cNvPr id="20" name="TextBox 19"/>
          <p:cNvSpPr txBox="1"/>
          <p:nvPr userDrawn="1"/>
        </p:nvSpPr>
        <p:spPr>
          <a:xfrm>
            <a:off x="7728724" y="555336"/>
            <a:ext cx="1229769" cy="215287"/>
          </a:xfrm>
          <a:prstGeom prst="rect">
            <a:avLst/>
          </a:prstGeom>
          <a:noFill/>
        </p:spPr>
        <p:txBody>
          <a:bodyPr wrap="square" lIns="68552" tIns="34276" rIns="68552" bIns="34276" rtlCol="0">
            <a:spAutoFit/>
          </a:bodyPr>
          <a:lstStyle/>
          <a:p>
            <a:pPr algn="ctr"/>
            <a:r>
              <a:rPr lang="en-US" sz="949" dirty="0">
                <a:solidFill>
                  <a:schemeClr val="bg1"/>
                </a:solidFill>
                <a:latin typeface="Arial" pitchFamily="34" charset="0"/>
                <a:cs typeface="Arial" pitchFamily="34" charset="0"/>
              </a:rPr>
              <a:t>Summary</a:t>
            </a:r>
          </a:p>
        </p:txBody>
      </p:sp>
      <p:sp>
        <p:nvSpPr>
          <p:cNvPr id="21" name="Text Placeholder 15"/>
          <p:cNvSpPr>
            <a:spLocks noGrp="1"/>
          </p:cNvSpPr>
          <p:nvPr>
            <p:ph type="body" sz="quarter" idx="13" hasCustomPrompt="1"/>
          </p:nvPr>
        </p:nvSpPr>
        <p:spPr>
          <a:xfrm>
            <a:off x="456541" y="216028"/>
            <a:ext cx="4038140" cy="308510"/>
          </a:xfrm>
        </p:spPr>
        <p:txBody>
          <a:bodyPr numCol="1">
            <a:normAutofit/>
          </a:bodyPr>
          <a:lstStyle>
            <a:lvl1pPr>
              <a:defRPr sz="949">
                <a:solidFill>
                  <a:schemeClr val="accent5">
                    <a:lumMod val="20000"/>
                    <a:lumOff val="80000"/>
                  </a:schemeClr>
                </a:solidFill>
              </a:defRPr>
            </a:lvl1pPr>
          </a:lstStyle>
          <a:p>
            <a:pPr lvl="0"/>
            <a:r>
              <a:rPr lang="en-US" dirty="0"/>
              <a:t>Click to edit Master text styles</a:t>
            </a:r>
          </a:p>
        </p:txBody>
      </p:sp>
      <p:sp>
        <p:nvSpPr>
          <p:cNvPr id="22" name="Text Placeholder 8"/>
          <p:cNvSpPr>
            <a:spLocks noGrp="1"/>
          </p:cNvSpPr>
          <p:nvPr>
            <p:ph type="body" sz="quarter" idx="14"/>
          </p:nvPr>
        </p:nvSpPr>
        <p:spPr>
          <a:xfrm>
            <a:off x="180202" y="910552"/>
            <a:ext cx="8783596" cy="3709894"/>
          </a:xfrm>
        </p:spPr>
        <p:txBody>
          <a:bodyPr/>
          <a:lstStyle>
            <a:lvl1pPr>
              <a:defRPr sz="844">
                <a:solidFill>
                  <a:schemeClr val="accent2"/>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Box 23">
            <a:extLst>
              <a:ext uri="{FF2B5EF4-FFF2-40B4-BE49-F238E27FC236}">
                <a16:creationId xmlns:a16="http://schemas.microsoft.com/office/drawing/2014/main" xmlns="" id="{8AF83FEA-BA27-409A-974E-07D44FC0FD80}"/>
              </a:ext>
            </a:extLst>
          </p:cNvPr>
          <p:cNvSpPr txBox="1"/>
          <p:nvPr userDrawn="1"/>
        </p:nvSpPr>
        <p:spPr>
          <a:xfrm>
            <a:off x="6136861" y="555336"/>
            <a:ext cx="1229769" cy="215287"/>
          </a:xfrm>
          <a:prstGeom prst="rect">
            <a:avLst/>
          </a:prstGeom>
          <a:noFill/>
        </p:spPr>
        <p:txBody>
          <a:bodyPr wrap="square" lIns="68552" tIns="34276" rIns="68552" bIns="34276" rtlCol="0">
            <a:spAutoFit/>
          </a:bodyPr>
          <a:lstStyle/>
          <a:p>
            <a:pPr algn="ctr"/>
            <a:r>
              <a:rPr lang="en-US" sz="949" dirty="0">
                <a:solidFill>
                  <a:schemeClr val="bg1"/>
                </a:solidFill>
                <a:latin typeface="Arial" pitchFamily="34" charset="0"/>
                <a:cs typeface="Arial" pitchFamily="34" charset="0"/>
              </a:rPr>
              <a:t>Clinical Trials</a:t>
            </a:r>
          </a:p>
        </p:txBody>
      </p:sp>
      <p:sp>
        <p:nvSpPr>
          <p:cNvPr id="3" name="Rectangle 2">
            <a:hlinkClick r:id="" action="ppaction://noaction"/>
            <a:extLst>
              <a:ext uri="{FF2B5EF4-FFF2-40B4-BE49-F238E27FC236}">
                <a16:creationId xmlns:a16="http://schemas.microsoft.com/office/drawing/2014/main" xmlns="" id="{48F38C9F-7011-487F-B5AC-F9878AC6E1FD}"/>
              </a:ext>
            </a:extLst>
          </p:cNvPr>
          <p:cNvSpPr/>
          <p:nvPr userDrawn="1"/>
        </p:nvSpPr>
        <p:spPr>
          <a:xfrm>
            <a:off x="77124" y="508961"/>
            <a:ext cx="2112958" cy="30799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49" dirty="0"/>
          </a:p>
        </p:txBody>
      </p:sp>
      <p:sp>
        <p:nvSpPr>
          <p:cNvPr id="25" name="Rectangle 24">
            <a:hlinkClick r:id="" action="ppaction://noaction"/>
            <a:extLst>
              <a:ext uri="{FF2B5EF4-FFF2-40B4-BE49-F238E27FC236}">
                <a16:creationId xmlns:a16="http://schemas.microsoft.com/office/drawing/2014/main" xmlns="" id="{CB3D1BC1-1E49-47B6-8FB8-42A7BA000B37}"/>
              </a:ext>
            </a:extLst>
          </p:cNvPr>
          <p:cNvSpPr/>
          <p:nvPr userDrawn="1"/>
        </p:nvSpPr>
        <p:spPr>
          <a:xfrm>
            <a:off x="2185147" y="508961"/>
            <a:ext cx="3707962" cy="30799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49" dirty="0"/>
          </a:p>
        </p:txBody>
      </p:sp>
      <p:sp>
        <p:nvSpPr>
          <p:cNvPr id="26" name="Rectangle 25">
            <a:hlinkClick r:id="" action="ppaction://noaction"/>
            <a:extLst>
              <a:ext uri="{FF2B5EF4-FFF2-40B4-BE49-F238E27FC236}">
                <a16:creationId xmlns:a16="http://schemas.microsoft.com/office/drawing/2014/main" xmlns="" id="{728CB014-23B8-47A8-92D3-BC986591A434}"/>
              </a:ext>
            </a:extLst>
          </p:cNvPr>
          <p:cNvSpPr/>
          <p:nvPr userDrawn="1"/>
        </p:nvSpPr>
        <p:spPr>
          <a:xfrm>
            <a:off x="5885856" y="508961"/>
            <a:ext cx="1792537" cy="30799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49" dirty="0"/>
          </a:p>
        </p:txBody>
      </p:sp>
      <p:sp>
        <p:nvSpPr>
          <p:cNvPr id="27" name="Rectangle 26">
            <a:hlinkClick r:id="" action="ppaction://noaction"/>
            <a:extLst>
              <a:ext uri="{FF2B5EF4-FFF2-40B4-BE49-F238E27FC236}">
                <a16:creationId xmlns:a16="http://schemas.microsoft.com/office/drawing/2014/main" xmlns="" id="{4CD12D04-88D1-4440-AFD5-242FC26E9DC6}"/>
              </a:ext>
            </a:extLst>
          </p:cNvPr>
          <p:cNvSpPr/>
          <p:nvPr userDrawn="1"/>
        </p:nvSpPr>
        <p:spPr>
          <a:xfrm>
            <a:off x="7675995" y="508961"/>
            <a:ext cx="1391806" cy="30799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49" dirty="0"/>
          </a:p>
        </p:txBody>
      </p:sp>
    </p:spTree>
    <p:custDataLst>
      <p:tags r:id="rId1"/>
    </p:custDataLst>
    <p:extLst>
      <p:ext uri="{BB962C8B-B14F-4D97-AF65-F5344CB8AC3E}">
        <p14:creationId xmlns:p14="http://schemas.microsoft.com/office/powerpoint/2010/main" val="327170075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a:extLst>
              <a:ext uri="{FF2B5EF4-FFF2-40B4-BE49-F238E27FC236}">
                <a16:creationId xmlns:a16="http://schemas.microsoft.com/office/drawing/2014/main" xmlns="" id="{82284421-4DBC-4A98-B1A5-A1E4BDED1713}"/>
              </a:ext>
            </a:extLst>
          </p:cNvPr>
          <p:cNvSpPr>
            <a:spLocks noGrp="1"/>
          </p:cNvSpPr>
          <p:nvPr>
            <p:ph type="sldNum" sz="quarter" idx="4"/>
          </p:nvPr>
        </p:nvSpPr>
        <p:spPr>
          <a:xfrm>
            <a:off x="237601" y="4846754"/>
            <a:ext cx="396000" cy="162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ext Placeholder 2">
            <a:extLst>
              <a:ext uri="{FF2B5EF4-FFF2-40B4-BE49-F238E27FC236}">
                <a16:creationId xmlns:a16="http://schemas.microsoft.com/office/drawing/2014/main" xmlns="" id="{95081D33-DA41-4A14-BA78-778402EB5031}"/>
              </a:ext>
            </a:extLst>
          </p:cNvPr>
          <p:cNvSpPr>
            <a:spLocks noGrp="1"/>
          </p:cNvSpPr>
          <p:nvPr>
            <p:ph type="body" sz="quarter" idx="12" hasCustomPrompt="1"/>
          </p:nvPr>
        </p:nvSpPr>
        <p:spPr>
          <a:xfrm>
            <a:off x="633413" y="4654550"/>
            <a:ext cx="7658100" cy="354013"/>
          </a:xfrm>
          <a:prstGeom prst="rect">
            <a:avLst/>
          </a:prstGeom>
        </p:spPr>
        <p:txBody>
          <a:bodyPr vert="horz" lIns="0" tIns="0" rIns="0" bIns="0" rtlCol="0" anchor="b" anchorCtr="0"/>
          <a:lstStyle>
            <a:lvl1pPr marL="0" indent="0">
              <a:buNone/>
              <a:defRPr lang="en-US" sz="800" b="0" smtClean="0">
                <a:latin typeface="Arial" pitchFamily="34" charset="0"/>
                <a:cs typeface="Arial" pitchFamily="34" charset="0"/>
              </a:defRPr>
            </a:lvl1pPr>
            <a:lvl2pPr marL="171450" indent="0">
              <a:buNone/>
              <a:defRPr lang="en-US" sz="1800" smtClean="0"/>
            </a:lvl2pPr>
            <a:lvl3pPr marL="685800" indent="0">
              <a:buNone/>
              <a:defRPr lang="en-US" sz="1800" smtClean="0"/>
            </a:lvl3pPr>
            <a:lvl4pPr marL="1143000" indent="0">
              <a:buNone/>
              <a:defRPr lang="en-US" sz="1800" smtClean="0"/>
            </a:lvl4pPr>
            <a:lvl5pPr marL="1600200" indent="0">
              <a:buNone/>
              <a:defRPr lang="it-IT" sz="1800"/>
            </a:lvl5pPr>
          </a:lstStyle>
          <a:p>
            <a:pPr marL="0" lvl="0"/>
            <a:r>
              <a:rPr lang="en-US" dirty="0"/>
              <a:t>Footnotes / references</a:t>
            </a:r>
            <a:endParaRPr lang="it-IT" dirty="0"/>
          </a:p>
        </p:txBody>
      </p:sp>
    </p:spTree>
    <p:extLst>
      <p:ext uri="{BB962C8B-B14F-4D97-AF65-F5344CB8AC3E}">
        <p14:creationId xmlns:p14="http://schemas.microsoft.com/office/powerpoint/2010/main" val="230368498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BACB930-CE3F-4743-B072-2338D7EF26EF}" type="datetime1">
              <a:rPr lang="en-US" smtClean="0"/>
              <a:t>6/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9120"/>
            <a:ext cx="7543800" cy="754380"/>
          </a:xfrm>
        </p:spPr>
        <p:txBody>
          <a:bodyPr anchor="b">
            <a:normAutofit/>
          </a:bodyPr>
          <a:lstStyle>
            <a:lvl1pPr marL="0" indent="0">
              <a:spcBef>
                <a:spcPts val="225"/>
              </a:spcBef>
              <a:buNone/>
              <a:defRPr sz="750">
                <a:solidFill>
                  <a:schemeClr val="tx1"/>
                </a:solidFill>
              </a:defRPr>
            </a:lvl1pPr>
            <a:lvl2pPr marL="171450" indent="0">
              <a:buNone/>
              <a:defRPr>
                <a:solidFill>
                  <a:schemeClr val="tx1"/>
                </a:solidFill>
              </a:defRPr>
            </a:lvl2pPr>
            <a:lvl3pPr marL="342900" indent="0">
              <a:buNone/>
              <a:defRPr>
                <a:solidFill>
                  <a:schemeClr val="tx1"/>
                </a:solidFill>
              </a:defRPr>
            </a:lvl3pPr>
            <a:lvl4pPr marL="514350" indent="0">
              <a:buNone/>
              <a:defRPr>
                <a:solidFill>
                  <a:schemeClr val="tx1"/>
                </a:solidFill>
              </a:defRPr>
            </a:lvl4pPr>
            <a:lvl5pPr marL="685800" indent="0">
              <a:buNone/>
              <a:defRPr>
                <a:solidFill>
                  <a:schemeClr val="tx1"/>
                </a:solidFill>
              </a:defRPr>
            </a:lvl5pPr>
          </a:lstStyle>
          <a:p>
            <a:pPr lvl="0"/>
            <a:r>
              <a:rPr lang="en-US" dirty="0"/>
              <a:t>Reference(s)</a:t>
            </a:r>
          </a:p>
        </p:txBody>
      </p:sp>
    </p:spTree>
    <p:extLst>
      <p:ext uri="{BB962C8B-B14F-4D97-AF65-F5344CB8AC3E}">
        <p14:creationId xmlns:p14="http://schemas.microsoft.com/office/powerpoint/2010/main" val="357038339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7B6C14-DFB4-4AF6-97B2-C8425AFA3943}"/>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ru-RU"/>
          </a:p>
        </p:txBody>
      </p:sp>
      <p:sp>
        <p:nvSpPr>
          <p:cNvPr id="3" name="Subtitle 2">
            <a:extLst>
              <a:ext uri="{FF2B5EF4-FFF2-40B4-BE49-F238E27FC236}">
                <a16:creationId xmlns:a16="http://schemas.microsoft.com/office/drawing/2014/main" xmlns="" id="{9E928684-D8D4-42FD-97A6-540779D118D5}"/>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ru-RU"/>
          </a:p>
        </p:txBody>
      </p:sp>
      <p:sp>
        <p:nvSpPr>
          <p:cNvPr id="4" name="Date Placeholder 3">
            <a:extLst>
              <a:ext uri="{FF2B5EF4-FFF2-40B4-BE49-F238E27FC236}">
                <a16:creationId xmlns:a16="http://schemas.microsoft.com/office/drawing/2014/main" xmlns="" id="{32130F09-2570-4745-AE03-8F1CC9BA8371}"/>
              </a:ext>
            </a:extLst>
          </p:cNvPr>
          <p:cNvSpPr>
            <a:spLocks noGrp="1"/>
          </p:cNvSpPr>
          <p:nvPr>
            <p:ph type="dt" sz="half" idx="10"/>
          </p:nvPr>
        </p:nvSpPr>
        <p:spPr/>
        <p:txBody>
          <a:bodyPr/>
          <a:lstStyle/>
          <a:p>
            <a:fld id="{3E0DAA06-3C1A-4876-AD3D-1C6385585AE7}" type="datetimeFigureOut">
              <a:rPr lang="ru-RU" smtClean="0"/>
              <a:t>29.06.2023</a:t>
            </a:fld>
            <a:endParaRPr lang="ru-RU"/>
          </a:p>
        </p:txBody>
      </p:sp>
      <p:sp>
        <p:nvSpPr>
          <p:cNvPr id="5" name="Footer Placeholder 4">
            <a:extLst>
              <a:ext uri="{FF2B5EF4-FFF2-40B4-BE49-F238E27FC236}">
                <a16:creationId xmlns:a16="http://schemas.microsoft.com/office/drawing/2014/main" xmlns="" id="{F2BAE59E-B084-4663-8F1A-39F8E9238394}"/>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xmlns="" id="{6D100F2B-A7A9-483E-9140-BF808F7E1D1B}"/>
              </a:ext>
            </a:extLst>
          </p:cNvPr>
          <p:cNvSpPr>
            <a:spLocks noGrp="1"/>
          </p:cNvSpPr>
          <p:nvPr>
            <p:ph type="sldNum" sz="quarter" idx="12"/>
          </p:nvPr>
        </p:nvSpPr>
        <p:spPr/>
        <p:txBody>
          <a:bodyPr/>
          <a:lstStyle/>
          <a:p>
            <a:fld id="{33164A67-7584-4AEF-97BA-3595EA5E674D}" type="slidenum">
              <a:rPr lang="ru-RU" smtClean="0"/>
              <a:t>‹#›</a:t>
            </a:fld>
            <a:endParaRPr lang="ru-RU"/>
          </a:p>
        </p:txBody>
      </p:sp>
      <p:pic>
        <p:nvPicPr>
          <p:cNvPr id="7" name="Рисунок 7">
            <a:extLst>
              <a:ext uri="{FF2B5EF4-FFF2-40B4-BE49-F238E27FC236}">
                <a16:creationId xmlns:a16="http://schemas.microsoft.com/office/drawing/2014/main" xmlns="" id="{BAEA1BDA-10B2-4C3B-9932-AB77CB62DD4E}"/>
              </a:ext>
            </a:extLst>
          </p:cNvPr>
          <p:cNvPicPr>
            <a:picLocks noChangeAspect="1"/>
          </p:cNvPicPr>
          <p:nvPr userDrawn="1"/>
        </p:nvPicPr>
        <p:blipFill>
          <a:blip r:embed="rId2"/>
          <a:stretch>
            <a:fillRect/>
          </a:stretch>
        </p:blipFill>
        <p:spPr>
          <a:xfrm>
            <a:off x="7699034" y="4667639"/>
            <a:ext cx="1314887" cy="324103"/>
          </a:xfrm>
          <a:prstGeom prst="rect">
            <a:avLst/>
          </a:prstGeom>
        </p:spPr>
      </p:pic>
    </p:spTree>
    <p:extLst>
      <p:ext uri="{BB962C8B-B14F-4D97-AF65-F5344CB8AC3E}">
        <p14:creationId xmlns:p14="http://schemas.microsoft.com/office/powerpoint/2010/main" val="68897434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735713D-D566-4186-9787-C5E97CA19282}" type="datetime1">
              <a:rPr lang="en-US" smtClean="0"/>
              <a:t>6/2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lvl1pPr algn="ctr">
              <a:defRPr/>
            </a:lvl1p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9120"/>
            <a:ext cx="7543800" cy="754380"/>
          </a:xfrm>
        </p:spPr>
        <p:txBody>
          <a:bodyPr anchor="b">
            <a:noAutofit/>
          </a:bodyPr>
          <a:lstStyle>
            <a:lvl1pPr marL="0" indent="0">
              <a:spcBef>
                <a:spcPts val="225"/>
              </a:spcBef>
              <a:buNone/>
              <a:defRPr sz="750"/>
            </a:lvl1pPr>
            <a:lvl2pPr marL="171450" indent="0">
              <a:spcBef>
                <a:spcPts val="225"/>
              </a:spcBef>
              <a:buNone/>
              <a:defRPr sz="750"/>
            </a:lvl2pPr>
            <a:lvl3pPr marL="342900" indent="0">
              <a:spcBef>
                <a:spcPts val="225"/>
              </a:spcBef>
              <a:buNone/>
              <a:defRPr sz="750"/>
            </a:lvl3pPr>
            <a:lvl4pPr marL="514350" indent="0">
              <a:spcBef>
                <a:spcPts val="225"/>
              </a:spcBef>
              <a:buNone/>
              <a:defRPr sz="750"/>
            </a:lvl4pPr>
            <a:lvl5pPr marL="685800" indent="0">
              <a:spcBef>
                <a:spcPts val="225"/>
              </a:spcBef>
              <a:buNone/>
              <a:defRPr sz="750"/>
            </a:lvl5pPr>
          </a:lstStyle>
          <a:p>
            <a:pPr lvl="0"/>
            <a:r>
              <a:rPr lang="en-US" dirty="0"/>
              <a:t>Reference(s)</a:t>
            </a:r>
          </a:p>
        </p:txBody>
      </p:sp>
    </p:spTree>
    <p:extLst>
      <p:ext uri="{BB962C8B-B14F-4D97-AF65-F5344CB8AC3E}">
        <p14:creationId xmlns:p14="http://schemas.microsoft.com/office/powerpoint/2010/main" val="3385757273"/>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p:cNvSpPr/>
          <p:nvPr userDrawn="1"/>
        </p:nvSpPr>
        <p:spPr>
          <a:xfrm>
            <a:off x="7520600" y="4898400"/>
            <a:ext cx="1551963" cy="193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userDrawn="1"/>
        </p:nvSpPr>
        <p:spPr>
          <a:xfrm>
            <a:off x="144000" y="2675222"/>
            <a:ext cx="8846820" cy="2361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4" name="Date Placeholder 3"/>
          <p:cNvSpPr>
            <a:spLocks noGrp="1"/>
          </p:cNvSpPr>
          <p:nvPr>
            <p:ph type="dt" sz="half" idx="10"/>
          </p:nvPr>
        </p:nvSpPr>
        <p:spPr/>
        <p:txBody>
          <a:bodyPr/>
          <a:lstStyle/>
          <a:p>
            <a:fld id="{F5AB0D45-D70F-4565-90F4-8B70029F68B1}" type="datetime1">
              <a:rPr lang="en-US" smtClean="0"/>
              <a:t>6/29/2023</a:t>
            </a:fld>
            <a:endParaRPr lang="en-US"/>
          </a:p>
        </p:txBody>
      </p:sp>
      <p:sp>
        <p:nvSpPr>
          <p:cNvPr id="5" name="Footer Placeholder 4"/>
          <p:cNvSpPr>
            <a:spLocks noGrp="1"/>
          </p:cNvSpPr>
          <p:nvPr>
            <p:ph type="ftr" sz="quarter" idx="11"/>
          </p:nvPr>
        </p:nvSpPr>
        <p:spPr/>
        <p:txBody>
          <a:bodyPr/>
          <a:lstStyle/>
          <a:p>
            <a:endParaRPr lang="en-US"/>
          </a:p>
        </p:txBody>
      </p:sp>
      <p:sp>
        <p:nvSpPr>
          <p:cNvPr id="9" name="TextBox 8"/>
          <p:cNvSpPr txBox="1"/>
          <p:nvPr userDrawn="1"/>
        </p:nvSpPr>
        <p:spPr>
          <a:xfrm>
            <a:off x="7592037" y="4843683"/>
            <a:ext cx="1409088" cy="207749"/>
          </a:xfrm>
          <a:prstGeom prst="rect">
            <a:avLst/>
          </a:prstGeom>
          <a:noFill/>
        </p:spPr>
        <p:txBody>
          <a:bodyPr wrap="square" rtlCol="0">
            <a:spAutoFit/>
          </a:bodyPr>
          <a:lstStyle/>
          <a:p>
            <a:pPr algn="r"/>
            <a:r>
              <a:rPr lang="en-US" sz="750" dirty="0">
                <a:solidFill>
                  <a:srgbClr val="FFFFFF"/>
                </a:solidFill>
                <a:cs typeface="Arial" pitchFamily="34" charset="0"/>
              </a:rPr>
              <a:t>© AstraZeneca 2021</a:t>
            </a:r>
          </a:p>
        </p:txBody>
      </p:sp>
      <p:sp>
        <p:nvSpPr>
          <p:cNvPr id="3" name="Subtitle 2"/>
          <p:cNvSpPr>
            <a:spLocks noGrp="1"/>
          </p:cNvSpPr>
          <p:nvPr>
            <p:ph type="subTitle" idx="1"/>
          </p:nvPr>
        </p:nvSpPr>
        <p:spPr>
          <a:xfrm>
            <a:off x="342900" y="2926691"/>
            <a:ext cx="8458201" cy="1241822"/>
          </a:xfrm>
        </p:spPr>
        <p:txBody>
          <a:bodyPr>
            <a:normAutofit/>
          </a:bodyPr>
          <a:lstStyle>
            <a:lvl1pPr marL="0" indent="0" algn="l">
              <a:buNone/>
              <a:defRPr sz="21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3" name="Text Placeholder 12"/>
          <p:cNvSpPr>
            <a:spLocks noGrp="1"/>
          </p:cNvSpPr>
          <p:nvPr>
            <p:ph type="body" sz="quarter" idx="12" hasCustomPrompt="1"/>
          </p:nvPr>
        </p:nvSpPr>
        <p:spPr>
          <a:xfrm>
            <a:off x="342900" y="4377375"/>
            <a:ext cx="7516416" cy="664369"/>
          </a:xfrm>
        </p:spPr>
        <p:txBody>
          <a:bodyPr anchor="b">
            <a:normAutofit/>
          </a:bodyPr>
          <a:lstStyle>
            <a:lvl1pPr marL="0" indent="0">
              <a:spcBef>
                <a:spcPts val="225"/>
              </a:spcBef>
              <a:buNone/>
              <a:defRPr sz="750">
                <a:solidFill>
                  <a:schemeClr val="bg1"/>
                </a:solidFill>
              </a:defRPr>
            </a:lvl1pPr>
            <a:lvl2pPr marL="171450" indent="0">
              <a:buNone/>
              <a:defRPr>
                <a:solidFill>
                  <a:schemeClr val="bg1"/>
                </a:solidFill>
              </a:defRPr>
            </a:lvl2pPr>
            <a:lvl3pPr marL="342900" indent="0">
              <a:buNone/>
              <a:defRPr>
                <a:solidFill>
                  <a:schemeClr val="bg1"/>
                </a:solidFill>
              </a:defRPr>
            </a:lvl3pPr>
            <a:lvl4pPr marL="514350" indent="0">
              <a:buNone/>
              <a:defRPr>
                <a:solidFill>
                  <a:schemeClr val="bg1"/>
                </a:solidFill>
              </a:defRPr>
            </a:lvl4pPr>
            <a:lvl5pPr marL="685800" indent="0">
              <a:buNone/>
              <a:defRPr>
                <a:solidFill>
                  <a:schemeClr val="bg1"/>
                </a:solidFill>
              </a:defRPr>
            </a:lvl5pPr>
          </a:lstStyle>
          <a:p>
            <a:pPr lvl="0"/>
            <a:r>
              <a:rPr lang="en-US" dirty="0"/>
              <a:t>Reference(s)</a:t>
            </a:r>
          </a:p>
        </p:txBody>
      </p:sp>
      <p:sp>
        <p:nvSpPr>
          <p:cNvPr id="2" name="Title 1"/>
          <p:cNvSpPr>
            <a:spLocks noGrp="1"/>
          </p:cNvSpPr>
          <p:nvPr>
            <p:ph type="ctrTitle"/>
          </p:nvPr>
        </p:nvSpPr>
        <p:spPr>
          <a:xfrm>
            <a:off x="342900" y="974527"/>
            <a:ext cx="8458200" cy="1597223"/>
          </a:xfrm>
        </p:spPr>
        <p:txBody>
          <a:bodyPr anchor="t" anchorCtr="0">
            <a:normAutofit/>
          </a:bodyPr>
          <a:lstStyle>
            <a:lvl1pPr algn="l">
              <a:defRPr sz="3300">
                <a:solidFill>
                  <a:schemeClr val="tx2"/>
                </a:solidFill>
              </a:defRPr>
            </a:lvl1pPr>
          </a:lstStyle>
          <a:p>
            <a:r>
              <a:rPr lang="en-US" dirty="0"/>
              <a:t>Click to edit Master title style</a:t>
            </a:r>
          </a:p>
        </p:txBody>
      </p:sp>
      <p:pic>
        <p:nvPicPr>
          <p:cNvPr id="16" name="Picture 15">
            <a:hlinkClick r:id="rId2" action="ppaction://hlinksldjump"/>
            <a:extLst>
              <a:ext uri="{FF2B5EF4-FFF2-40B4-BE49-F238E27FC236}">
                <a16:creationId xmlns:a16="http://schemas.microsoft.com/office/drawing/2014/main" xmlns="" id="{F7275879-818A-4413-9B9E-9312C8A2BE9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22965" y="4297069"/>
            <a:ext cx="425967" cy="490352"/>
          </a:xfrm>
          <a:prstGeom prst="rect">
            <a:avLst/>
          </a:prstGeom>
        </p:spPr>
      </p:pic>
      <p:sp>
        <p:nvSpPr>
          <p:cNvPr id="17" name="Rectangle 16">
            <a:extLst>
              <a:ext uri="{FF2B5EF4-FFF2-40B4-BE49-F238E27FC236}">
                <a16:creationId xmlns:a16="http://schemas.microsoft.com/office/drawing/2014/main" xmlns="" id="{FDEA1B75-62AE-479F-A417-ACF060C05D1E}"/>
              </a:ext>
            </a:extLst>
          </p:cNvPr>
          <p:cNvSpPr/>
          <p:nvPr userDrawn="1"/>
        </p:nvSpPr>
        <p:spPr>
          <a:xfrm>
            <a:off x="144000" y="2675223"/>
            <a:ext cx="8846820" cy="797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Tree>
    <p:extLst>
      <p:ext uri="{BB962C8B-B14F-4D97-AF65-F5344CB8AC3E}">
        <p14:creationId xmlns:p14="http://schemas.microsoft.com/office/powerpoint/2010/main" val="1685079340"/>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Global Title Slide">
    <p:spTree>
      <p:nvGrpSpPr>
        <p:cNvPr id="1" name=""/>
        <p:cNvGrpSpPr/>
        <p:nvPr/>
      </p:nvGrpSpPr>
      <p:grpSpPr>
        <a:xfrm>
          <a:off x="0" y="0"/>
          <a:ext cx="0" cy="0"/>
          <a:chOff x="0" y="0"/>
          <a:chExt cx="0" cy="0"/>
        </a:xfrm>
      </p:grpSpPr>
      <p:pic>
        <p:nvPicPr>
          <p:cNvPr id="2" name="Picture 1" descr="AZ_RGB_H_COL.jpg"/>
          <p:cNvPicPr>
            <a:picLocks noChangeAspect="1"/>
          </p:cNvPicPr>
          <p:nvPr userDrawn="1"/>
        </p:nvPicPr>
        <p:blipFill>
          <a:blip r:embed="rId2" cstate="print">
            <a:alphaModFix/>
            <a:extLst>
              <a:ext uri="{28A0092B-C50C-407E-A947-70E740481C1C}">
                <a14:useLocalDpi xmlns:a14="http://schemas.microsoft.com/office/drawing/2010/main" val="0"/>
              </a:ext>
            </a:extLst>
          </a:blip>
          <a:stretch>
            <a:fillRect/>
          </a:stretch>
        </p:blipFill>
        <p:spPr>
          <a:xfrm>
            <a:off x="7038760" y="106819"/>
            <a:ext cx="1998000" cy="659979"/>
          </a:xfrm>
          <a:prstGeom prst="rect">
            <a:avLst/>
          </a:prstGeom>
        </p:spPr>
      </p:pic>
      <p:sp>
        <p:nvSpPr>
          <p:cNvPr id="8" name="Rectangle 7"/>
          <p:cNvSpPr/>
          <p:nvPr userDrawn="1"/>
        </p:nvSpPr>
        <p:spPr>
          <a:xfrm>
            <a:off x="180760" y="1269110"/>
            <a:ext cx="8856000" cy="372826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1"/>
              </a:solidFill>
              <a:effectLst/>
            </a:endParaRPr>
          </a:p>
        </p:txBody>
      </p:sp>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6002" y="2392693"/>
            <a:ext cx="6822758" cy="1195721"/>
          </a:xfrm>
          <a:prstGeom prst="rect">
            <a:avLst/>
          </a:prstGeom>
        </p:spPr>
        <p:txBody>
          <a:bodyPr vert="horz" anchor="ctr">
            <a:normAutofit/>
          </a:bodyPr>
          <a:lstStyle>
            <a:lvl1pPr marL="0" indent="0">
              <a:lnSpc>
                <a:spcPts val="1100"/>
              </a:lnSpc>
              <a:spcBef>
                <a:spcPts val="0"/>
              </a:spcBef>
              <a:buNone/>
              <a:defRPr sz="2250" b="0">
                <a:solidFill>
                  <a:schemeClr val="bg1"/>
                </a:solidFill>
                <a:latin typeface="Arial" pitchFamily="34" charset="0"/>
                <a:cs typeface="Arial" pitchFamily="34" charset="0"/>
              </a:defRPr>
            </a:lvl1pPr>
          </a:lstStyle>
          <a:p>
            <a:pPr lvl="0"/>
            <a:r>
              <a:rPr lang="en-GB" noProof="0" dirty="0"/>
              <a:t>Click to add subtitle if necessary</a:t>
            </a:r>
          </a:p>
        </p:txBody>
      </p:sp>
      <p:sp>
        <p:nvSpPr>
          <p:cNvPr id="14" name="TextBox 13">
            <a:extLst>
              <a:ext uri="{FF2B5EF4-FFF2-40B4-BE49-F238E27FC236}">
                <a16:creationId xmlns:a16="http://schemas.microsoft.com/office/drawing/2014/main" xmlns="" id="{73483441-21AE-4117-994A-6649DC930E5E}"/>
              </a:ext>
            </a:extLst>
          </p:cNvPr>
          <p:cNvSpPr txBox="1"/>
          <p:nvPr userDrawn="1"/>
        </p:nvSpPr>
        <p:spPr>
          <a:xfrm>
            <a:off x="7620000" y="4958835"/>
            <a:ext cx="1524000" cy="207749"/>
          </a:xfrm>
          <a:prstGeom prst="rect">
            <a:avLst/>
          </a:prstGeom>
          <a:noFill/>
        </p:spPr>
        <p:txBody>
          <a:bodyPr wrap="square" rtlCol="0">
            <a:spAutoFit/>
          </a:bodyPr>
          <a:lstStyle/>
          <a:p>
            <a:pPr algn="r"/>
            <a:r>
              <a:rPr lang="en-US" sz="750" b="0" baseline="0" dirty="0">
                <a:solidFill>
                  <a:schemeClr val="tx1"/>
                </a:solidFill>
                <a:latin typeface="Arial" pitchFamily="34" charset="0"/>
                <a:cs typeface="Arial" pitchFamily="34" charset="0"/>
              </a:rPr>
              <a:t>© AstraZeneca 2021</a:t>
            </a:r>
          </a:p>
        </p:txBody>
      </p:sp>
      <p:sp>
        <p:nvSpPr>
          <p:cNvPr id="10" name="Text Placeholder 7">
            <a:extLst>
              <a:ext uri="{FF2B5EF4-FFF2-40B4-BE49-F238E27FC236}">
                <a16:creationId xmlns:a16="http://schemas.microsoft.com/office/drawing/2014/main" xmlns="" id="{1FCA5801-9220-4E7B-9EDF-28B499B9CC48}"/>
              </a:ext>
            </a:extLst>
          </p:cNvPr>
          <p:cNvSpPr>
            <a:spLocks noGrp="1"/>
          </p:cNvSpPr>
          <p:nvPr>
            <p:ph type="body" sz="quarter" idx="14" hasCustomPrompt="1"/>
          </p:nvPr>
        </p:nvSpPr>
        <p:spPr>
          <a:xfrm>
            <a:off x="2162797" y="4399098"/>
            <a:ext cx="1088363" cy="137160"/>
          </a:xfrm>
        </p:spPr>
        <p:txBody>
          <a:bodyPr anchor="t">
            <a:noAutofit/>
          </a:bodyPr>
          <a:lstStyle>
            <a:lvl1pPr marL="0" indent="0">
              <a:spcBef>
                <a:spcPts val="225"/>
              </a:spcBef>
              <a:buNone/>
              <a:defRPr sz="750">
                <a:solidFill>
                  <a:schemeClr val="bg1"/>
                </a:solidFill>
              </a:defRPr>
            </a:lvl1pPr>
            <a:lvl2pPr marL="171450" indent="0">
              <a:buNone/>
              <a:defRPr/>
            </a:lvl2pPr>
            <a:lvl3pPr marL="342900" indent="0">
              <a:buNone/>
              <a:defRPr/>
            </a:lvl3pPr>
            <a:lvl4pPr marL="514350" indent="0">
              <a:buNone/>
              <a:defRPr/>
            </a:lvl4pPr>
            <a:lvl5pPr marL="685800" indent="0">
              <a:buNone/>
              <a:defRPr/>
            </a:lvl5pPr>
          </a:lstStyle>
          <a:p>
            <a:pPr lvl="0"/>
            <a:r>
              <a:rPr lang="en-US" dirty="0"/>
              <a:t>XX-XXXX-ALL-XXXX</a:t>
            </a:r>
          </a:p>
        </p:txBody>
      </p:sp>
      <p:sp>
        <p:nvSpPr>
          <p:cNvPr id="5" name="TextBox 4">
            <a:extLst>
              <a:ext uri="{FF2B5EF4-FFF2-40B4-BE49-F238E27FC236}">
                <a16:creationId xmlns:a16="http://schemas.microsoft.com/office/drawing/2014/main" xmlns="" id="{E8AE57FD-B4CA-4FEC-8695-AC40C5080EF3}"/>
              </a:ext>
            </a:extLst>
          </p:cNvPr>
          <p:cNvSpPr txBox="1"/>
          <p:nvPr userDrawn="1"/>
        </p:nvSpPr>
        <p:spPr>
          <a:xfrm>
            <a:off x="216001" y="4352416"/>
            <a:ext cx="2141436" cy="590354"/>
          </a:xfrm>
          <a:prstGeom prst="rect">
            <a:avLst/>
          </a:prstGeom>
          <a:noFill/>
        </p:spPr>
        <p:txBody>
          <a:bodyPr wrap="square" rtlCol="0">
            <a:spAutoFit/>
          </a:bodyPr>
          <a:lstStyle/>
          <a:p>
            <a:pPr>
              <a:lnSpc>
                <a:spcPct val="150000"/>
              </a:lnSpc>
              <a:spcBef>
                <a:spcPts val="450"/>
              </a:spcBef>
              <a:spcAft>
                <a:spcPts val="450"/>
              </a:spcAft>
            </a:pPr>
            <a:r>
              <a:rPr lang="en-US" sz="750" dirty="0">
                <a:solidFill>
                  <a:schemeClr val="bg1"/>
                </a:solidFill>
              </a:rPr>
              <a:t>Veeva Vault MedComms Document Number: </a:t>
            </a:r>
            <a:br>
              <a:rPr lang="en-US" sz="750" dirty="0">
                <a:solidFill>
                  <a:schemeClr val="bg1"/>
                </a:solidFill>
              </a:rPr>
            </a:br>
            <a:r>
              <a:rPr lang="en-US" sz="750" dirty="0">
                <a:solidFill>
                  <a:schemeClr val="bg1"/>
                </a:solidFill>
              </a:rPr>
              <a:t>Approval Date:</a:t>
            </a:r>
            <a:br>
              <a:rPr lang="en-US" sz="750" dirty="0">
                <a:solidFill>
                  <a:schemeClr val="bg1"/>
                </a:solidFill>
              </a:rPr>
            </a:br>
            <a:r>
              <a:rPr lang="en-US" sz="750" dirty="0">
                <a:solidFill>
                  <a:schemeClr val="bg1"/>
                </a:solidFill>
              </a:rPr>
              <a:t>Expiration Date:</a:t>
            </a:r>
          </a:p>
        </p:txBody>
      </p:sp>
      <p:sp>
        <p:nvSpPr>
          <p:cNvPr id="16" name="Text Placeholder 7">
            <a:extLst>
              <a:ext uri="{FF2B5EF4-FFF2-40B4-BE49-F238E27FC236}">
                <a16:creationId xmlns:a16="http://schemas.microsoft.com/office/drawing/2014/main" xmlns="" id="{15AE65CC-53A8-4B6D-A45D-F840C8C137F5}"/>
              </a:ext>
            </a:extLst>
          </p:cNvPr>
          <p:cNvSpPr>
            <a:spLocks noGrp="1"/>
          </p:cNvSpPr>
          <p:nvPr>
            <p:ph type="body" sz="quarter" idx="16" hasCustomPrompt="1"/>
          </p:nvPr>
        </p:nvSpPr>
        <p:spPr>
          <a:xfrm>
            <a:off x="981892" y="4740944"/>
            <a:ext cx="1088363" cy="137160"/>
          </a:xfrm>
        </p:spPr>
        <p:txBody>
          <a:bodyPr anchor="t">
            <a:noAutofit/>
          </a:bodyPr>
          <a:lstStyle>
            <a:lvl1pPr marL="0" indent="0">
              <a:spcBef>
                <a:spcPts val="225"/>
              </a:spcBef>
              <a:buNone/>
              <a:defRPr sz="750">
                <a:solidFill>
                  <a:schemeClr val="bg1"/>
                </a:solidFill>
              </a:defRPr>
            </a:lvl1pPr>
            <a:lvl2pPr marL="171450" indent="0">
              <a:buNone/>
              <a:defRPr/>
            </a:lvl2pPr>
            <a:lvl3pPr marL="342900" indent="0">
              <a:buNone/>
              <a:defRPr/>
            </a:lvl3pPr>
            <a:lvl4pPr marL="514350" indent="0">
              <a:buNone/>
              <a:defRPr/>
            </a:lvl4pPr>
            <a:lvl5pPr marL="685800" indent="0">
              <a:buNone/>
              <a:defRPr/>
            </a:lvl5pPr>
          </a:lstStyle>
          <a:p>
            <a:pPr lvl="0"/>
            <a:r>
              <a:rPr lang="en-US" dirty="0"/>
              <a:t>MM/YY</a:t>
            </a:r>
          </a:p>
        </p:txBody>
      </p:sp>
      <p:sp>
        <p:nvSpPr>
          <p:cNvPr id="17" name="Text Placeholder 7">
            <a:extLst>
              <a:ext uri="{FF2B5EF4-FFF2-40B4-BE49-F238E27FC236}">
                <a16:creationId xmlns:a16="http://schemas.microsoft.com/office/drawing/2014/main" xmlns="" id="{C46DDC66-D58B-400F-82BF-795384A740E7}"/>
              </a:ext>
            </a:extLst>
          </p:cNvPr>
          <p:cNvSpPr>
            <a:spLocks noGrp="1"/>
          </p:cNvSpPr>
          <p:nvPr>
            <p:ph type="body" sz="quarter" idx="17" hasCustomPrompt="1"/>
          </p:nvPr>
        </p:nvSpPr>
        <p:spPr>
          <a:xfrm>
            <a:off x="978550" y="4573149"/>
            <a:ext cx="1088363" cy="137978"/>
          </a:xfrm>
        </p:spPr>
        <p:txBody>
          <a:bodyPr anchor="t">
            <a:noAutofit/>
          </a:bodyPr>
          <a:lstStyle>
            <a:lvl1pPr marL="0" indent="0">
              <a:spcBef>
                <a:spcPts val="225"/>
              </a:spcBef>
              <a:buNone/>
              <a:defRPr sz="750">
                <a:solidFill>
                  <a:schemeClr val="bg1"/>
                </a:solidFill>
              </a:defRPr>
            </a:lvl1pPr>
            <a:lvl2pPr marL="171450" indent="0">
              <a:buNone/>
              <a:defRPr/>
            </a:lvl2pPr>
            <a:lvl3pPr marL="342900" indent="0">
              <a:buNone/>
              <a:defRPr/>
            </a:lvl3pPr>
            <a:lvl4pPr marL="514350" indent="0">
              <a:buNone/>
              <a:defRPr/>
            </a:lvl4pPr>
            <a:lvl5pPr marL="685800" indent="0">
              <a:buNone/>
              <a:defRPr/>
            </a:lvl5pPr>
          </a:lstStyle>
          <a:p>
            <a:pPr lvl="0"/>
            <a:r>
              <a:rPr lang="en-US" dirty="0"/>
              <a:t>MM/YY</a:t>
            </a:r>
          </a:p>
        </p:txBody>
      </p:sp>
    </p:spTree>
    <p:extLst>
      <p:ext uri="{BB962C8B-B14F-4D97-AF65-F5344CB8AC3E}">
        <p14:creationId xmlns:p14="http://schemas.microsoft.com/office/powerpoint/2010/main" val="377690327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7520600" y="4898400"/>
            <a:ext cx="1551963" cy="193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userDrawn="1"/>
        </p:nvSpPr>
        <p:spPr>
          <a:xfrm>
            <a:off x="145125" y="117088"/>
            <a:ext cx="8856000" cy="4919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8" name="TextBox 7"/>
          <p:cNvSpPr txBox="1"/>
          <p:nvPr userDrawn="1"/>
        </p:nvSpPr>
        <p:spPr>
          <a:xfrm>
            <a:off x="7592037" y="4840136"/>
            <a:ext cx="1409088" cy="207749"/>
          </a:xfrm>
          <a:prstGeom prst="rect">
            <a:avLst/>
          </a:prstGeom>
          <a:noFill/>
        </p:spPr>
        <p:txBody>
          <a:bodyPr wrap="square" rtlCol="0">
            <a:spAutoFit/>
          </a:bodyPr>
          <a:lstStyle/>
          <a:p>
            <a:pPr algn="r"/>
            <a:r>
              <a:rPr lang="en-US" sz="750" dirty="0">
                <a:solidFill>
                  <a:srgbClr val="FFFFFF"/>
                </a:solidFill>
                <a:cs typeface="Arial" pitchFamily="34" charset="0"/>
              </a:rPr>
              <a:t>© AstraZeneca 2021</a:t>
            </a:r>
          </a:p>
        </p:txBody>
      </p:sp>
      <p:sp>
        <p:nvSpPr>
          <p:cNvPr id="2" name="Title 1"/>
          <p:cNvSpPr>
            <a:spLocks noGrp="1"/>
          </p:cNvSpPr>
          <p:nvPr>
            <p:ph type="title"/>
          </p:nvPr>
        </p:nvSpPr>
        <p:spPr>
          <a:xfrm>
            <a:off x="357187" y="971382"/>
            <a:ext cx="8443913" cy="685800"/>
          </a:xfrm>
        </p:spPr>
        <p:txBody>
          <a:bodyPr anchor="b">
            <a:normAutofit/>
          </a:bodyPr>
          <a:lstStyle>
            <a:lvl1pPr>
              <a:defRPr sz="27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57187" y="2576715"/>
            <a:ext cx="8443913" cy="1165860"/>
          </a:xfrm>
        </p:spPr>
        <p:txBody>
          <a:bodyPr>
            <a:noAutofit/>
          </a:bodyPr>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2A87EDD-928B-42CB-AB33-238AA66A31C6}" type="datetime1">
              <a:rPr lang="en-US" smtClean="0"/>
              <a:t>6/29/2023</a:t>
            </a:fld>
            <a:endParaRPr lang="en-US"/>
          </a:p>
        </p:txBody>
      </p:sp>
      <p:sp>
        <p:nvSpPr>
          <p:cNvPr id="5" name="Footer Placeholder 4"/>
          <p:cNvSpPr>
            <a:spLocks noGrp="1"/>
          </p:cNvSpPr>
          <p:nvPr>
            <p:ph type="ftr" sz="quarter" idx="11"/>
          </p:nvPr>
        </p:nvSpPr>
        <p:spPr/>
        <p:txBody>
          <a:bodyPr/>
          <a:lstStyle/>
          <a:p>
            <a:endParaRPr lang="en-US"/>
          </a:p>
        </p:txBody>
      </p:sp>
      <p:sp>
        <p:nvSpPr>
          <p:cNvPr id="11" name="Text Placeholder 10"/>
          <p:cNvSpPr>
            <a:spLocks noGrp="1"/>
          </p:cNvSpPr>
          <p:nvPr>
            <p:ph type="body" sz="quarter" idx="12" hasCustomPrompt="1"/>
          </p:nvPr>
        </p:nvSpPr>
        <p:spPr>
          <a:xfrm>
            <a:off x="342900" y="4371975"/>
            <a:ext cx="7543800" cy="664369"/>
          </a:xfrm>
        </p:spPr>
        <p:txBody>
          <a:bodyPr anchor="b" anchorCtr="0">
            <a:normAutofit/>
          </a:bodyPr>
          <a:lstStyle>
            <a:lvl1pPr marL="0" indent="0">
              <a:spcBef>
                <a:spcPts val="225"/>
              </a:spcBef>
              <a:buNone/>
              <a:defRPr sz="750">
                <a:solidFill>
                  <a:schemeClr val="bg1"/>
                </a:solidFill>
              </a:defRPr>
            </a:lvl1pPr>
            <a:lvl2pPr marL="171450" indent="0">
              <a:buNone/>
              <a:defRPr>
                <a:solidFill>
                  <a:schemeClr val="bg1"/>
                </a:solidFill>
              </a:defRPr>
            </a:lvl2pPr>
            <a:lvl3pPr marL="342900" indent="0">
              <a:buNone/>
              <a:defRPr>
                <a:solidFill>
                  <a:schemeClr val="bg1"/>
                </a:solidFill>
              </a:defRPr>
            </a:lvl3pPr>
            <a:lvl4pPr marL="514350" indent="0">
              <a:buNone/>
              <a:defRPr>
                <a:solidFill>
                  <a:schemeClr val="bg1"/>
                </a:solidFill>
              </a:defRPr>
            </a:lvl4pPr>
            <a:lvl5pPr marL="685800" indent="0">
              <a:buNone/>
              <a:defRPr>
                <a:solidFill>
                  <a:schemeClr val="bg1"/>
                </a:solidFill>
              </a:defRPr>
            </a:lvl5pPr>
          </a:lstStyle>
          <a:p>
            <a:pPr lvl="0"/>
            <a:r>
              <a:rPr lang="en-US" dirty="0"/>
              <a:t>Reference(s)</a:t>
            </a:r>
          </a:p>
        </p:txBody>
      </p:sp>
    </p:spTree>
    <p:extLst>
      <p:ext uri="{BB962C8B-B14F-4D97-AF65-F5344CB8AC3E}">
        <p14:creationId xmlns:p14="http://schemas.microsoft.com/office/powerpoint/2010/main" val="359823059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42900" y="942976"/>
            <a:ext cx="417195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942976"/>
            <a:ext cx="417195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32AC1F25-382D-4CE5-99D2-D389D07019C3}" type="datetime1">
              <a:rPr lang="en-US" smtClean="0"/>
              <a:t>6/2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C7432E5-F8E0-41AE-9A6B-AD730338B005}" type="slidenum">
              <a:rPr lang="en-US" smtClean="0"/>
              <a:pPr/>
              <a:t>‹#›</a:t>
            </a:fld>
            <a:endParaRPr lang="en-US" dirty="0"/>
          </a:p>
        </p:txBody>
      </p:sp>
      <p:sp>
        <p:nvSpPr>
          <p:cNvPr id="9" name="Text Placeholder 8"/>
          <p:cNvSpPr>
            <a:spLocks noGrp="1"/>
          </p:cNvSpPr>
          <p:nvPr>
            <p:ph type="body" sz="quarter" idx="13" hasCustomPrompt="1"/>
          </p:nvPr>
        </p:nvSpPr>
        <p:spPr>
          <a:xfrm>
            <a:off x="342900" y="4389120"/>
            <a:ext cx="7543800" cy="754380"/>
          </a:xfrm>
        </p:spPr>
        <p:txBody>
          <a:bodyPr anchor="b">
            <a:normAutofit/>
          </a:bodyPr>
          <a:lstStyle>
            <a:lvl1pPr marL="0" indent="0">
              <a:spcBef>
                <a:spcPts val="225"/>
              </a:spcBef>
              <a:buNone/>
              <a:defRPr sz="750"/>
            </a:lvl1pPr>
            <a:lvl2pPr marL="171450" indent="0">
              <a:spcBef>
                <a:spcPts val="225"/>
              </a:spcBef>
              <a:buNone/>
              <a:defRPr/>
            </a:lvl2pPr>
            <a:lvl3pPr marL="342900" indent="0">
              <a:spcBef>
                <a:spcPts val="225"/>
              </a:spcBef>
              <a:buNone/>
              <a:defRPr/>
            </a:lvl3pPr>
            <a:lvl4pPr marL="514350" indent="0">
              <a:spcBef>
                <a:spcPts val="225"/>
              </a:spcBef>
              <a:buNone/>
              <a:defRPr/>
            </a:lvl4pPr>
            <a:lvl5pPr marL="685800" indent="0">
              <a:spcBef>
                <a:spcPts val="225"/>
              </a:spcBef>
              <a:buNone/>
              <a:defRPr/>
            </a:lvl5pPr>
          </a:lstStyle>
          <a:p>
            <a:pPr lvl="0"/>
            <a:r>
              <a:rPr lang="en-US" dirty="0"/>
              <a:t>Reference(s)</a:t>
            </a:r>
          </a:p>
        </p:txBody>
      </p:sp>
    </p:spTree>
    <p:extLst>
      <p:ext uri="{BB962C8B-B14F-4D97-AF65-F5344CB8AC3E}">
        <p14:creationId xmlns:p14="http://schemas.microsoft.com/office/powerpoint/2010/main" val="97145367"/>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57700" y="171451"/>
            <a:ext cx="8443400" cy="600075"/>
          </a:xfrm>
        </p:spPr>
        <p:txBody>
          <a:bodyPr/>
          <a:lstStyle/>
          <a:p>
            <a:r>
              <a:rPr lang="en-US"/>
              <a:t>Click to edit Master title style</a:t>
            </a:r>
            <a:endParaRPr lang="en-US" dirty="0"/>
          </a:p>
        </p:txBody>
      </p:sp>
      <p:sp>
        <p:nvSpPr>
          <p:cNvPr id="3" name="Text Placeholder 2"/>
          <p:cNvSpPr>
            <a:spLocks noGrp="1"/>
          </p:cNvSpPr>
          <p:nvPr>
            <p:ph type="body" idx="1"/>
          </p:nvPr>
        </p:nvSpPr>
        <p:spPr>
          <a:xfrm>
            <a:off x="357700" y="956074"/>
            <a:ext cx="4140482" cy="411480"/>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357700" y="1367554"/>
            <a:ext cx="4140482" cy="300442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150" y="956074"/>
            <a:ext cx="4171949" cy="411480"/>
          </a:xfrm>
        </p:spPr>
        <p:txBody>
          <a:bodyPr anchor="b">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29150" y="1367554"/>
            <a:ext cx="4171949" cy="30044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BE13010-457D-497C-BC1F-8982A0CFCC8F}" type="datetime1">
              <a:rPr lang="en-US" smtClean="0"/>
              <a:t>6/2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C7432E5-F8E0-41AE-9A6B-AD730338B005}" type="slidenum">
              <a:rPr lang="en-US" smtClean="0"/>
              <a:pPr/>
              <a:t>‹#›</a:t>
            </a:fld>
            <a:endParaRPr lang="en-US" dirty="0"/>
          </a:p>
        </p:txBody>
      </p:sp>
      <p:sp>
        <p:nvSpPr>
          <p:cNvPr id="11" name="Text Placeholder 10"/>
          <p:cNvSpPr>
            <a:spLocks noGrp="1"/>
          </p:cNvSpPr>
          <p:nvPr>
            <p:ph type="body" sz="quarter" idx="13" hasCustomPrompt="1"/>
          </p:nvPr>
        </p:nvSpPr>
        <p:spPr>
          <a:xfrm>
            <a:off x="357699" y="4389120"/>
            <a:ext cx="7529000" cy="754380"/>
          </a:xfrm>
        </p:spPr>
        <p:txBody>
          <a:bodyPr anchor="b">
            <a:noAutofit/>
          </a:bodyPr>
          <a:lstStyle>
            <a:lvl1pPr marL="0" indent="0">
              <a:spcBef>
                <a:spcPts val="225"/>
              </a:spcBef>
              <a:buNone/>
              <a:defRPr sz="750"/>
            </a:lvl1pPr>
            <a:lvl2pPr marL="171450" indent="0">
              <a:spcBef>
                <a:spcPts val="225"/>
              </a:spcBef>
              <a:buNone/>
              <a:defRPr sz="750"/>
            </a:lvl2pPr>
            <a:lvl3pPr marL="342900" indent="0">
              <a:spcBef>
                <a:spcPts val="225"/>
              </a:spcBef>
              <a:buNone/>
              <a:defRPr sz="750"/>
            </a:lvl3pPr>
            <a:lvl4pPr marL="514350" indent="0">
              <a:spcBef>
                <a:spcPts val="225"/>
              </a:spcBef>
              <a:buNone/>
              <a:defRPr sz="750"/>
            </a:lvl4pPr>
            <a:lvl5pPr marL="685800" indent="0">
              <a:spcBef>
                <a:spcPts val="225"/>
              </a:spcBef>
              <a:buNone/>
              <a:defRPr sz="750"/>
            </a:lvl5pPr>
          </a:lstStyle>
          <a:p>
            <a:pPr lvl="0"/>
            <a:r>
              <a:rPr lang="en-US" dirty="0"/>
              <a:t>Reference(s)</a:t>
            </a:r>
          </a:p>
        </p:txBody>
      </p:sp>
    </p:spTree>
    <p:extLst>
      <p:ext uri="{BB962C8B-B14F-4D97-AF65-F5344CB8AC3E}">
        <p14:creationId xmlns:p14="http://schemas.microsoft.com/office/powerpoint/2010/main" val="1443529874"/>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42900" y="963098"/>
            <a:ext cx="8458200" cy="3075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0F1DF4-9EBB-415C-A0BA-652D75990D66}" type="datetime1">
              <a:rPr lang="en-US" smtClean="0"/>
              <a:t>6/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9120"/>
            <a:ext cx="7543800" cy="754380"/>
          </a:xfrm>
        </p:spPr>
        <p:txBody>
          <a:bodyPr anchor="b">
            <a:normAutofit/>
          </a:bodyPr>
          <a:lstStyle>
            <a:lvl1pPr marL="0" indent="0">
              <a:spcBef>
                <a:spcPts val="225"/>
              </a:spcBef>
              <a:buNone/>
              <a:defRPr sz="750">
                <a:solidFill>
                  <a:schemeClr val="tx1"/>
                </a:solidFill>
              </a:defRPr>
            </a:lvl1pPr>
            <a:lvl2pPr marL="171450" indent="0">
              <a:buNone/>
              <a:defRPr>
                <a:solidFill>
                  <a:schemeClr val="tx1"/>
                </a:solidFill>
              </a:defRPr>
            </a:lvl2pPr>
            <a:lvl3pPr marL="342900" indent="0">
              <a:buNone/>
              <a:defRPr>
                <a:solidFill>
                  <a:schemeClr val="tx1"/>
                </a:solidFill>
              </a:defRPr>
            </a:lvl3pPr>
            <a:lvl4pPr marL="514350" indent="0">
              <a:buNone/>
              <a:defRPr>
                <a:solidFill>
                  <a:schemeClr val="tx1"/>
                </a:solidFill>
              </a:defRPr>
            </a:lvl4pPr>
            <a:lvl5pPr marL="685800" indent="0">
              <a:buNone/>
              <a:defRPr>
                <a:solidFill>
                  <a:schemeClr val="tx1"/>
                </a:solidFill>
              </a:defRPr>
            </a:lvl5pPr>
          </a:lstStyle>
          <a:p>
            <a:pPr lvl="0"/>
            <a:r>
              <a:rPr lang="en-US" dirty="0"/>
              <a:t>Reference(s)</a:t>
            </a:r>
          </a:p>
        </p:txBody>
      </p:sp>
      <p:sp>
        <p:nvSpPr>
          <p:cNvPr id="9" name="Text Placeholder 8"/>
          <p:cNvSpPr>
            <a:spLocks noGrp="1"/>
          </p:cNvSpPr>
          <p:nvPr>
            <p:ph type="body" sz="quarter" idx="14" hasCustomPrompt="1"/>
          </p:nvPr>
        </p:nvSpPr>
        <p:spPr>
          <a:xfrm>
            <a:off x="979716" y="4042770"/>
            <a:ext cx="7200900" cy="309021"/>
          </a:xfrm>
          <a:prstGeom prst="roundRect">
            <a:avLst/>
          </a:prstGeom>
          <a:solidFill>
            <a:schemeClr val="accent2"/>
          </a:solidFill>
        </p:spPr>
        <p:txBody>
          <a:bodyPr anchor="b" anchorCtr="0">
            <a:spAutoFit/>
          </a:bodyPr>
          <a:lstStyle>
            <a:lvl1pPr marL="0" indent="0" algn="ctr">
              <a:buNone/>
              <a:defRPr sz="1350" b="1">
                <a:solidFill>
                  <a:schemeClr val="bg1"/>
                </a:solidFill>
              </a:defRPr>
            </a:lvl1pPr>
            <a:lvl2pPr marL="171450" indent="0">
              <a:buNone/>
              <a:defRPr/>
            </a:lvl2pPr>
            <a:lvl3pPr marL="342900" indent="0">
              <a:buNone/>
              <a:defRPr/>
            </a:lvl3pPr>
            <a:lvl4pPr marL="514350" indent="0">
              <a:buNone/>
              <a:defRPr/>
            </a:lvl4pPr>
            <a:lvl5pPr marL="685800" indent="0">
              <a:buNone/>
              <a:defRPr/>
            </a:lvl5pPr>
          </a:lstStyle>
          <a:p>
            <a:pPr lvl="0"/>
            <a:r>
              <a:rPr lang="en-US" dirty="0"/>
              <a:t>Click to edit caption</a:t>
            </a:r>
          </a:p>
        </p:txBody>
      </p:sp>
    </p:spTree>
    <p:extLst>
      <p:ext uri="{BB962C8B-B14F-4D97-AF65-F5344CB8AC3E}">
        <p14:creationId xmlns:p14="http://schemas.microsoft.com/office/powerpoint/2010/main" val="204572280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CC0A5CC-DF79-4C1F-BC9C-A9BAE87DA578}" type="datetime1">
              <a:rPr lang="en-US" smtClean="0"/>
              <a:t>6/2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71975"/>
            <a:ext cx="7543800" cy="771525"/>
          </a:xfrm>
        </p:spPr>
        <p:txBody>
          <a:bodyPr anchor="b">
            <a:noAutofit/>
          </a:bodyPr>
          <a:lstStyle>
            <a:lvl1pPr marL="0" indent="0">
              <a:spcBef>
                <a:spcPts val="225"/>
              </a:spcBef>
              <a:buNone/>
              <a:defRPr sz="750"/>
            </a:lvl1pPr>
            <a:lvl2pPr marL="171450" indent="0">
              <a:spcBef>
                <a:spcPts val="225"/>
              </a:spcBef>
              <a:buNone/>
              <a:defRPr sz="750"/>
            </a:lvl2pPr>
            <a:lvl3pPr marL="342900" indent="0">
              <a:spcBef>
                <a:spcPts val="225"/>
              </a:spcBef>
              <a:buNone/>
              <a:defRPr sz="750"/>
            </a:lvl3pPr>
            <a:lvl4pPr marL="514350" indent="0">
              <a:spcBef>
                <a:spcPts val="225"/>
              </a:spcBef>
              <a:buNone/>
              <a:defRPr sz="750"/>
            </a:lvl4pPr>
            <a:lvl5pPr marL="685800" indent="0">
              <a:spcBef>
                <a:spcPts val="225"/>
              </a:spcBef>
              <a:buNone/>
              <a:defRPr sz="750"/>
            </a:lvl5pPr>
          </a:lstStyle>
          <a:p>
            <a:pPr lvl="0"/>
            <a:r>
              <a:rPr lang="en-US" dirty="0"/>
              <a:t>Reference(s)</a:t>
            </a:r>
          </a:p>
        </p:txBody>
      </p:sp>
      <p:sp>
        <p:nvSpPr>
          <p:cNvPr id="8" name="Text Placeholder 7"/>
          <p:cNvSpPr>
            <a:spLocks noGrp="1"/>
          </p:cNvSpPr>
          <p:nvPr>
            <p:ph type="body" sz="quarter" idx="14" hasCustomPrompt="1"/>
          </p:nvPr>
        </p:nvSpPr>
        <p:spPr>
          <a:xfrm>
            <a:off x="974274" y="4046001"/>
            <a:ext cx="7200900" cy="309021"/>
          </a:xfrm>
          <a:prstGeom prst="roundRect">
            <a:avLst/>
          </a:prstGeom>
          <a:solidFill>
            <a:schemeClr val="accent2"/>
          </a:solidFill>
        </p:spPr>
        <p:txBody>
          <a:bodyPr anchor="b" anchorCtr="0">
            <a:spAutoFit/>
          </a:bodyPr>
          <a:lstStyle>
            <a:lvl1pPr marL="0" indent="0" algn="ctr">
              <a:buNone/>
              <a:defRPr sz="1350" b="1">
                <a:solidFill>
                  <a:schemeClr val="bg1"/>
                </a:solidFill>
              </a:defRPr>
            </a:lvl1pPr>
            <a:lvl2pPr marL="171450" indent="0" algn="ctr">
              <a:buNone/>
              <a:defRPr b="1">
                <a:solidFill>
                  <a:schemeClr val="bg1"/>
                </a:solidFill>
              </a:defRPr>
            </a:lvl2pPr>
            <a:lvl3pPr marL="342900" indent="0" algn="ctr">
              <a:buNone/>
              <a:defRPr b="1">
                <a:solidFill>
                  <a:schemeClr val="bg1"/>
                </a:solidFill>
              </a:defRPr>
            </a:lvl3pPr>
            <a:lvl4pPr marL="514350" indent="0" algn="ctr">
              <a:buNone/>
              <a:defRPr b="1">
                <a:solidFill>
                  <a:schemeClr val="bg1"/>
                </a:solidFill>
              </a:defRPr>
            </a:lvl4pPr>
            <a:lvl5pPr marL="685800" indent="0" algn="ctr">
              <a:buNone/>
              <a:defRPr b="1">
                <a:solidFill>
                  <a:schemeClr val="bg1"/>
                </a:solidFill>
              </a:defRPr>
            </a:lvl5pPr>
          </a:lstStyle>
          <a:p>
            <a:pPr lvl="0"/>
            <a:r>
              <a:rPr lang="en-US" dirty="0"/>
              <a:t>Click to edit caption</a:t>
            </a:r>
          </a:p>
        </p:txBody>
      </p:sp>
    </p:spTree>
    <p:extLst>
      <p:ext uri="{BB962C8B-B14F-4D97-AF65-F5344CB8AC3E}">
        <p14:creationId xmlns:p14="http://schemas.microsoft.com/office/powerpoint/2010/main" val="4151548047"/>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ent No Lin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D7E3D9C-0853-494F-954A-AEC44A66CB01}" type="datetime1">
              <a:rPr lang="en-US" smtClean="0"/>
              <a:t>6/2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42900" y="4389120"/>
            <a:ext cx="7543800" cy="754380"/>
          </a:xfrm>
        </p:spPr>
        <p:txBody>
          <a:bodyPr anchor="b">
            <a:normAutofit/>
          </a:bodyPr>
          <a:lstStyle>
            <a:lvl1pPr marL="0" indent="0">
              <a:spcBef>
                <a:spcPts val="225"/>
              </a:spcBef>
              <a:buNone/>
              <a:defRPr sz="750">
                <a:solidFill>
                  <a:schemeClr val="tx1"/>
                </a:solidFill>
              </a:defRPr>
            </a:lvl1pPr>
            <a:lvl2pPr marL="171450" indent="0">
              <a:buNone/>
              <a:defRPr>
                <a:solidFill>
                  <a:schemeClr val="tx1"/>
                </a:solidFill>
              </a:defRPr>
            </a:lvl2pPr>
            <a:lvl3pPr marL="342900" indent="0">
              <a:buNone/>
              <a:defRPr>
                <a:solidFill>
                  <a:schemeClr val="tx1"/>
                </a:solidFill>
              </a:defRPr>
            </a:lvl3pPr>
            <a:lvl4pPr marL="514350" indent="0">
              <a:buNone/>
              <a:defRPr>
                <a:solidFill>
                  <a:schemeClr val="tx1"/>
                </a:solidFill>
              </a:defRPr>
            </a:lvl4pPr>
            <a:lvl5pPr marL="685800" indent="0">
              <a:buNone/>
              <a:defRPr>
                <a:solidFill>
                  <a:schemeClr val="tx1"/>
                </a:solidFill>
              </a:defRPr>
            </a:lvl5pPr>
          </a:lstStyle>
          <a:p>
            <a:pPr lvl="0"/>
            <a:r>
              <a:rPr lang="en-US" dirty="0"/>
              <a:t>Reference(s)</a:t>
            </a:r>
          </a:p>
        </p:txBody>
      </p:sp>
      <p:sp>
        <p:nvSpPr>
          <p:cNvPr id="9" name="Rectangle 8"/>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p:cNvSpPr>
            <a:spLocks noGrp="1"/>
          </p:cNvSpPr>
          <p:nvPr>
            <p:ph idx="1"/>
          </p:nvPr>
        </p:nvSpPr>
        <p:spPr>
          <a:xfrm>
            <a:off x="342900" y="771526"/>
            <a:ext cx="8458200" cy="360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553346"/>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Rectangle 7"/>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6B50EDE-1F01-4A88-89D9-A077A040CD42}" type="datetime1">
              <a:rPr lang="en-US" smtClean="0"/>
              <a:t>6/2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342900" y="4389120"/>
            <a:ext cx="7543800" cy="754380"/>
          </a:xfrm>
        </p:spPr>
        <p:txBody>
          <a:bodyPr anchor="b">
            <a:noAutofit/>
          </a:bodyPr>
          <a:lstStyle>
            <a:lvl1pPr marL="0" indent="0">
              <a:spcBef>
                <a:spcPts val="225"/>
              </a:spcBef>
              <a:buNone/>
              <a:defRPr sz="750"/>
            </a:lvl1pPr>
            <a:lvl2pPr marL="171450" indent="0">
              <a:spcBef>
                <a:spcPts val="225"/>
              </a:spcBef>
              <a:buNone/>
              <a:defRPr sz="750"/>
            </a:lvl2pPr>
            <a:lvl3pPr marL="342900" indent="0">
              <a:spcBef>
                <a:spcPts val="225"/>
              </a:spcBef>
              <a:buNone/>
              <a:defRPr sz="750"/>
            </a:lvl3pPr>
            <a:lvl4pPr marL="514350" indent="0">
              <a:spcBef>
                <a:spcPts val="225"/>
              </a:spcBef>
              <a:buNone/>
              <a:defRPr sz="750"/>
            </a:lvl4pPr>
            <a:lvl5pPr marL="685800" indent="0">
              <a:spcBef>
                <a:spcPts val="225"/>
              </a:spcBef>
              <a:buNone/>
              <a:defRPr sz="750"/>
            </a:lvl5pPr>
          </a:lstStyle>
          <a:p>
            <a:pPr lvl="0"/>
            <a:r>
              <a:rPr lang="en-US" dirty="0"/>
              <a:t>Reference(s)</a:t>
            </a:r>
          </a:p>
        </p:txBody>
      </p:sp>
    </p:spTree>
    <p:extLst>
      <p:ext uri="{BB962C8B-B14F-4D97-AF65-F5344CB8AC3E}">
        <p14:creationId xmlns:p14="http://schemas.microsoft.com/office/powerpoint/2010/main" val="156731355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xt only (Gold Log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51A0A34-956B-C947-BD49-B24DA3ADD6F0}" type="datetime4">
              <a:rPr lang="en-GB" smtClean="0"/>
              <a:t>29 June 2023</a:t>
            </a:fld>
            <a:endParaRPr lang="en-GB" dirty="0"/>
          </a:p>
        </p:txBody>
      </p:sp>
      <p:sp>
        <p:nvSpPr>
          <p:cNvPr id="4" name="Footer Placeholder 3"/>
          <p:cNvSpPr>
            <a:spLocks noGrp="1"/>
          </p:cNvSpPr>
          <p:nvPr>
            <p:ph type="ftr" sz="quarter" idx="11"/>
          </p:nvPr>
        </p:nvSpPr>
        <p:spPr/>
        <p:txBody>
          <a:bodyPr/>
          <a:lstStyle/>
          <a:p>
            <a:r>
              <a:rPr lang="en-GB" dirty="0"/>
              <a:t>Name</a:t>
            </a:r>
          </a:p>
        </p:txBody>
      </p:sp>
      <p:sp>
        <p:nvSpPr>
          <p:cNvPr id="7" name="Title 8">
            <a:extLst>
              <a:ext uri="{FF2B5EF4-FFF2-40B4-BE49-F238E27FC236}">
                <a16:creationId xmlns:a16="http://schemas.microsoft.com/office/drawing/2014/main" xmlns="" id="{7CC1A998-71D4-614D-B7C5-3333D1391988}"/>
              </a:ext>
            </a:extLst>
          </p:cNvPr>
          <p:cNvSpPr>
            <a:spLocks noGrp="1"/>
          </p:cNvSpPr>
          <p:nvPr>
            <p:ph type="title"/>
          </p:nvPr>
        </p:nvSpPr>
        <p:spPr>
          <a:xfrm>
            <a:off x="239128" y="767013"/>
            <a:ext cx="8288129" cy="485525"/>
          </a:xfrm>
        </p:spPr>
        <p:txBody>
          <a:bodyPr anchor="b"/>
          <a:lstStyle/>
          <a:p>
            <a:r>
              <a:rPr lang="en-US"/>
              <a:t>Click to edit Master title style</a:t>
            </a:r>
            <a:endParaRPr lang="en-US" dirty="0"/>
          </a:p>
        </p:txBody>
      </p:sp>
    </p:spTree>
    <p:extLst>
      <p:ext uri="{BB962C8B-B14F-4D97-AF65-F5344CB8AC3E}">
        <p14:creationId xmlns:p14="http://schemas.microsoft.com/office/powerpoint/2010/main" val="86132220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959C31-8071-4657-BA84-2004C5131029}" type="datetime1">
              <a:rPr lang="en-US" smtClean="0"/>
              <a:t>6/2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dirty="0"/>
          </a:p>
        </p:txBody>
      </p:sp>
      <p:sp>
        <p:nvSpPr>
          <p:cNvPr id="6" name="Text Placeholder 5"/>
          <p:cNvSpPr>
            <a:spLocks noGrp="1"/>
          </p:cNvSpPr>
          <p:nvPr>
            <p:ph type="body" sz="quarter" idx="13" hasCustomPrompt="1"/>
          </p:nvPr>
        </p:nvSpPr>
        <p:spPr>
          <a:xfrm>
            <a:off x="364671" y="4389120"/>
            <a:ext cx="7543799" cy="754380"/>
          </a:xfrm>
        </p:spPr>
        <p:txBody>
          <a:bodyPr anchor="b">
            <a:noAutofit/>
          </a:bodyPr>
          <a:lstStyle>
            <a:lvl1pPr marL="0" indent="0">
              <a:spcBef>
                <a:spcPts val="225"/>
              </a:spcBef>
              <a:buNone/>
              <a:defRPr sz="750"/>
            </a:lvl1pPr>
            <a:lvl2pPr marL="171450" indent="0">
              <a:spcBef>
                <a:spcPts val="225"/>
              </a:spcBef>
              <a:buNone/>
              <a:defRPr sz="750"/>
            </a:lvl2pPr>
            <a:lvl3pPr marL="342900" indent="0">
              <a:spcBef>
                <a:spcPts val="225"/>
              </a:spcBef>
              <a:buNone/>
              <a:defRPr sz="750"/>
            </a:lvl3pPr>
            <a:lvl4pPr marL="514350" indent="0">
              <a:spcBef>
                <a:spcPts val="225"/>
              </a:spcBef>
              <a:buNone/>
              <a:defRPr sz="750"/>
            </a:lvl4pPr>
            <a:lvl5pPr marL="685800" indent="0">
              <a:spcBef>
                <a:spcPts val="225"/>
              </a:spcBef>
              <a:buNone/>
              <a:defRPr sz="750"/>
            </a:lvl5pPr>
          </a:lstStyle>
          <a:p>
            <a:pPr lvl="0"/>
            <a:r>
              <a:rPr lang="en-US" dirty="0"/>
              <a:t>Reference(s)</a:t>
            </a:r>
          </a:p>
        </p:txBody>
      </p:sp>
      <p:sp>
        <p:nvSpPr>
          <p:cNvPr id="7" name="Rectangle 6"/>
          <p:cNvSpPr/>
          <p:nvPr userDrawn="1"/>
        </p:nvSpPr>
        <p:spPr>
          <a:xfrm>
            <a:off x="145126" y="771525"/>
            <a:ext cx="8998875" cy="187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64763720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CE1287E9-EBEB-4648-982B-10337D55F8BE}"/>
              </a:ext>
            </a:extLst>
          </p:cNvPr>
          <p:cNvSpPr>
            <a:spLocks noGrp="1"/>
          </p:cNvSpPr>
          <p:nvPr>
            <p:ph type="dt" sz="half" idx="10"/>
          </p:nvPr>
        </p:nvSpPr>
        <p:spPr/>
        <p:txBody>
          <a:bodyPr/>
          <a:lstStyle/>
          <a:p>
            <a:fld id="{E2EF650A-C38E-40FB-BCF6-2303E9A7CC69}" type="datetime1">
              <a:rPr lang="en-US" smtClean="0"/>
              <a:t>6/29/2023</a:t>
            </a:fld>
            <a:endParaRPr lang="en-US"/>
          </a:p>
        </p:txBody>
      </p:sp>
      <p:sp>
        <p:nvSpPr>
          <p:cNvPr id="4" name="Footer Placeholder 3">
            <a:extLst>
              <a:ext uri="{FF2B5EF4-FFF2-40B4-BE49-F238E27FC236}">
                <a16:creationId xmlns:a16="http://schemas.microsoft.com/office/drawing/2014/main" xmlns="" id="{6D9B78B9-0DDE-46C9-8ACD-9F2A63B731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1E89C07F-8571-41D4-9A89-601A8B9C53DC}"/>
              </a:ext>
            </a:extLst>
          </p:cNvPr>
          <p:cNvSpPr>
            <a:spLocks noGrp="1"/>
          </p:cNvSpPr>
          <p:nvPr>
            <p:ph type="sldNum" sz="quarter" idx="12"/>
          </p:nvPr>
        </p:nvSpPr>
        <p:spPr/>
        <p:txBody>
          <a:bodyPr/>
          <a:lstStyle/>
          <a:p>
            <a:fld id="{CC7432E5-F8E0-41AE-9A6B-AD730338B005}" type="slidenum">
              <a:rPr lang="en-US" smtClean="0"/>
              <a:pPr/>
              <a:t>‹#›</a:t>
            </a:fld>
            <a:endParaRPr lang="en-US" dirty="0"/>
          </a:p>
        </p:txBody>
      </p:sp>
      <p:sp>
        <p:nvSpPr>
          <p:cNvPr id="7" name="Content Placeholder 6">
            <a:extLst>
              <a:ext uri="{FF2B5EF4-FFF2-40B4-BE49-F238E27FC236}">
                <a16:creationId xmlns:a16="http://schemas.microsoft.com/office/drawing/2014/main" xmlns="" id="{065F5103-6F75-4D29-92B7-D96304B0DF91}"/>
              </a:ext>
            </a:extLst>
          </p:cNvPr>
          <p:cNvSpPr>
            <a:spLocks noGrp="1"/>
          </p:cNvSpPr>
          <p:nvPr>
            <p:ph sz="quarter" idx="13"/>
          </p:nvPr>
        </p:nvSpPr>
        <p:spPr>
          <a:xfrm>
            <a:off x="342900" y="819319"/>
            <a:ext cx="8458200" cy="35526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2471420"/>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US Cover Sheet">
    <p:spTree>
      <p:nvGrpSpPr>
        <p:cNvPr id="1" name=""/>
        <p:cNvGrpSpPr/>
        <p:nvPr/>
      </p:nvGrpSpPr>
      <p:grpSpPr>
        <a:xfrm>
          <a:off x="0" y="0"/>
          <a:ext cx="0" cy="0"/>
          <a:chOff x="0" y="0"/>
          <a:chExt cx="0" cy="0"/>
        </a:xfrm>
      </p:grpSpPr>
      <p:sp>
        <p:nvSpPr>
          <p:cNvPr id="79" name="TextBox 78">
            <a:extLst>
              <a:ext uri="{FF2B5EF4-FFF2-40B4-BE49-F238E27FC236}">
                <a16:creationId xmlns:a16="http://schemas.microsoft.com/office/drawing/2014/main" xmlns="" id="{86D12817-4053-40BC-82BB-7AF5EE51AEBA}"/>
              </a:ext>
            </a:extLst>
          </p:cNvPr>
          <p:cNvSpPr txBox="1"/>
          <p:nvPr userDrawn="1"/>
        </p:nvSpPr>
        <p:spPr>
          <a:xfrm>
            <a:off x="2170219" y="4724520"/>
            <a:ext cx="4803560" cy="369332"/>
          </a:xfrm>
          <a:prstGeom prst="rect">
            <a:avLst/>
          </a:prstGeom>
          <a:noFill/>
          <a:ln>
            <a:noFill/>
          </a:ln>
        </p:spPr>
        <p:txBody>
          <a:bodyPr wrap="square" rtlCol="0" anchor="ctr">
            <a:spAutoFit/>
          </a:bodyPr>
          <a:lstStyle/>
          <a:p>
            <a:pPr marL="0" indent="0" algn="ctr">
              <a:buClr>
                <a:schemeClr val="accent1"/>
              </a:buClr>
              <a:buFont typeface="Arial" panose="020B0604020202020204" pitchFamily="34" charset="0"/>
              <a:buNone/>
            </a:pPr>
            <a:r>
              <a:rPr lang="en-US" sz="1050" b="1" dirty="0">
                <a:solidFill>
                  <a:schemeClr val="tx1"/>
                </a:solidFill>
              </a:rPr>
              <a:t>This Material is for Use by AstraZeneca Medical Personnel Only</a:t>
            </a:r>
          </a:p>
          <a:p>
            <a:pPr marL="0" indent="0" algn="ctr">
              <a:buClr>
                <a:schemeClr val="accent1"/>
              </a:buClr>
              <a:buFont typeface="Arial" panose="020B0604020202020204" pitchFamily="34" charset="0"/>
              <a:buNone/>
            </a:pPr>
            <a:r>
              <a:rPr lang="en-US" sz="750" b="0" dirty="0">
                <a:solidFill>
                  <a:schemeClr val="tx1"/>
                </a:solidFill>
              </a:rPr>
              <a:t>Speaker notes are for internal use only and are not to be shown or disseminated outside of AstraZeneca</a:t>
            </a:r>
          </a:p>
        </p:txBody>
      </p:sp>
      <p:graphicFrame>
        <p:nvGraphicFramePr>
          <p:cNvPr id="50" name="Table 49">
            <a:extLst>
              <a:ext uri="{FF2B5EF4-FFF2-40B4-BE49-F238E27FC236}">
                <a16:creationId xmlns:a16="http://schemas.microsoft.com/office/drawing/2014/main" xmlns="" id="{83D05D04-05CE-47AA-8F7B-B08C33B32C3F}"/>
              </a:ext>
            </a:extLst>
          </p:cNvPr>
          <p:cNvGraphicFramePr>
            <a:graphicFrameLocks noGrp="1"/>
          </p:cNvGraphicFramePr>
          <p:nvPr userDrawn="1">
            <p:extLst>
              <p:ext uri="{D42A27DB-BD31-4B8C-83A1-F6EECF244321}">
                <p14:modId xmlns:p14="http://schemas.microsoft.com/office/powerpoint/2010/main" val="2743206255"/>
              </p:ext>
            </p:extLst>
          </p:nvPr>
        </p:nvGraphicFramePr>
        <p:xfrm>
          <a:off x="846600" y="2682835"/>
          <a:ext cx="7462340" cy="573527"/>
        </p:xfrm>
        <a:graphic>
          <a:graphicData uri="http://schemas.openxmlformats.org/drawingml/2006/table">
            <a:tbl>
              <a:tblPr>
                <a:tableStyleId>{21E4AEA4-8DFA-4A89-87EB-49C32662AFE0}</a:tableStyleId>
              </a:tblPr>
              <a:tblGrid>
                <a:gridCol w="2198961">
                  <a:extLst>
                    <a:ext uri="{9D8B030D-6E8A-4147-A177-3AD203B41FA5}">
                      <a16:colId xmlns:a16="http://schemas.microsoft.com/office/drawing/2014/main" xmlns="" val="3458750997"/>
                    </a:ext>
                  </a:extLst>
                </a:gridCol>
                <a:gridCol w="2775932">
                  <a:extLst>
                    <a:ext uri="{9D8B030D-6E8A-4147-A177-3AD203B41FA5}">
                      <a16:colId xmlns:a16="http://schemas.microsoft.com/office/drawing/2014/main" xmlns="" val="4071395440"/>
                    </a:ext>
                  </a:extLst>
                </a:gridCol>
                <a:gridCol w="2487446">
                  <a:extLst>
                    <a:ext uri="{9D8B030D-6E8A-4147-A177-3AD203B41FA5}">
                      <a16:colId xmlns:a16="http://schemas.microsoft.com/office/drawing/2014/main" xmlns="" val="668771908"/>
                    </a:ext>
                  </a:extLst>
                </a:gridCol>
              </a:tblGrid>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153252475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152630277"/>
                  </a:ext>
                </a:extLst>
              </a:tr>
            </a:tbl>
          </a:graphicData>
        </a:graphic>
      </p:graphicFrame>
      <p:graphicFrame>
        <p:nvGraphicFramePr>
          <p:cNvPr id="5" name="Table 4">
            <a:extLst>
              <a:ext uri="{FF2B5EF4-FFF2-40B4-BE49-F238E27FC236}">
                <a16:creationId xmlns:a16="http://schemas.microsoft.com/office/drawing/2014/main" xmlns="" id="{3C8DCB22-4BDC-4256-9886-290008A41E58}"/>
              </a:ext>
            </a:extLst>
          </p:cNvPr>
          <p:cNvGraphicFramePr>
            <a:graphicFrameLocks noGrp="1"/>
          </p:cNvGraphicFramePr>
          <p:nvPr userDrawn="1">
            <p:extLst>
              <p:ext uri="{D42A27DB-BD31-4B8C-83A1-F6EECF244321}">
                <p14:modId xmlns:p14="http://schemas.microsoft.com/office/powerpoint/2010/main" val="3094428463"/>
              </p:ext>
            </p:extLst>
          </p:nvPr>
        </p:nvGraphicFramePr>
        <p:xfrm>
          <a:off x="846600" y="779602"/>
          <a:ext cx="7462340" cy="1720580"/>
        </p:xfrm>
        <a:graphic>
          <a:graphicData uri="http://schemas.openxmlformats.org/drawingml/2006/table">
            <a:tbl>
              <a:tblPr>
                <a:tableStyleId>{21E4AEA4-8DFA-4A89-87EB-49C32662AFE0}</a:tableStyleId>
              </a:tblPr>
              <a:tblGrid>
                <a:gridCol w="2198961">
                  <a:extLst>
                    <a:ext uri="{9D8B030D-6E8A-4147-A177-3AD203B41FA5}">
                      <a16:colId xmlns:a16="http://schemas.microsoft.com/office/drawing/2014/main" xmlns="" val="3458750997"/>
                    </a:ext>
                  </a:extLst>
                </a:gridCol>
                <a:gridCol w="2775932">
                  <a:extLst>
                    <a:ext uri="{9D8B030D-6E8A-4147-A177-3AD203B41FA5}">
                      <a16:colId xmlns:a16="http://schemas.microsoft.com/office/drawing/2014/main" xmlns="" val="4071395440"/>
                    </a:ext>
                  </a:extLst>
                </a:gridCol>
                <a:gridCol w="2487446">
                  <a:extLst>
                    <a:ext uri="{9D8B030D-6E8A-4147-A177-3AD203B41FA5}">
                      <a16:colId xmlns:a16="http://schemas.microsoft.com/office/drawing/2014/main" xmlns="" val="668771908"/>
                    </a:ext>
                  </a:extLst>
                </a:gridCol>
              </a:tblGrid>
              <a:tr h="286763">
                <a:tc>
                  <a:txBody>
                    <a:bodyPr/>
                    <a:lstStyle/>
                    <a:p>
                      <a:endParaRPr lang="en-US" sz="1000" dirty="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102342139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336883497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051146587"/>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2061963846"/>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153252475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152630277"/>
                  </a:ext>
                </a:extLst>
              </a:tr>
            </a:tbl>
          </a:graphicData>
        </a:graphic>
      </p:graphicFrame>
      <p:sp>
        <p:nvSpPr>
          <p:cNvPr id="2" name="Date Placeholder 1"/>
          <p:cNvSpPr>
            <a:spLocks noGrp="1"/>
          </p:cNvSpPr>
          <p:nvPr>
            <p:ph type="dt" sz="half" idx="10"/>
          </p:nvPr>
        </p:nvSpPr>
        <p:spPr/>
        <p:txBody>
          <a:bodyPr/>
          <a:lstStyle/>
          <a:p>
            <a:fld id="{4B959C31-8071-4657-BA84-2004C5131029}" type="datetime1">
              <a:rPr lang="en-US" smtClean="0"/>
              <a:t>6/2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Box 7">
            <a:extLst>
              <a:ext uri="{FF2B5EF4-FFF2-40B4-BE49-F238E27FC236}">
                <a16:creationId xmlns:a16="http://schemas.microsoft.com/office/drawing/2014/main" xmlns="" id="{FF897A55-CB79-4D07-BEF1-54B1E974D126}"/>
              </a:ext>
            </a:extLst>
          </p:cNvPr>
          <p:cNvSpPr txBox="1"/>
          <p:nvPr userDrawn="1"/>
        </p:nvSpPr>
        <p:spPr>
          <a:xfrm>
            <a:off x="7620000" y="4935752"/>
            <a:ext cx="1524000" cy="207749"/>
          </a:xfrm>
          <a:prstGeom prst="rect">
            <a:avLst/>
          </a:prstGeom>
          <a:noFill/>
        </p:spPr>
        <p:txBody>
          <a:bodyPr wrap="square" rtlCol="0" anchor="b" anchorCtr="0">
            <a:spAutoFit/>
          </a:bodyPr>
          <a:lstStyle/>
          <a:p>
            <a:pPr algn="r"/>
            <a:r>
              <a:rPr lang="en-US" sz="750" b="0" baseline="0" dirty="0">
                <a:solidFill>
                  <a:schemeClr val="tx1"/>
                </a:solidFill>
                <a:latin typeface="Arial" pitchFamily="34" charset="0"/>
                <a:cs typeface="Arial" pitchFamily="34" charset="0"/>
              </a:rPr>
              <a:t>© AstraZeneca 2021</a:t>
            </a:r>
          </a:p>
        </p:txBody>
      </p:sp>
      <p:sp>
        <p:nvSpPr>
          <p:cNvPr id="9" name="Text Placeholder 8">
            <a:extLst>
              <a:ext uri="{FF2B5EF4-FFF2-40B4-BE49-F238E27FC236}">
                <a16:creationId xmlns:a16="http://schemas.microsoft.com/office/drawing/2014/main" xmlns="" id="{A9E08680-4520-4EA6-B4A7-FD0062F8A6E5}"/>
              </a:ext>
            </a:extLst>
          </p:cNvPr>
          <p:cNvSpPr>
            <a:spLocks noGrp="1"/>
          </p:cNvSpPr>
          <p:nvPr>
            <p:ph type="body" sz="quarter" idx="13" hasCustomPrompt="1"/>
          </p:nvPr>
        </p:nvSpPr>
        <p:spPr>
          <a:xfrm>
            <a:off x="2229005" y="827126"/>
            <a:ext cx="6079935" cy="171450"/>
          </a:xfrm>
        </p:spPr>
        <p:txBody>
          <a:bodyPr anchor="ctr">
            <a:normAutofit/>
          </a:bodyPr>
          <a:lstStyle>
            <a:lvl1pPr marL="0" indent="0">
              <a:buFont typeface="Arial" panose="020B0604020202020204" pitchFamily="34" charset="0"/>
              <a:buNone/>
              <a:defRPr sz="900"/>
            </a:lvl1pPr>
            <a:lvl2pPr marL="171450" indent="0">
              <a:buNone/>
              <a:defRPr/>
            </a:lvl2pPr>
            <a:lvl3pPr marL="342900" indent="0">
              <a:buNone/>
              <a:defRPr/>
            </a:lvl3pPr>
            <a:lvl4pPr marL="514350" indent="0">
              <a:buNone/>
              <a:defRPr/>
            </a:lvl4pPr>
            <a:lvl5pPr marL="685800" indent="0">
              <a:buNone/>
              <a:defRPr/>
            </a:lvl5pPr>
          </a:lstStyle>
          <a:p>
            <a:pPr lvl="0"/>
            <a:r>
              <a:rPr lang="en-US" dirty="0"/>
              <a:t>&lt;MARP/MAAZAP&gt; &lt;#######&gt; &lt;TA&gt; &lt;Asset Title&gt; 70 character limit</a:t>
            </a:r>
          </a:p>
        </p:txBody>
      </p:sp>
      <p:sp>
        <p:nvSpPr>
          <p:cNvPr id="11" name="Text Placeholder 10">
            <a:extLst>
              <a:ext uri="{FF2B5EF4-FFF2-40B4-BE49-F238E27FC236}">
                <a16:creationId xmlns:a16="http://schemas.microsoft.com/office/drawing/2014/main" xmlns="" id="{CF687FD7-F293-4468-AE23-E28EE4619773}"/>
              </a:ext>
            </a:extLst>
          </p:cNvPr>
          <p:cNvSpPr>
            <a:spLocks noGrp="1"/>
          </p:cNvSpPr>
          <p:nvPr>
            <p:ph type="body" sz="quarter" idx="14" hasCustomPrompt="1"/>
          </p:nvPr>
        </p:nvSpPr>
        <p:spPr>
          <a:xfrm>
            <a:off x="5089391" y="1118740"/>
            <a:ext cx="1122584"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MM/YY</a:t>
            </a:r>
          </a:p>
        </p:txBody>
      </p:sp>
      <p:sp>
        <p:nvSpPr>
          <p:cNvPr id="13" name="Text Placeholder 12">
            <a:extLst>
              <a:ext uri="{FF2B5EF4-FFF2-40B4-BE49-F238E27FC236}">
                <a16:creationId xmlns:a16="http://schemas.microsoft.com/office/drawing/2014/main" xmlns="" id="{5BA6C7CD-771E-461C-A133-67764B81E611}"/>
              </a:ext>
            </a:extLst>
          </p:cNvPr>
          <p:cNvSpPr>
            <a:spLocks noGrp="1"/>
          </p:cNvSpPr>
          <p:nvPr>
            <p:ph type="body" sz="quarter" idx="15" hasCustomPrompt="1"/>
          </p:nvPr>
        </p:nvSpPr>
        <p:spPr>
          <a:xfrm>
            <a:off x="2229005" y="1118740"/>
            <a:ext cx="1348201"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Reactive or Proactive</a:t>
            </a:r>
          </a:p>
        </p:txBody>
      </p:sp>
      <p:sp>
        <p:nvSpPr>
          <p:cNvPr id="15" name="Text Placeholder 14">
            <a:extLst>
              <a:ext uri="{FF2B5EF4-FFF2-40B4-BE49-F238E27FC236}">
                <a16:creationId xmlns:a16="http://schemas.microsoft.com/office/drawing/2014/main" xmlns="" id="{6E33F1E3-ED30-4982-A86D-2C076E1C3B62}"/>
              </a:ext>
            </a:extLst>
          </p:cNvPr>
          <p:cNvSpPr>
            <a:spLocks noGrp="1"/>
          </p:cNvSpPr>
          <p:nvPr>
            <p:ph type="body" sz="quarter" idx="16" hasCustomPrompt="1"/>
          </p:nvPr>
        </p:nvSpPr>
        <p:spPr>
          <a:xfrm>
            <a:off x="5089391" y="1410353"/>
            <a:ext cx="1122584"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MM/YY (if &lt;1 year)</a:t>
            </a:r>
          </a:p>
        </p:txBody>
      </p:sp>
      <p:sp>
        <p:nvSpPr>
          <p:cNvPr id="17" name="Text Placeholder 16">
            <a:extLst>
              <a:ext uri="{FF2B5EF4-FFF2-40B4-BE49-F238E27FC236}">
                <a16:creationId xmlns:a16="http://schemas.microsoft.com/office/drawing/2014/main" xmlns="" id="{12286C0F-7CF6-40B2-B8FA-7AF1D25B9922}"/>
              </a:ext>
            </a:extLst>
          </p:cNvPr>
          <p:cNvSpPr>
            <a:spLocks noGrp="1"/>
          </p:cNvSpPr>
          <p:nvPr>
            <p:ph type="body" sz="quarter" idx="17" hasCustomPrompt="1"/>
          </p:nvPr>
        </p:nvSpPr>
        <p:spPr>
          <a:xfrm>
            <a:off x="2229005" y="1993580"/>
            <a:ext cx="668770"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or No</a:t>
            </a:r>
          </a:p>
        </p:txBody>
      </p:sp>
      <p:sp>
        <p:nvSpPr>
          <p:cNvPr id="19" name="Text Placeholder 18">
            <a:extLst>
              <a:ext uri="{FF2B5EF4-FFF2-40B4-BE49-F238E27FC236}">
                <a16:creationId xmlns:a16="http://schemas.microsoft.com/office/drawing/2014/main" xmlns="" id="{A1F28B02-DF8E-4C7E-90E9-0214CD384EA9}"/>
              </a:ext>
            </a:extLst>
          </p:cNvPr>
          <p:cNvSpPr>
            <a:spLocks noGrp="1"/>
          </p:cNvSpPr>
          <p:nvPr>
            <p:ph type="body" sz="quarter" idx="18" hasCustomPrompt="1"/>
          </p:nvPr>
        </p:nvSpPr>
        <p:spPr>
          <a:xfrm>
            <a:off x="2920479" y="1993580"/>
            <a:ext cx="3119385"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 If Yes - Reactive via MI, Reactive via MI </a:t>
            </a:r>
            <a:r>
              <a:rPr lang="en-US" dirty="0" err="1"/>
              <a:t>SciP</a:t>
            </a:r>
            <a:r>
              <a:rPr lang="en-US" dirty="0"/>
              <a:t>, or Proactive</a:t>
            </a:r>
          </a:p>
        </p:txBody>
      </p:sp>
      <p:sp>
        <p:nvSpPr>
          <p:cNvPr id="21" name="Text Placeholder 20">
            <a:extLst>
              <a:ext uri="{FF2B5EF4-FFF2-40B4-BE49-F238E27FC236}">
                <a16:creationId xmlns:a16="http://schemas.microsoft.com/office/drawing/2014/main" xmlns="" id="{277F15F9-6B04-4325-BA35-6D4FC8B30B7D}"/>
              </a:ext>
            </a:extLst>
          </p:cNvPr>
          <p:cNvSpPr>
            <a:spLocks noGrp="1"/>
          </p:cNvSpPr>
          <p:nvPr>
            <p:ph type="body" sz="quarter" idx="19" hasCustomPrompt="1"/>
          </p:nvPr>
        </p:nvSpPr>
        <p:spPr>
          <a:xfrm>
            <a:off x="2229004" y="2285193"/>
            <a:ext cx="2952542"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Any Medical Personnel</a:t>
            </a:r>
          </a:p>
        </p:txBody>
      </p:sp>
      <p:sp>
        <p:nvSpPr>
          <p:cNvPr id="27" name="Text Placeholder 26">
            <a:extLst>
              <a:ext uri="{FF2B5EF4-FFF2-40B4-BE49-F238E27FC236}">
                <a16:creationId xmlns:a16="http://schemas.microsoft.com/office/drawing/2014/main" xmlns="" id="{DD881301-6455-4429-AC98-70F1B2B5BC88}"/>
              </a:ext>
            </a:extLst>
          </p:cNvPr>
          <p:cNvSpPr>
            <a:spLocks noGrp="1"/>
          </p:cNvSpPr>
          <p:nvPr>
            <p:ph type="body" sz="quarter" idx="22" hasCustomPrompt="1"/>
          </p:nvPr>
        </p:nvSpPr>
        <p:spPr>
          <a:xfrm>
            <a:off x="5089392" y="1701967"/>
            <a:ext cx="2463317"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Any HCP, MM Only, Contracted EE, or Other</a:t>
            </a:r>
          </a:p>
        </p:txBody>
      </p:sp>
      <p:sp>
        <p:nvSpPr>
          <p:cNvPr id="29" name="Text Placeholder 28">
            <a:extLst>
              <a:ext uri="{FF2B5EF4-FFF2-40B4-BE49-F238E27FC236}">
                <a16:creationId xmlns:a16="http://schemas.microsoft.com/office/drawing/2014/main" xmlns="" id="{110857ED-F4F0-4AED-89F7-6595C2BD781E}"/>
              </a:ext>
            </a:extLst>
          </p:cNvPr>
          <p:cNvSpPr>
            <a:spLocks noGrp="1"/>
          </p:cNvSpPr>
          <p:nvPr>
            <p:ph type="body" sz="quarter" idx="23" hasCustomPrompt="1"/>
          </p:nvPr>
        </p:nvSpPr>
        <p:spPr>
          <a:xfrm>
            <a:off x="2229005" y="1701967"/>
            <a:ext cx="668770"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or No</a:t>
            </a:r>
          </a:p>
        </p:txBody>
      </p:sp>
      <p:sp>
        <p:nvSpPr>
          <p:cNvPr id="31" name="Text Placeholder 30">
            <a:extLst>
              <a:ext uri="{FF2B5EF4-FFF2-40B4-BE49-F238E27FC236}">
                <a16:creationId xmlns:a16="http://schemas.microsoft.com/office/drawing/2014/main" xmlns="" id="{1C3ADFAF-903D-45A8-9EC3-263C6B88C9B5}"/>
              </a:ext>
            </a:extLst>
          </p:cNvPr>
          <p:cNvSpPr>
            <a:spLocks noGrp="1"/>
          </p:cNvSpPr>
          <p:nvPr>
            <p:ph type="body" sz="quarter" idx="24" hasCustomPrompt="1"/>
          </p:nvPr>
        </p:nvSpPr>
        <p:spPr>
          <a:xfrm>
            <a:off x="2925033" y="1701967"/>
            <a:ext cx="909233"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If Yes - MM/YY</a:t>
            </a:r>
          </a:p>
        </p:txBody>
      </p:sp>
      <p:sp>
        <p:nvSpPr>
          <p:cNvPr id="33" name="Text Placeholder 32">
            <a:extLst>
              <a:ext uri="{FF2B5EF4-FFF2-40B4-BE49-F238E27FC236}">
                <a16:creationId xmlns:a16="http://schemas.microsoft.com/office/drawing/2014/main" xmlns="" id="{699D1E98-12E4-4111-B43B-8EF5E67629AC}"/>
              </a:ext>
            </a:extLst>
          </p:cNvPr>
          <p:cNvSpPr>
            <a:spLocks noGrp="1"/>
          </p:cNvSpPr>
          <p:nvPr>
            <p:ph type="body" sz="quarter" idx="25" hasCustomPrompt="1"/>
          </p:nvPr>
        </p:nvSpPr>
        <p:spPr>
          <a:xfrm>
            <a:off x="2229005" y="3782057"/>
            <a:ext cx="668769"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or No</a:t>
            </a:r>
          </a:p>
        </p:txBody>
      </p:sp>
      <p:sp>
        <p:nvSpPr>
          <p:cNvPr id="35" name="Text Placeholder 34">
            <a:extLst>
              <a:ext uri="{FF2B5EF4-FFF2-40B4-BE49-F238E27FC236}">
                <a16:creationId xmlns:a16="http://schemas.microsoft.com/office/drawing/2014/main" xmlns="" id="{B511FB73-1515-4896-A191-A9E5140DA205}"/>
              </a:ext>
            </a:extLst>
          </p:cNvPr>
          <p:cNvSpPr>
            <a:spLocks noGrp="1"/>
          </p:cNvSpPr>
          <p:nvPr>
            <p:ph type="body" sz="quarter" idx="26" hasCustomPrompt="1"/>
          </p:nvPr>
        </p:nvSpPr>
        <p:spPr>
          <a:xfrm>
            <a:off x="2229004" y="4023067"/>
            <a:ext cx="6079936" cy="216982"/>
          </a:xfrm>
        </p:spPr>
        <p:txBody>
          <a:bodyPr wrap="square" anchor="ctr">
            <a:sp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N/A or Enter Instructions</a:t>
            </a:r>
          </a:p>
        </p:txBody>
      </p:sp>
      <p:sp>
        <p:nvSpPr>
          <p:cNvPr id="37" name="Text Placeholder 36">
            <a:extLst>
              <a:ext uri="{FF2B5EF4-FFF2-40B4-BE49-F238E27FC236}">
                <a16:creationId xmlns:a16="http://schemas.microsoft.com/office/drawing/2014/main" xmlns="" id="{1E7DEFF9-F91F-49E6-94A9-010D12455C1C}"/>
              </a:ext>
            </a:extLst>
          </p:cNvPr>
          <p:cNvSpPr>
            <a:spLocks noGrp="1"/>
          </p:cNvSpPr>
          <p:nvPr>
            <p:ph type="body" sz="quarter" idx="27" hasCustomPrompt="1"/>
          </p:nvPr>
        </p:nvSpPr>
        <p:spPr>
          <a:xfrm>
            <a:off x="2229004" y="3032912"/>
            <a:ext cx="3340523"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New, Renewal, or Renewal with Changes</a:t>
            </a:r>
          </a:p>
        </p:txBody>
      </p:sp>
      <p:sp>
        <p:nvSpPr>
          <p:cNvPr id="39" name="Text Placeholder 38">
            <a:extLst>
              <a:ext uri="{FF2B5EF4-FFF2-40B4-BE49-F238E27FC236}">
                <a16:creationId xmlns:a16="http://schemas.microsoft.com/office/drawing/2014/main" xmlns="" id="{FA339AE6-73E5-47C9-8111-E129355C911C}"/>
              </a:ext>
            </a:extLst>
          </p:cNvPr>
          <p:cNvSpPr>
            <a:spLocks noGrp="1"/>
          </p:cNvSpPr>
          <p:nvPr>
            <p:ph type="body" sz="quarter" idx="28" hasCustomPrompt="1"/>
          </p:nvPr>
        </p:nvSpPr>
        <p:spPr>
          <a:xfrm>
            <a:off x="6780168" y="3038126"/>
            <a:ext cx="1514400"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PromoMats/</a:t>
            </a:r>
            <a:r>
              <a:rPr lang="en-US" dirty="0" err="1"/>
              <a:t>MedComms</a:t>
            </a:r>
            <a:r>
              <a:rPr lang="en-US" dirty="0"/>
              <a:t> #</a:t>
            </a:r>
          </a:p>
        </p:txBody>
      </p:sp>
      <p:sp>
        <p:nvSpPr>
          <p:cNvPr id="41" name="Text Placeholder 40">
            <a:extLst>
              <a:ext uri="{FF2B5EF4-FFF2-40B4-BE49-F238E27FC236}">
                <a16:creationId xmlns:a16="http://schemas.microsoft.com/office/drawing/2014/main" xmlns="" id="{F085F8C8-CE31-4A7B-87E4-06397B5B41DA}"/>
              </a:ext>
            </a:extLst>
          </p:cNvPr>
          <p:cNvSpPr>
            <a:spLocks noGrp="1"/>
          </p:cNvSpPr>
          <p:nvPr>
            <p:ph type="body" sz="quarter" idx="29" hasCustomPrompt="1"/>
          </p:nvPr>
        </p:nvSpPr>
        <p:spPr>
          <a:xfrm>
            <a:off x="2229004" y="2742977"/>
            <a:ext cx="3340523"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Asset Owner Name</a:t>
            </a:r>
          </a:p>
        </p:txBody>
      </p:sp>
      <p:sp>
        <p:nvSpPr>
          <p:cNvPr id="43" name="Text Placeholder 42">
            <a:extLst>
              <a:ext uri="{FF2B5EF4-FFF2-40B4-BE49-F238E27FC236}">
                <a16:creationId xmlns:a16="http://schemas.microsoft.com/office/drawing/2014/main" xmlns="" id="{D6785EC2-7CE7-4B29-BFA7-2A8950DFE928}"/>
              </a:ext>
            </a:extLst>
          </p:cNvPr>
          <p:cNvSpPr>
            <a:spLocks noGrp="1"/>
          </p:cNvSpPr>
          <p:nvPr>
            <p:ph type="body" sz="quarter" idx="30" hasCustomPrompt="1"/>
          </p:nvPr>
        </p:nvSpPr>
        <p:spPr>
          <a:xfrm>
            <a:off x="2229004" y="3485117"/>
            <a:ext cx="674487"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or No</a:t>
            </a:r>
          </a:p>
        </p:txBody>
      </p:sp>
      <p:sp>
        <p:nvSpPr>
          <p:cNvPr id="45" name="Text Placeholder 44">
            <a:extLst>
              <a:ext uri="{FF2B5EF4-FFF2-40B4-BE49-F238E27FC236}">
                <a16:creationId xmlns:a16="http://schemas.microsoft.com/office/drawing/2014/main" xmlns="" id="{02111F09-1B27-4A1F-9662-63D673AA517F}"/>
              </a:ext>
            </a:extLst>
          </p:cNvPr>
          <p:cNvSpPr>
            <a:spLocks noGrp="1"/>
          </p:cNvSpPr>
          <p:nvPr>
            <p:ph type="body" sz="quarter" idx="31" hasCustomPrompt="1"/>
          </p:nvPr>
        </p:nvSpPr>
        <p:spPr>
          <a:xfrm>
            <a:off x="4492038" y="3485117"/>
            <a:ext cx="658344"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or No</a:t>
            </a:r>
          </a:p>
        </p:txBody>
      </p:sp>
      <p:sp>
        <p:nvSpPr>
          <p:cNvPr id="47" name="Text Placeholder 46">
            <a:extLst>
              <a:ext uri="{FF2B5EF4-FFF2-40B4-BE49-F238E27FC236}">
                <a16:creationId xmlns:a16="http://schemas.microsoft.com/office/drawing/2014/main" xmlns="" id="{31A21B67-AE66-4D44-8C58-A71F0B4E972C}"/>
              </a:ext>
            </a:extLst>
          </p:cNvPr>
          <p:cNvSpPr>
            <a:spLocks noGrp="1"/>
          </p:cNvSpPr>
          <p:nvPr>
            <p:ph type="body" sz="quarter" idx="32" hasCustomPrompt="1"/>
          </p:nvPr>
        </p:nvSpPr>
        <p:spPr>
          <a:xfrm>
            <a:off x="4492038" y="3782057"/>
            <a:ext cx="953933"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If Yes - $Value</a:t>
            </a:r>
          </a:p>
        </p:txBody>
      </p:sp>
      <p:sp>
        <p:nvSpPr>
          <p:cNvPr id="49" name="Text Placeholder 48">
            <a:extLst>
              <a:ext uri="{FF2B5EF4-FFF2-40B4-BE49-F238E27FC236}">
                <a16:creationId xmlns:a16="http://schemas.microsoft.com/office/drawing/2014/main" xmlns="" id="{FFBD88D7-1F68-4A55-9958-01B92024FDF7}"/>
              </a:ext>
            </a:extLst>
          </p:cNvPr>
          <p:cNvSpPr>
            <a:spLocks noGrp="1"/>
          </p:cNvSpPr>
          <p:nvPr>
            <p:ph type="body" sz="quarter" idx="33" hasCustomPrompt="1"/>
          </p:nvPr>
        </p:nvSpPr>
        <p:spPr>
          <a:xfrm>
            <a:off x="2229005" y="1410353"/>
            <a:ext cx="1310324"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Brand or TA Name</a:t>
            </a:r>
          </a:p>
        </p:txBody>
      </p:sp>
      <p:sp>
        <p:nvSpPr>
          <p:cNvPr id="51" name="Text Placeholder 50">
            <a:extLst>
              <a:ext uri="{FF2B5EF4-FFF2-40B4-BE49-F238E27FC236}">
                <a16:creationId xmlns:a16="http://schemas.microsoft.com/office/drawing/2014/main" xmlns="" id="{D75479AB-AB9C-4737-A1D0-F9E28AC4F163}"/>
              </a:ext>
            </a:extLst>
          </p:cNvPr>
          <p:cNvSpPr>
            <a:spLocks noGrp="1"/>
          </p:cNvSpPr>
          <p:nvPr>
            <p:ph type="body" sz="quarter" idx="34" hasCustomPrompt="1"/>
          </p:nvPr>
        </p:nvSpPr>
        <p:spPr>
          <a:xfrm>
            <a:off x="7493755" y="1120563"/>
            <a:ext cx="692348"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or No</a:t>
            </a:r>
          </a:p>
        </p:txBody>
      </p:sp>
      <p:sp>
        <p:nvSpPr>
          <p:cNvPr id="52" name="TextBox 51">
            <a:extLst>
              <a:ext uri="{FF2B5EF4-FFF2-40B4-BE49-F238E27FC236}">
                <a16:creationId xmlns:a16="http://schemas.microsoft.com/office/drawing/2014/main" xmlns="" id="{7085AA13-451C-453D-AD0D-E8AF815127C2}"/>
              </a:ext>
            </a:extLst>
          </p:cNvPr>
          <p:cNvSpPr txBox="1"/>
          <p:nvPr userDrawn="1"/>
        </p:nvSpPr>
        <p:spPr>
          <a:xfrm>
            <a:off x="849433" y="777537"/>
            <a:ext cx="13716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sset Title</a:t>
            </a:r>
          </a:p>
        </p:txBody>
      </p:sp>
      <p:sp>
        <p:nvSpPr>
          <p:cNvPr id="53" name="TextBox 52">
            <a:extLst>
              <a:ext uri="{FF2B5EF4-FFF2-40B4-BE49-F238E27FC236}">
                <a16:creationId xmlns:a16="http://schemas.microsoft.com/office/drawing/2014/main" xmlns="" id="{A88B6979-D240-45DF-8FFB-111611A15632}"/>
              </a:ext>
            </a:extLst>
          </p:cNvPr>
          <p:cNvSpPr txBox="1"/>
          <p:nvPr userDrawn="1"/>
        </p:nvSpPr>
        <p:spPr>
          <a:xfrm>
            <a:off x="4011471" y="1067879"/>
            <a:ext cx="10287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pproval Date</a:t>
            </a:r>
          </a:p>
        </p:txBody>
      </p:sp>
      <p:sp>
        <p:nvSpPr>
          <p:cNvPr id="54" name="TextBox 53">
            <a:extLst>
              <a:ext uri="{FF2B5EF4-FFF2-40B4-BE49-F238E27FC236}">
                <a16:creationId xmlns:a16="http://schemas.microsoft.com/office/drawing/2014/main" xmlns="" id="{13F32247-E803-4B9D-8739-4086AE7EDFE5}"/>
              </a:ext>
            </a:extLst>
          </p:cNvPr>
          <p:cNvSpPr txBox="1"/>
          <p:nvPr userDrawn="1"/>
        </p:nvSpPr>
        <p:spPr>
          <a:xfrm>
            <a:off x="849433" y="1067879"/>
            <a:ext cx="13716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Intended Use</a:t>
            </a:r>
          </a:p>
        </p:txBody>
      </p:sp>
      <p:sp>
        <p:nvSpPr>
          <p:cNvPr id="55" name="TextBox 54">
            <a:extLst>
              <a:ext uri="{FF2B5EF4-FFF2-40B4-BE49-F238E27FC236}">
                <a16:creationId xmlns:a16="http://schemas.microsoft.com/office/drawing/2014/main" xmlns="" id="{142B0649-53B3-4494-A56E-67DCF07E8290}"/>
              </a:ext>
            </a:extLst>
          </p:cNvPr>
          <p:cNvSpPr txBox="1"/>
          <p:nvPr userDrawn="1"/>
        </p:nvSpPr>
        <p:spPr>
          <a:xfrm>
            <a:off x="4011471" y="1358222"/>
            <a:ext cx="10287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Expiration Date</a:t>
            </a:r>
          </a:p>
        </p:txBody>
      </p:sp>
      <p:sp>
        <p:nvSpPr>
          <p:cNvPr id="56" name="TextBox 55">
            <a:extLst>
              <a:ext uri="{FF2B5EF4-FFF2-40B4-BE49-F238E27FC236}">
                <a16:creationId xmlns:a16="http://schemas.microsoft.com/office/drawing/2014/main" xmlns="" id="{149F3220-7D9B-445A-8058-358753CF9360}"/>
              </a:ext>
            </a:extLst>
          </p:cNvPr>
          <p:cNvSpPr txBox="1"/>
          <p:nvPr userDrawn="1"/>
        </p:nvSpPr>
        <p:spPr>
          <a:xfrm>
            <a:off x="849433" y="1938906"/>
            <a:ext cx="13716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Distribution</a:t>
            </a:r>
          </a:p>
        </p:txBody>
      </p:sp>
      <p:sp>
        <p:nvSpPr>
          <p:cNvPr id="58" name="TextBox 57">
            <a:extLst>
              <a:ext uri="{FF2B5EF4-FFF2-40B4-BE49-F238E27FC236}">
                <a16:creationId xmlns:a16="http://schemas.microsoft.com/office/drawing/2014/main" xmlns="" id="{447AD0CF-AE31-45DA-96AF-9BF462D0EBD5}"/>
              </a:ext>
            </a:extLst>
          </p:cNvPr>
          <p:cNvSpPr txBox="1"/>
          <p:nvPr userDrawn="1"/>
        </p:nvSpPr>
        <p:spPr>
          <a:xfrm>
            <a:off x="849433" y="2229248"/>
            <a:ext cx="13716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pproved for Use By</a:t>
            </a:r>
          </a:p>
        </p:txBody>
      </p:sp>
      <p:sp>
        <p:nvSpPr>
          <p:cNvPr id="61" name="TextBox 60">
            <a:extLst>
              <a:ext uri="{FF2B5EF4-FFF2-40B4-BE49-F238E27FC236}">
                <a16:creationId xmlns:a16="http://schemas.microsoft.com/office/drawing/2014/main" xmlns="" id="{EC74B5DD-D8E4-46DE-A3C8-C17D4C0070F8}"/>
              </a:ext>
            </a:extLst>
          </p:cNvPr>
          <p:cNvSpPr txBox="1"/>
          <p:nvPr userDrawn="1"/>
        </p:nvSpPr>
        <p:spPr>
          <a:xfrm>
            <a:off x="4011471" y="1648564"/>
            <a:ext cx="10287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udience</a:t>
            </a:r>
          </a:p>
        </p:txBody>
      </p:sp>
      <p:sp>
        <p:nvSpPr>
          <p:cNvPr id="66" name="TextBox 65">
            <a:extLst>
              <a:ext uri="{FF2B5EF4-FFF2-40B4-BE49-F238E27FC236}">
                <a16:creationId xmlns:a16="http://schemas.microsoft.com/office/drawing/2014/main" xmlns="" id="{67900F06-4765-44ED-A269-1CD58C5E952C}"/>
              </a:ext>
            </a:extLst>
          </p:cNvPr>
          <p:cNvSpPr txBox="1"/>
          <p:nvPr userDrawn="1"/>
        </p:nvSpPr>
        <p:spPr>
          <a:xfrm>
            <a:off x="849433" y="1648564"/>
            <a:ext cx="13716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One Time Use</a:t>
            </a:r>
          </a:p>
        </p:txBody>
      </p:sp>
      <p:sp>
        <p:nvSpPr>
          <p:cNvPr id="68" name="TextBox 67">
            <a:extLst>
              <a:ext uri="{FF2B5EF4-FFF2-40B4-BE49-F238E27FC236}">
                <a16:creationId xmlns:a16="http://schemas.microsoft.com/office/drawing/2014/main" xmlns="" id="{CA229345-0EF5-4489-BFD2-ED28EF6A19AF}"/>
              </a:ext>
            </a:extLst>
          </p:cNvPr>
          <p:cNvSpPr txBox="1"/>
          <p:nvPr userDrawn="1"/>
        </p:nvSpPr>
        <p:spPr>
          <a:xfrm>
            <a:off x="849433" y="3730622"/>
            <a:ext cx="1371600" cy="274320"/>
          </a:xfrm>
          <a:prstGeom prst="rect">
            <a:avLst/>
          </a:prstGeom>
          <a:solidFill>
            <a:schemeClr val="tx1">
              <a:lumMod val="65000"/>
              <a:lumOff val="35000"/>
            </a:schemeClr>
          </a:solidFill>
          <a:ln>
            <a:noFill/>
          </a:ln>
        </p:spPr>
        <p:txBody>
          <a:bodyPr wrap="none" rtlCol="0" anchor="ctr">
            <a:noAutofit/>
          </a:bodyPr>
          <a:lstStyle/>
          <a:p>
            <a:pPr marL="0" marR="0" lvl="0" indent="0" algn="r" defTabSz="6858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sz="900" b="1" dirty="0">
                <a:solidFill>
                  <a:schemeClr val="bg1"/>
                </a:solidFill>
              </a:rPr>
              <a:t>MSL Leave-behind</a:t>
            </a:r>
          </a:p>
        </p:txBody>
      </p:sp>
      <p:sp>
        <p:nvSpPr>
          <p:cNvPr id="69" name="TextBox 68">
            <a:extLst>
              <a:ext uri="{FF2B5EF4-FFF2-40B4-BE49-F238E27FC236}">
                <a16:creationId xmlns:a16="http://schemas.microsoft.com/office/drawing/2014/main" xmlns="" id="{621D8C32-5CB3-4252-B385-54C66A9E1EE6}"/>
              </a:ext>
            </a:extLst>
          </p:cNvPr>
          <p:cNvSpPr txBox="1"/>
          <p:nvPr userDrawn="1"/>
        </p:nvSpPr>
        <p:spPr>
          <a:xfrm>
            <a:off x="1" y="80817"/>
            <a:ext cx="9143999" cy="369332"/>
          </a:xfrm>
          <a:prstGeom prst="rect">
            <a:avLst/>
          </a:prstGeom>
          <a:solidFill>
            <a:schemeClr val="accent2"/>
          </a:solidFill>
          <a:ln>
            <a:noFill/>
          </a:ln>
        </p:spPr>
        <p:txBody>
          <a:bodyPr wrap="square" rtlCol="0" anchor="ctr">
            <a:spAutoFit/>
          </a:bodyPr>
          <a:lstStyle/>
          <a:p>
            <a:pPr marL="0" indent="0" algn="ctr">
              <a:buClr>
                <a:schemeClr val="accent1"/>
              </a:buClr>
              <a:buFont typeface="Arial" panose="020B0604020202020204" pitchFamily="34" charset="0"/>
              <a:buNone/>
            </a:pPr>
            <a:r>
              <a:rPr lang="en-US" sz="1800" b="1" dirty="0">
                <a:solidFill>
                  <a:schemeClr val="bg1"/>
                </a:solidFill>
              </a:rPr>
              <a:t>US Medical Asset Cover Sheet</a:t>
            </a:r>
          </a:p>
        </p:txBody>
      </p:sp>
      <p:sp>
        <p:nvSpPr>
          <p:cNvPr id="70" name="TextBox 69">
            <a:extLst>
              <a:ext uri="{FF2B5EF4-FFF2-40B4-BE49-F238E27FC236}">
                <a16:creationId xmlns:a16="http://schemas.microsoft.com/office/drawing/2014/main" xmlns="" id="{6811B402-BB33-4FBF-A25A-6A132332CC41}"/>
              </a:ext>
            </a:extLst>
          </p:cNvPr>
          <p:cNvSpPr txBox="1"/>
          <p:nvPr userDrawn="1"/>
        </p:nvSpPr>
        <p:spPr>
          <a:xfrm>
            <a:off x="849433" y="4029109"/>
            <a:ext cx="1371600" cy="346249"/>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Special Instructions</a:t>
            </a:r>
            <a:br>
              <a:rPr lang="en-US" sz="900" b="1" dirty="0">
                <a:solidFill>
                  <a:schemeClr val="bg1"/>
                </a:solidFill>
              </a:rPr>
            </a:br>
            <a:r>
              <a:rPr lang="en-US" sz="900" b="1" dirty="0">
                <a:solidFill>
                  <a:schemeClr val="bg1"/>
                </a:solidFill>
              </a:rPr>
              <a:t>and/or Disclaimers</a:t>
            </a:r>
          </a:p>
        </p:txBody>
      </p:sp>
      <p:sp>
        <p:nvSpPr>
          <p:cNvPr id="71" name="TextBox 70">
            <a:extLst>
              <a:ext uri="{FF2B5EF4-FFF2-40B4-BE49-F238E27FC236}">
                <a16:creationId xmlns:a16="http://schemas.microsoft.com/office/drawing/2014/main" xmlns="" id="{A1A1B573-DC23-488B-93DB-AD4DD88A4651}"/>
              </a:ext>
            </a:extLst>
          </p:cNvPr>
          <p:cNvSpPr txBox="1"/>
          <p:nvPr userDrawn="1"/>
        </p:nvSpPr>
        <p:spPr>
          <a:xfrm>
            <a:off x="6338515" y="1067879"/>
            <a:ext cx="10287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Website</a:t>
            </a:r>
          </a:p>
        </p:txBody>
      </p:sp>
      <p:sp>
        <p:nvSpPr>
          <p:cNvPr id="72" name="TextBox 71">
            <a:extLst>
              <a:ext uri="{FF2B5EF4-FFF2-40B4-BE49-F238E27FC236}">
                <a16:creationId xmlns:a16="http://schemas.microsoft.com/office/drawing/2014/main" xmlns="" id="{A294A206-A31C-476D-ACCB-00ABD9DE8B78}"/>
              </a:ext>
            </a:extLst>
          </p:cNvPr>
          <p:cNvSpPr txBox="1"/>
          <p:nvPr userDrawn="1"/>
        </p:nvSpPr>
        <p:spPr>
          <a:xfrm>
            <a:off x="849433" y="2984558"/>
            <a:ext cx="137160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New Asset/Renewal</a:t>
            </a:r>
          </a:p>
        </p:txBody>
      </p:sp>
      <p:sp>
        <p:nvSpPr>
          <p:cNvPr id="73" name="TextBox 72">
            <a:extLst>
              <a:ext uri="{FF2B5EF4-FFF2-40B4-BE49-F238E27FC236}">
                <a16:creationId xmlns:a16="http://schemas.microsoft.com/office/drawing/2014/main" xmlns="" id="{759580AA-6B1E-4C65-9D3B-8A40CBD8E220}"/>
              </a:ext>
            </a:extLst>
          </p:cNvPr>
          <p:cNvSpPr txBox="1"/>
          <p:nvPr userDrawn="1"/>
        </p:nvSpPr>
        <p:spPr>
          <a:xfrm>
            <a:off x="5645728" y="2984558"/>
            <a:ext cx="113444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Based On Asset</a:t>
            </a:r>
          </a:p>
        </p:txBody>
      </p:sp>
      <p:sp>
        <p:nvSpPr>
          <p:cNvPr id="74" name="TextBox 73">
            <a:extLst>
              <a:ext uri="{FF2B5EF4-FFF2-40B4-BE49-F238E27FC236}">
                <a16:creationId xmlns:a16="http://schemas.microsoft.com/office/drawing/2014/main" xmlns="" id="{00EE63BC-019F-46D2-85ED-E2FABA47A87D}"/>
              </a:ext>
            </a:extLst>
          </p:cNvPr>
          <p:cNvSpPr txBox="1"/>
          <p:nvPr userDrawn="1"/>
        </p:nvSpPr>
        <p:spPr>
          <a:xfrm>
            <a:off x="849433" y="2688971"/>
            <a:ext cx="137160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sset Owner</a:t>
            </a:r>
          </a:p>
        </p:txBody>
      </p:sp>
      <p:sp>
        <p:nvSpPr>
          <p:cNvPr id="75" name="TextBox 74">
            <a:extLst>
              <a:ext uri="{FF2B5EF4-FFF2-40B4-BE49-F238E27FC236}">
                <a16:creationId xmlns:a16="http://schemas.microsoft.com/office/drawing/2014/main" xmlns="" id="{18F3D524-8618-4B93-A131-5DAC4985A561}"/>
              </a:ext>
            </a:extLst>
          </p:cNvPr>
          <p:cNvSpPr txBox="1"/>
          <p:nvPr userDrawn="1"/>
        </p:nvSpPr>
        <p:spPr>
          <a:xfrm>
            <a:off x="849433" y="3431627"/>
            <a:ext cx="137160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Veeva CRM</a:t>
            </a:r>
          </a:p>
        </p:txBody>
      </p:sp>
      <p:sp>
        <p:nvSpPr>
          <p:cNvPr id="76" name="TextBox 75">
            <a:extLst>
              <a:ext uri="{FF2B5EF4-FFF2-40B4-BE49-F238E27FC236}">
                <a16:creationId xmlns:a16="http://schemas.microsoft.com/office/drawing/2014/main" xmlns="" id="{29BCA70B-07F3-4184-B119-07E8A73B0D29}"/>
              </a:ext>
            </a:extLst>
          </p:cNvPr>
          <p:cNvSpPr txBox="1"/>
          <p:nvPr userDrawn="1"/>
        </p:nvSpPr>
        <p:spPr>
          <a:xfrm>
            <a:off x="2971408" y="3431627"/>
            <a:ext cx="150876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Restricted Use</a:t>
            </a:r>
          </a:p>
        </p:txBody>
      </p:sp>
      <p:sp>
        <p:nvSpPr>
          <p:cNvPr id="77" name="TextBox 76">
            <a:extLst>
              <a:ext uri="{FF2B5EF4-FFF2-40B4-BE49-F238E27FC236}">
                <a16:creationId xmlns:a16="http://schemas.microsoft.com/office/drawing/2014/main" xmlns="" id="{ABC6F0CE-3EF3-4748-8537-A266C0CD9329}"/>
              </a:ext>
            </a:extLst>
          </p:cNvPr>
          <p:cNvSpPr txBox="1"/>
          <p:nvPr userDrawn="1"/>
        </p:nvSpPr>
        <p:spPr>
          <a:xfrm>
            <a:off x="2971408" y="3730622"/>
            <a:ext cx="150876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If Yes, Fair Market Value</a:t>
            </a:r>
          </a:p>
        </p:txBody>
      </p:sp>
      <p:sp>
        <p:nvSpPr>
          <p:cNvPr id="78" name="TextBox 77">
            <a:extLst>
              <a:ext uri="{FF2B5EF4-FFF2-40B4-BE49-F238E27FC236}">
                <a16:creationId xmlns:a16="http://schemas.microsoft.com/office/drawing/2014/main" xmlns="" id="{D3001B95-73C8-4B7F-998E-B0AE7A43DE82}"/>
              </a:ext>
            </a:extLst>
          </p:cNvPr>
          <p:cNvSpPr txBox="1"/>
          <p:nvPr userDrawn="1"/>
        </p:nvSpPr>
        <p:spPr>
          <a:xfrm>
            <a:off x="849433" y="1358222"/>
            <a:ext cx="1371600" cy="274320"/>
          </a:xfrm>
          <a:prstGeom prst="rect">
            <a:avLst/>
          </a:prstGeom>
          <a:solidFill>
            <a:schemeClr val="accent2"/>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Brand or TA Name</a:t>
            </a:r>
          </a:p>
        </p:txBody>
      </p:sp>
      <p:sp>
        <p:nvSpPr>
          <p:cNvPr id="48" name="TextBox 47">
            <a:extLst>
              <a:ext uri="{FF2B5EF4-FFF2-40B4-BE49-F238E27FC236}">
                <a16:creationId xmlns:a16="http://schemas.microsoft.com/office/drawing/2014/main" xmlns="" id="{F0DE83F5-9900-4234-8A5B-4EFEB16F6D34}"/>
              </a:ext>
            </a:extLst>
          </p:cNvPr>
          <p:cNvSpPr txBox="1"/>
          <p:nvPr userDrawn="1"/>
        </p:nvSpPr>
        <p:spPr>
          <a:xfrm>
            <a:off x="5645728" y="2688971"/>
            <a:ext cx="113444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Document #</a:t>
            </a:r>
          </a:p>
        </p:txBody>
      </p:sp>
      <p:graphicFrame>
        <p:nvGraphicFramePr>
          <p:cNvPr id="59" name="Table 58">
            <a:extLst>
              <a:ext uri="{FF2B5EF4-FFF2-40B4-BE49-F238E27FC236}">
                <a16:creationId xmlns:a16="http://schemas.microsoft.com/office/drawing/2014/main" xmlns="" id="{26419F55-E696-4649-B99D-36B08665CB7C}"/>
              </a:ext>
            </a:extLst>
          </p:cNvPr>
          <p:cNvGraphicFramePr>
            <a:graphicFrameLocks noGrp="1"/>
          </p:cNvGraphicFramePr>
          <p:nvPr userDrawn="1">
            <p:extLst>
              <p:ext uri="{D42A27DB-BD31-4B8C-83A1-F6EECF244321}">
                <p14:modId xmlns:p14="http://schemas.microsoft.com/office/powerpoint/2010/main" val="3618224587"/>
              </p:ext>
            </p:extLst>
          </p:nvPr>
        </p:nvGraphicFramePr>
        <p:xfrm>
          <a:off x="848953" y="3424910"/>
          <a:ext cx="7462340" cy="573527"/>
        </p:xfrm>
        <a:graphic>
          <a:graphicData uri="http://schemas.openxmlformats.org/drawingml/2006/table">
            <a:tbl>
              <a:tblPr>
                <a:tableStyleId>{21E4AEA4-8DFA-4A89-87EB-49C32662AFE0}</a:tableStyleId>
              </a:tblPr>
              <a:tblGrid>
                <a:gridCol w="2198961">
                  <a:extLst>
                    <a:ext uri="{9D8B030D-6E8A-4147-A177-3AD203B41FA5}">
                      <a16:colId xmlns:a16="http://schemas.microsoft.com/office/drawing/2014/main" xmlns="" val="3458750997"/>
                    </a:ext>
                  </a:extLst>
                </a:gridCol>
                <a:gridCol w="2775932">
                  <a:extLst>
                    <a:ext uri="{9D8B030D-6E8A-4147-A177-3AD203B41FA5}">
                      <a16:colId xmlns:a16="http://schemas.microsoft.com/office/drawing/2014/main" xmlns="" val="4071395440"/>
                    </a:ext>
                  </a:extLst>
                </a:gridCol>
                <a:gridCol w="2487446">
                  <a:extLst>
                    <a:ext uri="{9D8B030D-6E8A-4147-A177-3AD203B41FA5}">
                      <a16:colId xmlns:a16="http://schemas.microsoft.com/office/drawing/2014/main" xmlns="" val="668771908"/>
                    </a:ext>
                  </a:extLst>
                </a:gridCol>
              </a:tblGrid>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153252475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152630277"/>
                  </a:ext>
                </a:extLst>
              </a:tr>
            </a:tbl>
          </a:graphicData>
        </a:graphic>
      </p:graphicFrame>
      <p:sp>
        <p:nvSpPr>
          <p:cNvPr id="7" name="Text Placeholder 6">
            <a:extLst>
              <a:ext uri="{FF2B5EF4-FFF2-40B4-BE49-F238E27FC236}">
                <a16:creationId xmlns:a16="http://schemas.microsoft.com/office/drawing/2014/main" xmlns="" id="{C399C3AD-3A79-4CAB-8984-EE85DD84E0A2}"/>
              </a:ext>
            </a:extLst>
          </p:cNvPr>
          <p:cNvSpPr>
            <a:spLocks noGrp="1"/>
          </p:cNvSpPr>
          <p:nvPr>
            <p:ph type="body" sz="quarter" idx="35" hasCustomPrompt="1"/>
          </p:nvPr>
        </p:nvSpPr>
        <p:spPr>
          <a:xfrm>
            <a:off x="6779398" y="2742677"/>
            <a:ext cx="1515170" cy="178594"/>
          </a:xfrm>
        </p:spPr>
        <p:txBody>
          <a:bodyPr>
            <a:noAutofit/>
          </a:bodyPr>
          <a:lstStyle>
            <a:lvl1pPr marL="0" indent="0">
              <a:buNone/>
              <a:defRPr sz="900"/>
            </a:lvl1pPr>
            <a:lvl2pPr marL="171450" indent="0">
              <a:buNone/>
              <a:defRPr/>
            </a:lvl2pPr>
            <a:lvl3pPr marL="342900" indent="0">
              <a:buNone/>
              <a:defRPr/>
            </a:lvl3pPr>
            <a:lvl4pPr marL="514350" indent="0">
              <a:buNone/>
              <a:defRPr/>
            </a:lvl4pPr>
            <a:lvl5pPr marL="685800" indent="0">
              <a:buNone/>
              <a:defRPr/>
            </a:lvl5pPr>
          </a:lstStyle>
          <a:p>
            <a:pPr lvl="0"/>
            <a:r>
              <a:rPr lang="en-US" dirty="0"/>
              <a:t>ML-XXXX-US-XXXX</a:t>
            </a:r>
          </a:p>
        </p:txBody>
      </p:sp>
    </p:spTree>
    <p:extLst>
      <p:ext uri="{BB962C8B-B14F-4D97-AF65-F5344CB8AC3E}">
        <p14:creationId xmlns:p14="http://schemas.microsoft.com/office/powerpoint/2010/main" val="1888482041"/>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Global Cover Sheet">
    <p:spTree>
      <p:nvGrpSpPr>
        <p:cNvPr id="1" name=""/>
        <p:cNvGrpSpPr/>
        <p:nvPr/>
      </p:nvGrpSpPr>
      <p:grpSpPr>
        <a:xfrm>
          <a:off x="0" y="0"/>
          <a:ext cx="0" cy="0"/>
          <a:chOff x="0" y="0"/>
          <a:chExt cx="0" cy="0"/>
        </a:xfrm>
      </p:grpSpPr>
      <p:sp>
        <p:nvSpPr>
          <p:cNvPr id="79" name="TextBox 78">
            <a:extLst>
              <a:ext uri="{FF2B5EF4-FFF2-40B4-BE49-F238E27FC236}">
                <a16:creationId xmlns:a16="http://schemas.microsoft.com/office/drawing/2014/main" xmlns="" id="{86D12817-4053-40BC-82BB-7AF5EE51AEBA}"/>
              </a:ext>
            </a:extLst>
          </p:cNvPr>
          <p:cNvSpPr txBox="1"/>
          <p:nvPr userDrawn="1"/>
        </p:nvSpPr>
        <p:spPr>
          <a:xfrm>
            <a:off x="394855" y="4502917"/>
            <a:ext cx="8406245" cy="646331"/>
          </a:xfrm>
          <a:prstGeom prst="rect">
            <a:avLst/>
          </a:prstGeom>
          <a:noFill/>
          <a:ln>
            <a:noFill/>
          </a:ln>
        </p:spPr>
        <p:txBody>
          <a:bodyPr wrap="square" rtlCol="0" anchor="b">
            <a:spAutoFit/>
          </a:bodyPr>
          <a:lstStyle/>
          <a:p>
            <a:pPr marL="0" indent="0" algn="ctr">
              <a:buClr>
                <a:schemeClr val="accent1"/>
              </a:buClr>
              <a:buFont typeface="Arial" panose="020B0604020202020204" pitchFamily="34" charset="0"/>
              <a:buNone/>
            </a:pPr>
            <a:r>
              <a:rPr lang="en-US" sz="1050" b="1" dirty="0">
                <a:solidFill>
                  <a:schemeClr val="tx1"/>
                </a:solidFill>
              </a:rPr>
              <a:t>External use of any of the content must be approved for release </a:t>
            </a:r>
            <a:br>
              <a:rPr lang="en-US" sz="1050" b="1" dirty="0">
                <a:solidFill>
                  <a:schemeClr val="tx1"/>
                </a:solidFill>
              </a:rPr>
            </a:br>
            <a:r>
              <a:rPr lang="en-US" sz="1050" b="1" dirty="0">
                <a:solidFill>
                  <a:schemeClr val="tx1"/>
                </a:solidFill>
              </a:rPr>
              <a:t>by your local nominated signatory/local medical process to ensure compliance with local regulations. </a:t>
            </a:r>
          </a:p>
          <a:p>
            <a:pPr marL="0" indent="0" algn="ctr">
              <a:buClr>
                <a:schemeClr val="accent1"/>
              </a:buClr>
              <a:buFont typeface="Arial" panose="020B0604020202020204" pitchFamily="34" charset="0"/>
              <a:buNone/>
            </a:pPr>
            <a:r>
              <a:rPr lang="en-US" sz="750" b="0" dirty="0">
                <a:solidFill>
                  <a:schemeClr val="tx1"/>
                </a:solidFill>
              </a:rPr>
              <a:t>Refer to the General Properties for this asset in GMIP Content (Veeva Vault </a:t>
            </a:r>
            <a:r>
              <a:rPr lang="en-US" sz="750" b="0" dirty="0" err="1">
                <a:solidFill>
                  <a:schemeClr val="tx1"/>
                </a:solidFill>
              </a:rPr>
              <a:t>MedComms</a:t>
            </a:r>
            <a:r>
              <a:rPr lang="en-US" sz="750" b="0" dirty="0">
                <a:solidFill>
                  <a:schemeClr val="tx1"/>
                </a:solidFill>
              </a:rPr>
              <a:t>) for additional details. </a:t>
            </a:r>
          </a:p>
          <a:p>
            <a:pPr marL="0" indent="0" algn="ctr">
              <a:buClr>
                <a:schemeClr val="accent1"/>
              </a:buClr>
              <a:buFont typeface="Arial" panose="020B0604020202020204" pitchFamily="34" charset="0"/>
              <a:buNone/>
            </a:pPr>
            <a:r>
              <a:rPr lang="en-US" sz="750" b="0" dirty="0">
                <a:solidFill>
                  <a:schemeClr val="tx1"/>
                </a:solidFill>
              </a:rPr>
              <a:t>Questions on this asset should be directed to asset owners.</a:t>
            </a:r>
          </a:p>
        </p:txBody>
      </p:sp>
      <p:graphicFrame>
        <p:nvGraphicFramePr>
          <p:cNvPr id="50" name="Table 49">
            <a:extLst>
              <a:ext uri="{FF2B5EF4-FFF2-40B4-BE49-F238E27FC236}">
                <a16:creationId xmlns:a16="http://schemas.microsoft.com/office/drawing/2014/main" xmlns="" id="{83D05D04-05CE-47AA-8F7B-B08C33B32C3F}"/>
              </a:ext>
            </a:extLst>
          </p:cNvPr>
          <p:cNvGraphicFramePr>
            <a:graphicFrameLocks noGrp="1"/>
          </p:cNvGraphicFramePr>
          <p:nvPr userDrawn="1">
            <p:extLst>
              <p:ext uri="{D42A27DB-BD31-4B8C-83A1-F6EECF244321}">
                <p14:modId xmlns:p14="http://schemas.microsoft.com/office/powerpoint/2010/main" val="4012897679"/>
              </p:ext>
            </p:extLst>
          </p:nvPr>
        </p:nvGraphicFramePr>
        <p:xfrm>
          <a:off x="846600" y="1900054"/>
          <a:ext cx="7462340" cy="1147053"/>
        </p:xfrm>
        <a:graphic>
          <a:graphicData uri="http://schemas.openxmlformats.org/drawingml/2006/table">
            <a:tbl>
              <a:tblPr>
                <a:tableStyleId>{21E4AEA4-8DFA-4A89-87EB-49C32662AFE0}</a:tableStyleId>
              </a:tblPr>
              <a:tblGrid>
                <a:gridCol w="2198961">
                  <a:extLst>
                    <a:ext uri="{9D8B030D-6E8A-4147-A177-3AD203B41FA5}">
                      <a16:colId xmlns:a16="http://schemas.microsoft.com/office/drawing/2014/main" xmlns="" val="3458750997"/>
                    </a:ext>
                  </a:extLst>
                </a:gridCol>
                <a:gridCol w="2775932">
                  <a:extLst>
                    <a:ext uri="{9D8B030D-6E8A-4147-A177-3AD203B41FA5}">
                      <a16:colId xmlns:a16="http://schemas.microsoft.com/office/drawing/2014/main" xmlns="" val="4071395440"/>
                    </a:ext>
                  </a:extLst>
                </a:gridCol>
                <a:gridCol w="2487446">
                  <a:extLst>
                    <a:ext uri="{9D8B030D-6E8A-4147-A177-3AD203B41FA5}">
                      <a16:colId xmlns:a16="http://schemas.microsoft.com/office/drawing/2014/main" xmlns="" val="668771908"/>
                    </a:ext>
                  </a:extLst>
                </a:gridCol>
              </a:tblGrid>
              <a:tr h="286763">
                <a:tc>
                  <a:txBody>
                    <a:bodyPr/>
                    <a:lstStyle/>
                    <a:p>
                      <a:endParaRPr lang="en-US" sz="1000" dirty="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989134820"/>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389025149"/>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153252475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152630277"/>
                  </a:ext>
                </a:extLst>
              </a:tr>
            </a:tbl>
          </a:graphicData>
        </a:graphic>
      </p:graphicFrame>
      <p:graphicFrame>
        <p:nvGraphicFramePr>
          <p:cNvPr id="5" name="Table 4">
            <a:extLst>
              <a:ext uri="{FF2B5EF4-FFF2-40B4-BE49-F238E27FC236}">
                <a16:creationId xmlns:a16="http://schemas.microsoft.com/office/drawing/2014/main" xmlns="" id="{3C8DCB22-4BDC-4256-9886-290008A41E58}"/>
              </a:ext>
            </a:extLst>
          </p:cNvPr>
          <p:cNvGraphicFramePr>
            <a:graphicFrameLocks noGrp="1"/>
          </p:cNvGraphicFramePr>
          <p:nvPr userDrawn="1">
            <p:extLst>
              <p:ext uri="{D42A27DB-BD31-4B8C-83A1-F6EECF244321}">
                <p14:modId xmlns:p14="http://schemas.microsoft.com/office/powerpoint/2010/main" val="3465645193"/>
              </p:ext>
            </p:extLst>
          </p:nvPr>
        </p:nvGraphicFramePr>
        <p:xfrm>
          <a:off x="846600" y="779603"/>
          <a:ext cx="7462340" cy="860290"/>
        </p:xfrm>
        <a:graphic>
          <a:graphicData uri="http://schemas.openxmlformats.org/drawingml/2006/table">
            <a:tbl>
              <a:tblPr>
                <a:tableStyleId>{21E4AEA4-8DFA-4A89-87EB-49C32662AFE0}</a:tableStyleId>
              </a:tblPr>
              <a:tblGrid>
                <a:gridCol w="2198961">
                  <a:extLst>
                    <a:ext uri="{9D8B030D-6E8A-4147-A177-3AD203B41FA5}">
                      <a16:colId xmlns:a16="http://schemas.microsoft.com/office/drawing/2014/main" xmlns="" val="3458750997"/>
                    </a:ext>
                  </a:extLst>
                </a:gridCol>
                <a:gridCol w="2775932">
                  <a:extLst>
                    <a:ext uri="{9D8B030D-6E8A-4147-A177-3AD203B41FA5}">
                      <a16:colId xmlns:a16="http://schemas.microsoft.com/office/drawing/2014/main" xmlns="" val="4071395440"/>
                    </a:ext>
                  </a:extLst>
                </a:gridCol>
                <a:gridCol w="2487446">
                  <a:extLst>
                    <a:ext uri="{9D8B030D-6E8A-4147-A177-3AD203B41FA5}">
                      <a16:colId xmlns:a16="http://schemas.microsoft.com/office/drawing/2014/main" xmlns="" val="668771908"/>
                    </a:ext>
                  </a:extLst>
                </a:gridCol>
              </a:tblGrid>
              <a:tr h="286763">
                <a:tc>
                  <a:txBody>
                    <a:bodyPr/>
                    <a:lstStyle/>
                    <a:p>
                      <a:endParaRPr lang="en-US" sz="1000" dirty="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102342139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3368834974"/>
                  </a:ext>
                </a:extLst>
              </a:tr>
              <a:tr h="286763">
                <a:tc>
                  <a:txBody>
                    <a:bodyPr/>
                    <a:lstStyle/>
                    <a:p>
                      <a:endParaRPr lang="en-US" sz="1000"/>
                    </a:p>
                  </a:txBody>
                  <a:tcPr marL="68580" marR="68580" marT="34290" marB="34290">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000" dirty="0"/>
                    </a:p>
                  </a:txBody>
                  <a:tcPr marL="68580" marR="68580" marT="34290" marB="34290">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xmlns="" val="4051146587"/>
                  </a:ext>
                </a:extLst>
              </a:tr>
            </a:tbl>
          </a:graphicData>
        </a:graphic>
      </p:graphicFrame>
      <p:sp>
        <p:nvSpPr>
          <p:cNvPr id="2" name="Date Placeholder 1"/>
          <p:cNvSpPr>
            <a:spLocks noGrp="1"/>
          </p:cNvSpPr>
          <p:nvPr>
            <p:ph type="dt" sz="half" idx="10"/>
          </p:nvPr>
        </p:nvSpPr>
        <p:spPr/>
        <p:txBody>
          <a:bodyPr/>
          <a:lstStyle/>
          <a:p>
            <a:fld id="{4B959C31-8071-4657-BA84-2004C5131029}" type="datetime1">
              <a:rPr lang="en-US" smtClean="0"/>
              <a:t>6/2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Box 7">
            <a:extLst>
              <a:ext uri="{FF2B5EF4-FFF2-40B4-BE49-F238E27FC236}">
                <a16:creationId xmlns:a16="http://schemas.microsoft.com/office/drawing/2014/main" xmlns="" id="{FF897A55-CB79-4D07-BEF1-54B1E974D126}"/>
              </a:ext>
            </a:extLst>
          </p:cNvPr>
          <p:cNvSpPr txBox="1"/>
          <p:nvPr userDrawn="1"/>
        </p:nvSpPr>
        <p:spPr>
          <a:xfrm>
            <a:off x="7620000" y="4935752"/>
            <a:ext cx="1524000" cy="207749"/>
          </a:xfrm>
          <a:prstGeom prst="rect">
            <a:avLst/>
          </a:prstGeom>
          <a:noFill/>
        </p:spPr>
        <p:txBody>
          <a:bodyPr wrap="square" rtlCol="0" anchor="b" anchorCtr="0">
            <a:spAutoFit/>
          </a:bodyPr>
          <a:lstStyle/>
          <a:p>
            <a:pPr algn="r"/>
            <a:r>
              <a:rPr lang="en-US" sz="750" b="0" baseline="0" dirty="0">
                <a:solidFill>
                  <a:schemeClr val="tx1"/>
                </a:solidFill>
                <a:latin typeface="Arial" pitchFamily="34" charset="0"/>
                <a:cs typeface="Arial" pitchFamily="34" charset="0"/>
              </a:rPr>
              <a:t>© AstraZeneca 2021</a:t>
            </a:r>
          </a:p>
        </p:txBody>
      </p:sp>
      <p:sp>
        <p:nvSpPr>
          <p:cNvPr id="9" name="Text Placeholder 8">
            <a:extLst>
              <a:ext uri="{FF2B5EF4-FFF2-40B4-BE49-F238E27FC236}">
                <a16:creationId xmlns:a16="http://schemas.microsoft.com/office/drawing/2014/main" xmlns="" id="{A9E08680-4520-4EA6-B4A7-FD0062F8A6E5}"/>
              </a:ext>
            </a:extLst>
          </p:cNvPr>
          <p:cNvSpPr>
            <a:spLocks noGrp="1"/>
          </p:cNvSpPr>
          <p:nvPr>
            <p:ph type="body" sz="quarter" idx="13" hasCustomPrompt="1"/>
          </p:nvPr>
        </p:nvSpPr>
        <p:spPr>
          <a:xfrm>
            <a:off x="2445327" y="827126"/>
            <a:ext cx="5849240" cy="171450"/>
          </a:xfrm>
        </p:spPr>
        <p:txBody>
          <a:bodyPr anchor="ctr">
            <a:normAutofit/>
          </a:bodyPr>
          <a:lstStyle>
            <a:lvl1pPr marL="0" indent="0">
              <a:buFont typeface="Arial" panose="020B0604020202020204" pitchFamily="34" charset="0"/>
              <a:buNone/>
              <a:defRPr sz="900"/>
            </a:lvl1pPr>
            <a:lvl2pPr marL="171450" indent="0">
              <a:buNone/>
              <a:defRPr/>
            </a:lvl2pPr>
            <a:lvl3pPr marL="342900" indent="0">
              <a:buNone/>
              <a:defRPr/>
            </a:lvl3pPr>
            <a:lvl4pPr marL="514350" indent="0">
              <a:buNone/>
              <a:defRPr/>
            </a:lvl4pPr>
            <a:lvl5pPr marL="685800" indent="0">
              <a:buNone/>
              <a:defRPr/>
            </a:lvl5pPr>
          </a:lstStyle>
          <a:p>
            <a:pPr lvl="0"/>
            <a:r>
              <a:rPr lang="en-US" dirty="0"/>
              <a:t>&lt;Generic Name&gt; - &lt;Title from Veeva Vault&gt;</a:t>
            </a:r>
          </a:p>
        </p:txBody>
      </p:sp>
      <p:sp>
        <p:nvSpPr>
          <p:cNvPr id="11" name="Text Placeholder 10">
            <a:extLst>
              <a:ext uri="{FF2B5EF4-FFF2-40B4-BE49-F238E27FC236}">
                <a16:creationId xmlns:a16="http://schemas.microsoft.com/office/drawing/2014/main" xmlns="" id="{CF687FD7-F293-4468-AE23-E28EE4619773}"/>
              </a:ext>
            </a:extLst>
          </p:cNvPr>
          <p:cNvSpPr>
            <a:spLocks noGrp="1"/>
          </p:cNvSpPr>
          <p:nvPr>
            <p:ph type="body" sz="quarter" idx="14" hasCustomPrompt="1"/>
          </p:nvPr>
        </p:nvSpPr>
        <p:spPr>
          <a:xfrm>
            <a:off x="2445327" y="2539740"/>
            <a:ext cx="685800"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MM/YY</a:t>
            </a:r>
          </a:p>
        </p:txBody>
      </p:sp>
      <p:sp>
        <p:nvSpPr>
          <p:cNvPr id="13" name="Text Placeholder 12">
            <a:extLst>
              <a:ext uri="{FF2B5EF4-FFF2-40B4-BE49-F238E27FC236}">
                <a16:creationId xmlns:a16="http://schemas.microsoft.com/office/drawing/2014/main" xmlns="" id="{5BA6C7CD-771E-461C-A133-67764B81E611}"/>
              </a:ext>
            </a:extLst>
          </p:cNvPr>
          <p:cNvSpPr>
            <a:spLocks noGrp="1"/>
          </p:cNvSpPr>
          <p:nvPr>
            <p:ph type="body" sz="quarter" idx="15" hasCustomPrompt="1"/>
          </p:nvPr>
        </p:nvSpPr>
        <p:spPr>
          <a:xfrm>
            <a:off x="2445327" y="1118740"/>
            <a:ext cx="1400078"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Reactive or Internal</a:t>
            </a:r>
          </a:p>
        </p:txBody>
      </p:sp>
      <p:sp>
        <p:nvSpPr>
          <p:cNvPr id="15" name="Text Placeholder 14">
            <a:extLst>
              <a:ext uri="{FF2B5EF4-FFF2-40B4-BE49-F238E27FC236}">
                <a16:creationId xmlns:a16="http://schemas.microsoft.com/office/drawing/2014/main" xmlns="" id="{6E33F1E3-ED30-4982-A86D-2C076E1C3B62}"/>
              </a:ext>
            </a:extLst>
          </p:cNvPr>
          <p:cNvSpPr>
            <a:spLocks noGrp="1"/>
          </p:cNvSpPr>
          <p:nvPr>
            <p:ph type="body" sz="quarter" idx="16" hasCustomPrompt="1"/>
          </p:nvPr>
        </p:nvSpPr>
        <p:spPr>
          <a:xfrm>
            <a:off x="2444930" y="2824919"/>
            <a:ext cx="685800"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MM/YY</a:t>
            </a:r>
          </a:p>
        </p:txBody>
      </p:sp>
      <p:sp>
        <p:nvSpPr>
          <p:cNvPr id="17" name="Text Placeholder 16">
            <a:extLst>
              <a:ext uri="{FF2B5EF4-FFF2-40B4-BE49-F238E27FC236}">
                <a16:creationId xmlns:a16="http://schemas.microsoft.com/office/drawing/2014/main" xmlns="" id="{12286C0F-7CF6-40B2-B8FA-7AF1D25B9922}"/>
              </a:ext>
            </a:extLst>
          </p:cNvPr>
          <p:cNvSpPr>
            <a:spLocks noGrp="1"/>
          </p:cNvSpPr>
          <p:nvPr>
            <p:ph type="body" sz="quarter" idx="17" hasCustomPrompt="1"/>
          </p:nvPr>
        </p:nvSpPr>
        <p:spPr>
          <a:xfrm>
            <a:off x="6373197" y="2831582"/>
            <a:ext cx="1921371" cy="171450"/>
          </a:xfrm>
        </p:spPr>
        <p:txBody>
          <a:bodyPr anchor="ctr">
            <a:noAutofit/>
          </a:bodyPr>
          <a:lstStyle>
            <a:lvl1pPr marL="0" indent="0">
              <a:buFont typeface="Arial" panose="020B0604020202020204" pitchFamily="34" charse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or No/List Third Party</a:t>
            </a:r>
          </a:p>
        </p:txBody>
      </p:sp>
      <p:sp>
        <p:nvSpPr>
          <p:cNvPr id="29" name="Text Placeholder 28">
            <a:extLst>
              <a:ext uri="{FF2B5EF4-FFF2-40B4-BE49-F238E27FC236}">
                <a16:creationId xmlns:a16="http://schemas.microsoft.com/office/drawing/2014/main" xmlns="" id="{110857ED-F4F0-4AED-89F7-6595C2BD781E}"/>
              </a:ext>
            </a:extLst>
          </p:cNvPr>
          <p:cNvSpPr>
            <a:spLocks noGrp="1"/>
          </p:cNvSpPr>
          <p:nvPr>
            <p:ph type="body" sz="quarter" idx="23" hasCustomPrompt="1"/>
          </p:nvPr>
        </p:nvSpPr>
        <p:spPr>
          <a:xfrm>
            <a:off x="6373091" y="2540929"/>
            <a:ext cx="1921371"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Yes, No, or N/A</a:t>
            </a:r>
          </a:p>
        </p:txBody>
      </p:sp>
      <p:sp>
        <p:nvSpPr>
          <p:cNvPr id="35" name="Text Placeholder 34">
            <a:extLst>
              <a:ext uri="{FF2B5EF4-FFF2-40B4-BE49-F238E27FC236}">
                <a16:creationId xmlns:a16="http://schemas.microsoft.com/office/drawing/2014/main" xmlns="" id="{B511FB73-1515-4896-A191-A9E5140DA205}"/>
              </a:ext>
            </a:extLst>
          </p:cNvPr>
          <p:cNvSpPr>
            <a:spLocks noGrp="1"/>
          </p:cNvSpPr>
          <p:nvPr>
            <p:ph type="body" sz="quarter" idx="26" hasCustomPrompt="1"/>
          </p:nvPr>
        </p:nvSpPr>
        <p:spPr>
          <a:xfrm>
            <a:off x="2438400" y="3565863"/>
            <a:ext cx="5856062" cy="216982"/>
          </a:xfrm>
        </p:spPr>
        <p:txBody>
          <a:bodyPr wrap="square" anchor="ctr">
            <a:sp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N/A or Enter Instructions</a:t>
            </a:r>
          </a:p>
        </p:txBody>
      </p:sp>
      <p:sp>
        <p:nvSpPr>
          <p:cNvPr id="37" name="Text Placeholder 36">
            <a:extLst>
              <a:ext uri="{FF2B5EF4-FFF2-40B4-BE49-F238E27FC236}">
                <a16:creationId xmlns:a16="http://schemas.microsoft.com/office/drawing/2014/main" xmlns="" id="{1E7DEFF9-F91F-49E6-94A9-010D12455C1C}"/>
              </a:ext>
            </a:extLst>
          </p:cNvPr>
          <p:cNvSpPr>
            <a:spLocks noGrp="1"/>
          </p:cNvSpPr>
          <p:nvPr>
            <p:ph type="body" sz="quarter" idx="27" hasCustomPrompt="1"/>
          </p:nvPr>
        </p:nvSpPr>
        <p:spPr>
          <a:xfrm>
            <a:off x="2445327" y="2250134"/>
            <a:ext cx="3186029"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New, Renewal, or Renewal with Changes</a:t>
            </a:r>
          </a:p>
        </p:txBody>
      </p:sp>
      <p:sp>
        <p:nvSpPr>
          <p:cNvPr id="39" name="Text Placeholder 38">
            <a:extLst>
              <a:ext uri="{FF2B5EF4-FFF2-40B4-BE49-F238E27FC236}">
                <a16:creationId xmlns:a16="http://schemas.microsoft.com/office/drawing/2014/main" xmlns="" id="{FA339AE6-73E5-47C9-8111-E129355C911C}"/>
              </a:ext>
            </a:extLst>
          </p:cNvPr>
          <p:cNvSpPr>
            <a:spLocks noGrp="1"/>
          </p:cNvSpPr>
          <p:nvPr>
            <p:ph type="body" sz="quarter" idx="28" hasCustomPrompt="1"/>
          </p:nvPr>
        </p:nvSpPr>
        <p:spPr>
          <a:xfrm>
            <a:off x="6780168" y="2255348"/>
            <a:ext cx="1514400"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PromoMats/</a:t>
            </a:r>
            <a:r>
              <a:rPr lang="en-US" dirty="0" err="1"/>
              <a:t>MedComms</a:t>
            </a:r>
            <a:r>
              <a:rPr lang="en-US" dirty="0"/>
              <a:t> #</a:t>
            </a:r>
          </a:p>
        </p:txBody>
      </p:sp>
      <p:sp>
        <p:nvSpPr>
          <p:cNvPr id="41" name="Text Placeholder 40">
            <a:extLst>
              <a:ext uri="{FF2B5EF4-FFF2-40B4-BE49-F238E27FC236}">
                <a16:creationId xmlns:a16="http://schemas.microsoft.com/office/drawing/2014/main" xmlns="" id="{F085F8C8-CE31-4A7B-87E4-06397B5B41DA}"/>
              </a:ext>
            </a:extLst>
          </p:cNvPr>
          <p:cNvSpPr>
            <a:spLocks noGrp="1"/>
          </p:cNvSpPr>
          <p:nvPr>
            <p:ph type="body" sz="quarter" idx="29" hasCustomPrompt="1"/>
          </p:nvPr>
        </p:nvSpPr>
        <p:spPr>
          <a:xfrm>
            <a:off x="2445327" y="1960199"/>
            <a:ext cx="3186029"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Franchise Lead/Global Medical Affairs Lead</a:t>
            </a:r>
          </a:p>
        </p:txBody>
      </p:sp>
      <p:sp>
        <p:nvSpPr>
          <p:cNvPr id="49" name="Text Placeholder 48">
            <a:extLst>
              <a:ext uri="{FF2B5EF4-FFF2-40B4-BE49-F238E27FC236}">
                <a16:creationId xmlns:a16="http://schemas.microsoft.com/office/drawing/2014/main" xmlns="" id="{FFBD88D7-1F68-4A55-9958-01B92024FDF7}"/>
              </a:ext>
            </a:extLst>
          </p:cNvPr>
          <p:cNvSpPr>
            <a:spLocks noGrp="1"/>
          </p:cNvSpPr>
          <p:nvPr>
            <p:ph type="body" sz="quarter" idx="33" hasCustomPrompt="1"/>
          </p:nvPr>
        </p:nvSpPr>
        <p:spPr>
          <a:xfrm>
            <a:off x="2445327" y="1410353"/>
            <a:ext cx="2433151"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No or Yes, Pending Local Market Approval</a:t>
            </a:r>
          </a:p>
        </p:txBody>
      </p:sp>
      <p:sp>
        <p:nvSpPr>
          <p:cNvPr id="51" name="Text Placeholder 50">
            <a:extLst>
              <a:ext uri="{FF2B5EF4-FFF2-40B4-BE49-F238E27FC236}">
                <a16:creationId xmlns:a16="http://schemas.microsoft.com/office/drawing/2014/main" xmlns="" id="{D75479AB-AB9C-4737-A1D0-F9E28AC4F163}"/>
              </a:ext>
            </a:extLst>
          </p:cNvPr>
          <p:cNvSpPr>
            <a:spLocks noGrp="1"/>
          </p:cNvSpPr>
          <p:nvPr>
            <p:ph type="body" sz="quarter" idx="34" hasCustomPrompt="1"/>
          </p:nvPr>
        </p:nvSpPr>
        <p:spPr>
          <a:xfrm>
            <a:off x="6262180" y="1410905"/>
            <a:ext cx="2032388" cy="171450"/>
          </a:xfrm>
        </p:spPr>
        <p:txBody>
          <a:bodyPr anchor="ctr">
            <a:noAutofit/>
          </a:bodyPr>
          <a:lstStyle>
            <a:lvl1pPr marL="0" indent="0">
              <a:buNone/>
              <a:defRPr sz="900"/>
            </a:lvl1pPr>
            <a:lvl2pPr marL="171450" indent="0">
              <a:buNone/>
              <a:defRPr sz="900"/>
            </a:lvl2pPr>
            <a:lvl3pPr marL="342900" indent="0">
              <a:buNone/>
              <a:defRPr sz="900"/>
            </a:lvl3pPr>
            <a:lvl4pPr marL="514350" indent="0">
              <a:buNone/>
              <a:defRPr sz="900"/>
            </a:lvl4pPr>
            <a:lvl5pPr marL="685800" indent="0">
              <a:buNone/>
              <a:defRPr sz="900"/>
            </a:lvl5pPr>
          </a:lstStyle>
          <a:p>
            <a:pPr lvl="0"/>
            <a:r>
              <a:rPr lang="en-US" dirty="0"/>
              <a:t>Therapy Area</a:t>
            </a:r>
          </a:p>
        </p:txBody>
      </p:sp>
      <p:sp>
        <p:nvSpPr>
          <p:cNvPr id="52" name="TextBox 51">
            <a:extLst>
              <a:ext uri="{FF2B5EF4-FFF2-40B4-BE49-F238E27FC236}">
                <a16:creationId xmlns:a16="http://schemas.microsoft.com/office/drawing/2014/main" xmlns="" id="{7085AA13-451C-453D-AD0D-E8AF815127C2}"/>
              </a:ext>
            </a:extLst>
          </p:cNvPr>
          <p:cNvSpPr txBox="1"/>
          <p:nvPr userDrawn="1"/>
        </p:nvSpPr>
        <p:spPr>
          <a:xfrm>
            <a:off x="845675" y="777537"/>
            <a:ext cx="1533549" cy="27432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sset Title</a:t>
            </a:r>
          </a:p>
        </p:txBody>
      </p:sp>
      <p:sp>
        <p:nvSpPr>
          <p:cNvPr id="53" name="TextBox 52">
            <a:extLst>
              <a:ext uri="{FF2B5EF4-FFF2-40B4-BE49-F238E27FC236}">
                <a16:creationId xmlns:a16="http://schemas.microsoft.com/office/drawing/2014/main" xmlns="" id="{A88B6979-D240-45DF-8FFB-111611A15632}"/>
              </a:ext>
            </a:extLst>
          </p:cNvPr>
          <p:cNvSpPr txBox="1"/>
          <p:nvPr userDrawn="1"/>
        </p:nvSpPr>
        <p:spPr>
          <a:xfrm>
            <a:off x="845675" y="2488880"/>
            <a:ext cx="1537307"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pproval Date</a:t>
            </a:r>
          </a:p>
        </p:txBody>
      </p:sp>
      <p:sp>
        <p:nvSpPr>
          <p:cNvPr id="54" name="TextBox 53">
            <a:extLst>
              <a:ext uri="{FF2B5EF4-FFF2-40B4-BE49-F238E27FC236}">
                <a16:creationId xmlns:a16="http://schemas.microsoft.com/office/drawing/2014/main" xmlns="" id="{13F32247-E803-4B9D-8739-4086AE7EDFE5}"/>
              </a:ext>
            </a:extLst>
          </p:cNvPr>
          <p:cNvSpPr txBox="1"/>
          <p:nvPr userDrawn="1"/>
        </p:nvSpPr>
        <p:spPr>
          <a:xfrm>
            <a:off x="845675" y="1067879"/>
            <a:ext cx="1533549" cy="27432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Intended Use</a:t>
            </a:r>
          </a:p>
        </p:txBody>
      </p:sp>
      <p:sp>
        <p:nvSpPr>
          <p:cNvPr id="55" name="TextBox 54">
            <a:extLst>
              <a:ext uri="{FF2B5EF4-FFF2-40B4-BE49-F238E27FC236}">
                <a16:creationId xmlns:a16="http://schemas.microsoft.com/office/drawing/2014/main" xmlns="" id="{142B0649-53B3-4494-A56E-67DCF07E8290}"/>
              </a:ext>
            </a:extLst>
          </p:cNvPr>
          <p:cNvSpPr txBox="1"/>
          <p:nvPr userDrawn="1"/>
        </p:nvSpPr>
        <p:spPr>
          <a:xfrm>
            <a:off x="845675" y="2772787"/>
            <a:ext cx="1537307"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Expiration Date</a:t>
            </a:r>
          </a:p>
        </p:txBody>
      </p:sp>
      <p:sp>
        <p:nvSpPr>
          <p:cNvPr id="66" name="TextBox 65">
            <a:extLst>
              <a:ext uri="{FF2B5EF4-FFF2-40B4-BE49-F238E27FC236}">
                <a16:creationId xmlns:a16="http://schemas.microsoft.com/office/drawing/2014/main" xmlns="" id="{67900F06-4765-44ED-A269-1CD58C5E952C}"/>
              </a:ext>
            </a:extLst>
          </p:cNvPr>
          <p:cNvSpPr txBox="1"/>
          <p:nvPr userDrawn="1"/>
        </p:nvSpPr>
        <p:spPr>
          <a:xfrm>
            <a:off x="3299056" y="2487526"/>
            <a:ext cx="3025544"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Copyright Permissions Obtained for Graphics</a:t>
            </a:r>
          </a:p>
        </p:txBody>
      </p:sp>
      <p:sp>
        <p:nvSpPr>
          <p:cNvPr id="69" name="TextBox 68">
            <a:extLst>
              <a:ext uri="{FF2B5EF4-FFF2-40B4-BE49-F238E27FC236}">
                <a16:creationId xmlns:a16="http://schemas.microsoft.com/office/drawing/2014/main" xmlns="" id="{621D8C32-5CB3-4252-B385-54C66A9E1EE6}"/>
              </a:ext>
            </a:extLst>
          </p:cNvPr>
          <p:cNvSpPr txBox="1"/>
          <p:nvPr userDrawn="1"/>
        </p:nvSpPr>
        <p:spPr>
          <a:xfrm>
            <a:off x="1" y="80817"/>
            <a:ext cx="9143999" cy="369332"/>
          </a:xfrm>
          <a:prstGeom prst="rect">
            <a:avLst/>
          </a:prstGeom>
          <a:solidFill>
            <a:schemeClr val="accent1"/>
          </a:solidFill>
          <a:ln>
            <a:noFill/>
          </a:ln>
        </p:spPr>
        <p:txBody>
          <a:bodyPr wrap="square" rtlCol="0" anchor="ctr">
            <a:spAutoFit/>
          </a:bodyPr>
          <a:lstStyle/>
          <a:p>
            <a:pPr marL="0" indent="0" algn="ctr">
              <a:buClr>
                <a:schemeClr val="accent1"/>
              </a:buClr>
              <a:buFont typeface="Arial" panose="020B0604020202020204" pitchFamily="34" charset="0"/>
              <a:buNone/>
            </a:pPr>
            <a:r>
              <a:rPr lang="en-US" sz="1800" b="1" dirty="0">
                <a:solidFill>
                  <a:schemeClr val="bg1"/>
                </a:solidFill>
              </a:rPr>
              <a:t>Global Medical Asset Cover Sheet</a:t>
            </a:r>
          </a:p>
        </p:txBody>
      </p:sp>
      <p:sp>
        <p:nvSpPr>
          <p:cNvPr id="70" name="TextBox 69">
            <a:extLst>
              <a:ext uri="{FF2B5EF4-FFF2-40B4-BE49-F238E27FC236}">
                <a16:creationId xmlns:a16="http://schemas.microsoft.com/office/drawing/2014/main" xmlns="" id="{6811B402-BB33-4FBF-A25A-6A132332CC41}"/>
              </a:ext>
            </a:extLst>
          </p:cNvPr>
          <p:cNvSpPr txBox="1"/>
          <p:nvPr userDrawn="1"/>
        </p:nvSpPr>
        <p:spPr>
          <a:xfrm>
            <a:off x="845675" y="3551124"/>
            <a:ext cx="1533548" cy="346249"/>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Special Instructions</a:t>
            </a:r>
            <a:br>
              <a:rPr lang="en-US" sz="900" b="1" dirty="0">
                <a:solidFill>
                  <a:schemeClr val="bg1"/>
                </a:solidFill>
              </a:rPr>
            </a:br>
            <a:r>
              <a:rPr lang="en-US" sz="900" b="1" dirty="0">
                <a:solidFill>
                  <a:schemeClr val="bg1"/>
                </a:solidFill>
              </a:rPr>
              <a:t>and/or Disclaimers</a:t>
            </a:r>
          </a:p>
        </p:txBody>
      </p:sp>
      <p:sp>
        <p:nvSpPr>
          <p:cNvPr id="71" name="TextBox 70">
            <a:extLst>
              <a:ext uri="{FF2B5EF4-FFF2-40B4-BE49-F238E27FC236}">
                <a16:creationId xmlns:a16="http://schemas.microsoft.com/office/drawing/2014/main" xmlns="" id="{A1A1B573-DC23-488B-93DB-AD4DD88A4651}"/>
              </a:ext>
            </a:extLst>
          </p:cNvPr>
          <p:cNvSpPr txBox="1"/>
          <p:nvPr userDrawn="1"/>
        </p:nvSpPr>
        <p:spPr>
          <a:xfrm>
            <a:off x="5106939" y="1358222"/>
            <a:ext cx="1028700" cy="27432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Therapy Area</a:t>
            </a:r>
          </a:p>
        </p:txBody>
      </p:sp>
      <p:sp>
        <p:nvSpPr>
          <p:cNvPr id="72" name="TextBox 71">
            <a:extLst>
              <a:ext uri="{FF2B5EF4-FFF2-40B4-BE49-F238E27FC236}">
                <a16:creationId xmlns:a16="http://schemas.microsoft.com/office/drawing/2014/main" xmlns="" id="{A294A206-A31C-476D-ACCB-00ABD9DE8B78}"/>
              </a:ext>
            </a:extLst>
          </p:cNvPr>
          <p:cNvSpPr txBox="1"/>
          <p:nvPr userDrawn="1"/>
        </p:nvSpPr>
        <p:spPr>
          <a:xfrm>
            <a:off x="845675" y="2201780"/>
            <a:ext cx="1533549"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New Asset/Renewal</a:t>
            </a:r>
          </a:p>
        </p:txBody>
      </p:sp>
      <p:sp>
        <p:nvSpPr>
          <p:cNvPr id="73" name="TextBox 72">
            <a:extLst>
              <a:ext uri="{FF2B5EF4-FFF2-40B4-BE49-F238E27FC236}">
                <a16:creationId xmlns:a16="http://schemas.microsoft.com/office/drawing/2014/main" xmlns="" id="{759580AA-6B1E-4C65-9D3B-8A40CBD8E220}"/>
              </a:ext>
            </a:extLst>
          </p:cNvPr>
          <p:cNvSpPr txBox="1"/>
          <p:nvPr userDrawn="1"/>
        </p:nvSpPr>
        <p:spPr>
          <a:xfrm>
            <a:off x="5645728" y="2201780"/>
            <a:ext cx="113444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Based On Asset</a:t>
            </a:r>
          </a:p>
        </p:txBody>
      </p:sp>
      <p:sp>
        <p:nvSpPr>
          <p:cNvPr id="74" name="TextBox 73">
            <a:extLst>
              <a:ext uri="{FF2B5EF4-FFF2-40B4-BE49-F238E27FC236}">
                <a16:creationId xmlns:a16="http://schemas.microsoft.com/office/drawing/2014/main" xmlns="" id="{00EE63BC-019F-46D2-85ED-E2FABA47A87D}"/>
              </a:ext>
            </a:extLst>
          </p:cNvPr>
          <p:cNvSpPr txBox="1"/>
          <p:nvPr userDrawn="1"/>
        </p:nvSpPr>
        <p:spPr>
          <a:xfrm>
            <a:off x="845675" y="1906193"/>
            <a:ext cx="1533549"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sset Owners</a:t>
            </a:r>
          </a:p>
        </p:txBody>
      </p:sp>
      <p:sp>
        <p:nvSpPr>
          <p:cNvPr id="78" name="TextBox 77">
            <a:extLst>
              <a:ext uri="{FF2B5EF4-FFF2-40B4-BE49-F238E27FC236}">
                <a16:creationId xmlns:a16="http://schemas.microsoft.com/office/drawing/2014/main" xmlns="" id="{D3001B95-73C8-4B7F-998E-B0AE7A43DE82}"/>
              </a:ext>
            </a:extLst>
          </p:cNvPr>
          <p:cNvSpPr txBox="1"/>
          <p:nvPr userDrawn="1"/>
        </p:nvSpPr>
        <p:spPr>
          <a:xfrm>
            <a:off x="845675" y="1358222"/>
            <a:ext cx="1533549" cy="27432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Approved for Distribution</a:t>
            </a:r>
          </a:p>
        </p:txBody>
      </p:sp>
      <p:sp>
        <p:nvSpPr>
          <p:cNvPr id="48" name="TextBox 47">
            <a:extLst>
              <a:ext uri="{FF2B5EF4-FFF2-40B4-BE49-F238E27FC236}">
                <a16:creationId xmlns:a16="http://schemas.microsoft.com/office/drawing/2014/main" xmlns="" id="{F0DE83F5-9900-4234-8A5B-4EFEB16F6D34}"/>
              </a:ext>
            </a:extLst>
          </p:cNvPr>
          <p:cNvSpPr txBox="1"/>
          <p:nvPr userDrawn="1"/>
        </p:nvSpPr>
        <p:spPr>
          <a:xfrm>
            <a:off x="5645728" y="1906193"/>
            <a:ext cx="1134440"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Document #</a:t>
            </a:r>
          </a:p>
        </p:txBody>
      </p:sp>
      <p:sp>
        <p:nvSpPr>
          <p:cNvPr id="7" name="Text Placeholder 6">
            <a:extLst>
              <a:ext uri="{FF2B5EF4-FFF2-40B4-BE49-F238E27FC236}">
                <a16:creationId xmlns:a16="http://schemas.microsoft.com/office/drawing/2014/main" xmlns="" id="{C399C3AD-3A79-4CAB-8984-EE85DD84E0A2}"/>
              </a:ext>
            </a:extLst>
          </p:cNvPr>
          <p:cNvSpPr>
            <a:spLocks noGrp="1"/>
          </p:cNvSpPr>
          <p:nvPr>
            <p:ph type="body" sz="quarter" idx="35" hasCustomPrompt="1"/>
          </p:nvPr>
        </p:nvSpPr>
        <p:spPr>
          <a:xfrm>
            <a:off x="6779398" y="1959899"/>
            <a:ext cx="1515170" cy="178594"/>
          </a:xfrm>
        </p:spPr>
        <p:txBody>
          <a:bodyPr>
            <a:noAutofit/>
          </a:bodyPr>
          <a:lstStyle>
            <a:lvl1pPr marL="0" indent="0">
              <a:buNone/>
              <a:defRPr sz="900"/>
            </a:lvl1pPr>
            <a:lvl2pPr marL="171450" indent="0">
              <a:buNone/>
              <a:defRPr/>
            </a:lvl2pPr>
            <a:lvl3pPr marL="342900" indent="0">
              <a:buNone/>
              <a:defRPr/>
            </a:lvl3pPr>
            <a:lvl4pPr marL="514350" indent="0">
              <a:buNone/>
              <a:defRPr/>
            </a:lvl4pPr>
            <a:lvl5pPr marL="685800" indent="0">
              <a:buNone/>
              <a:defRPr/>
            </a:lvl5pPr>
          </a:lstStyle>
          <a:p>
            <a:pPr lvl="0"/>
            <a:r>
              <a:rPr lang="en-US" dirty="0"/>
              <a:t>ML-XXXX-ALL-XXXX</a:t>
            </a:r>
          </a:p>
        </p:txBody>
      </p:sp>
      <p:sp>
        <p:nvSpPr>
          <p:cNvPr id="57" name="TextBox 56">
            <a:extLst>
              <a:ext uri="{FF2B5EF4-FFF2-40B4-BE49-F238E27FC236}">
                <a16:creationId xmlns:a16="http://schemas.microsoft.com/office/drawing/2014/main" xmlns="" id="{71FDDFED-CF51-4158-8A3B-DD9E176FC125}"/>
              </a:ext>
            </a:extLst>
          </p:cNvPr>
          <p:cNvSpPr txBox="1"/>
          <p:nvPr userDrawn="1"/>
        </p:nvSpPr>
        <p:spPr>
          <a:xfrm>
            <a:off x="3299056" y="2772787"/>
            <a:ext cx="3025544" cy="27432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900" b="1" dirty="0">
                <a:solidFill>
                  <a:schemeClr val="bg1"/>
                </a:solidFill>
              </a:rPr>
              <a:t>Technical Review/Fact Check by Medical Information</a:t>
            </a:r>
          </a:p>
        </p:txBody>
      </p:sp>
      <p:sp>
        <p:nvSpPr>
          <p:cNvPr id="62" name="TextBox 61">
            <a:extLst>
              <a:ext uri="{FF2B5EF4-FFF2-40B4-BE49-F238E27FC236}">
                <a16:creationId xmlns:a16="http://schemas.microsoft.com/office/drawing/2014/main" xmlns="" id="{65509915-7361-4754-AA26-9EB5B15ABE0F}"/>
              </a:ext>
            </a:extLst>
          </p:cNvPr>
          <p:cNvSpPr txBox="1"/>
          <p:nvPr userDrawn="1"/>
        </p:nvSpPr>
        <p:spPr>
          <a:xfrm>
            <a:off x="845676" y="3220527"/>
            <a:ext cx="7459507" cy="346249"/>
          </a:xfrm>
          <a:prstGeom prst="rect">
            <a:avLst/>
          </a:prstGeom>
          <a:solidFill>
            <a:schemeClr val="accent1"/>
          </a:solidFill>
          <a:ln>
            <a:noFill/>
          </a:ln>
        </p:spPr>
        <p:txBody>
          <a:bodyPr wrap="none" rtlCol="0" anchor="ctr">
            <a:noAutofit/>
          </a:bodyPr>
          <a:lstStyle/>
          <a:p>
            <a:pPr marL="0" indent="0" algn="ctr">
              <a:buClr>
                <a:schemeClr val="accent1"/>
              </a:buClr>
              <a:buFont typeface="Arial" panose="020B0604020202020204" pitchFamily="34" charset="0"/>
              <a:buNone/>
            </a:pPr>
            <a:r>
              <a:rPr lang="en-US" sz="900" b="1" dirty="0">
                <a:solidFill>
                  <a:schemeClr val="bg1"/>
                </a:solidFill>
              </a:rPr>
              <a:t>This material is globally approved for use by AstraZeneca Medical Personnel only. The local market is responsible for interpreting, </a:t>
            </a:r>
            <a:br>
              <a:rPr lang="en-US" sz="900" b="1" dirty="0">
                <a:solidFill>
                  <a:schemeClr val="bg1"/>
                </a:solidFill>
              </a:rPr>
            </a:br>
            <a:r>
              <a:rPr lang="en-US" sz="900" b="1" dirty="0">
                <a:solidFill>
                  <a:schemeClr val="bg1"/>
                </a:solidFill>
              </a:rPr>
              <a:t>reviewing, and approving the content according to their local label, rules, and regulations. </a:t>
            </a:r>
          </a:p>
        </p:txBody>
      </p:sp>
    </p:spTree>
    <p:extLst>
      <p:ext uri="{BB962C8B-B14F-4D97-AF65-F5344CB8AC3E}">
        <p14:creationId xmlns:p14="http://schemas.microsoft.com/office/powerpoint/2010/main" val="66938805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o Not Use-&g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60956BE7-CD1E-4053-9515-31D954D7F822}"/>
              </a:ext>
            </a:extLst>
          </p:cNvPr>
          <p:cNvSpPr>
            <a:spLocks noGrp="1"/>
          </p:cNvSpPr>
          <p:nvPr>
            <p:ph type="dt" sz="half" idx="10"/>
          </p:nvPr>
        </p:nvSpPr>
        <p:spPr/>
        <p:txBody>
          <a:bodyPr/>
          <a:lstStyle/>
          <a:p>
            <a:fld id="{CD760F18-88F3-4EF5-B415-6A2DEC6930B5}" type="datetime1">
              <a:rPr lang="en-US" smtClean="0"/>
              <a:t>6/29/2023</a:t>
            </a:fld>
            <a:endParaRPr lang="en-US"/>
          </a:p>
        </p:txBody>
      </p:sp>
      <p:sp>
        <p:nvSpPr>
          <p:cNvPr id="4" name="Footer Placeholder 3">
            <a:extLst>
              <a:ext uri="{FF2B5EF4-FFF2-40B4-BE49-F238E27FC236}">
                <a16:creationId xmlns:a16="http://schemas.microsoft.com/office/drawing/2014/main" xmlns="" id="{0C667D6A-BD1D-455C-A68F-2B5E1FF8E70F}"/>
              </a:ext>
            </a:extLst>
          </p:cNvPr>
          <p:cNvSpPr>
            <a:spLocks noGrp="1"/>
          </p:cNvSpPr>
          <p:nvPr>
            <p:ph type="ftr" sz="quarter" idx="11"/>
          </p:nvPr>
        </p:nvSpPr>
        <p:spPr/>
        <p:txBody>
          <a:bodyPr/>
          <a:lstStyle/>
          <a:p>
            <a:endParaRPr lang="en-US"/>
          </a:p>
        </p:txBody>
      </p:sp>
      <p:sp>
        <p:nvSpPr>
          <p:cNvPr id="6" name="TextBox 5">
            <a:extLst>
              <a:ext uri="{FF2B5EF4-FFF2-40B4-BE49-F238E27FC236}">
                <a16:creationId xmlns:a16="http://schemas.microsoft.com/office/drawing/2014/main" xmlns="" id="{E6BF02FB-EFBA-4E7D-9306-E2A3E6AEDB9F}"/>
              </a:ext>
            </a:extLst>
          </p:cNvPr>
          <p:cNvSpPr txBox="1"/>
          <p:nvPr userDrawn="1"/>
        </p:nvSpPr>
        <p:spPr>
          <a:xfrm>
            <a:off x="1359172" y="1446688"/>
            <a:ext cx="2214068" cy="1015663"/>
          </a:xfrm>
          <a:prstGeom prst="rect">
            <a:avLst/>
          </a:prstGeom>
          <a:noFill/>
        </p:spPr>
        <p:txBody>
          <a:bodyPr wrap="none" rtlCol="0">
            <a:spAutoFit/>
          </a:bodyPr>
          <a:lstStyle/>
          <a:p>
            <a:pPr marL="0" indent="0" algn="ctr">
              <a:buClr>
                <a:schemeClr val="accent1"/>
              </a:buClr>
              <a:buFont typeface="Arial" panose="020B0604020202020204" pitchFamily="34" charset="0"/>
              <a:buNone/>
            </a:pPr>
            <a:r>
              <a:rPr lang="en-US" sz="3000" b="1" dirty="0">
                <a:solidFill>
                  <a:schemeClr val="bg1"/>
                </a:solidFill>
              </a:rPr>
              <a:t>Use These </a:t>
            </a:r>
            <a:br>
              <a:rPr lang="en-US" sz="3000" b="1" dirty="0">
                <a:solidFill>
                  <a:schemeClr val="bg1"/>
                </a:solidFill>
              </a:rPr>
            </a:br>
            <a:r>
              <a:rPr lang="en-US" sz="3000" b="1" dirty="0">
                <a:solidFill>
                  <a:schemeClr val="bg1"/>
                </a:solidFill>
              </a:rPr>
              <a:t>Layouts</a:t>
            </a:r>
          </a:p>
        </p:txBody>
      </p:sp>
      <p:sp>
        <p:nvSpPr>
          <p:cNvPr id="7" name="TextBox 6">
            <a:extLst>
              <a:ext uri="{FF2B5EF4-FFF2-40B4-BE49-F238E27FC236}">
                <a16:creationId xmlns:a16="http://schemas.microsoft.com/office/drawing/2014/main" xmlns="" id="{83043284-78F9-4E81-A97D-42F957CD6C75}"/>
              </a:ext>
            </a:extLst>
          </p:cNvPr>
          <p:cNvSpPr txBox="1"/>
          <p:nvPr userDrawn="1"/>
        </p:nvSpPr>
        <p:spPr>
          <a:xfrm>
            <a:off x="5707767" y="985022"/>
            <a:ext cx="2214068" cy="1477328"/>
          </a:xfrm>
          <a:prstGeom prst="rect">
            <a:avLst/>
          </a:prstGeom>
          <a:noFill/>
        </p:spPr>
        <p:txBody>
          <a:bodyPr wrap="none" rtlCol="0">
            <a:spAutoFit/>
          </a:bodyPr>
          <a:lstStyle/>
          <a:p>
            <a:pPr marL="0" indent="0" algn="ctr">
              <a:buClr>
                <a:schemeClr val="accent1"/>
              </a:buClr>
              <a:buFont typeface="Arial" panose="020B0604020202020204" pitchFamily="34" charset="0"/>
              <a:buNone/>
            </a:pPr>
            <a:r>
              <a:rPr lang="en-US" sz="3000" b="1" dirty="0">
                <a:solidFill>
                  <a:schemeClr val="bg1"/>
                </a:solidFill>
              </a:rPr>
              <a:t>DO NOT</a:t>
            </a:r>
          </a:p>
          <a:p>
            <a:pPr marL="0" indent="0" algn="ctr">
              <a:buClr>
                <a:schemeClr val="accent1"/>
              </a:buClr>
              <a:buFont typeface="Arial" panose="020B0604020202020204" pitchFamily="34" charset="0"/>
              <a:buNone/>
            </a:pPr>
            <a:r>
              <a:rPr lang="en-US" sz="3000" b="1" dirty="0">
                <a:solidFill>
                  <a:schemeClr val="bg1"/>
                </a:solidFill>
              </a:rPr>
              <a:t>Use These </a:t>
            </a:r>
            <a:br>
              <a:rPr lang="en-US" sz="3000" b="1" dirty="0">
                <a:solidFill>
                  <a:schemeClr val="bg1"/>
                </a:solidFill>
              </a:rPr>
            </a:br>
            <a:r>
              <a:rPr lang="en-US" sz="3000" b="1" dirty="0">
                <a:solidFill>
                  <a:schemeClr val="bg1"/>
                </a:solidFill>
              </a:rPr>
              <a:t>Layouts</a:t>
            </a:r>
          </a:p>
        </p:txBody>
      </p:sp>
      <p:sp>
        <p:nvSpPr>
          <p:cNvPr id="8" name="Arrow: Right 7">
            <a:extLst>
              <a:ext uri="{FF2B5EF4-FFF2-40B4-BE49-F238E27FC236}">
                <a16:creationId xmlns:a16="http://schemas.microsoft.com/office/drawing/2014/main" xmlns="" id="{7A78AFAA-7418-4F48-AE4E-B278A265CE75}"/>
              </a:ext>
            </a:extLst>
          </p:cNvPr>
          <p:cNvSpPr/>
          <p:nvPr userDrawn="1"/>
        </p:nvSpPr>
        <p:spPr>
          <a:xfrm>
            <a:off x="5221432" y="2598484"/>
            <a:ext cx="3226378" cy="1636568"/>
          </a:xfrm>
          <a:prstGeom prst="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Arrow: Right 8">
            <a:extLst>
              <a:ext uri="{FF2B5EF4-FFF2-40B4-BE49-F238E27FC236}">
                <a16:creationId xmlns:a16="http://schemas.microsoft.com/office/drawing/2014/main" xmlns="" id="{304CDD4A-5E0D-4DF4-B3F7-19367E77F2F4}"/>
              </a:ext>
            </a:extLst>
          </p:cNvPr>
          <p:cNvSpPr/>
          <p:nvPr userDrawn="1"/>
        </p:nvSpPr>
        <p:spPr>
          <a:xfrm flipH="1">
            <a:off x="740353" y="2598484"/>
            <a:ext cx="3226378" cy="1636568"/>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60009461"/>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333375" y="4537168"/>
            <a:ext cx="8477250" cy="418682"/>
          </a:xfrm>
        </p:spPr>
        <p:txBody>
          <a:bodyPr lIns="0" bIns="0" anchor="b">
            <a:noAutofit/>
          </a:bodyPr>
          <a:lstStyle>
            <a:lvl1pPr marL="0" indent="0" algn="l">
              <a:lnSpc>
                <a:spcPct val="95000"/>
              </a:lnSpc>
              <a:spcBef>
                <a:spcPts val="225"/>
              </a:spcBef>
              <a:buFont typeface="Arial" pitchFamily="34" charset="0"/>
              <a:buNone/>
              <a:defRPr sz="750"/>
            </a:lvl1pPr>
            <a:lvl2pPr marL="171446" indent="0">
              <a:buNone/>
              <a:defRPr/>
            </a:lvl2pPr>
            <a:lvl3pPr marL="342892" indent="0">
              <a:buNone/>
              <a:defRPr/>
            </a:lvl3pPr>
            <a:lvl4pPr marL="514337" indent="0">
              <a:buNone/>
              <a:defRPr/>
            </a:lvl4pPr>
            <a:lvl5pPr marL="685783" indent="0">
              <a:buNone/>
              <a:defRPr/>
            </a:lvl5pPr>
          </a:lstStyle>
          <a:p>
            <a:pPr lvl="0"/>
            <a:r>
              <a:rPr lang="en-US" dirty="0"/>
              <a:t>Reference(s)</a:t>
            </a:r>
          </a:p>
        </p:txBody>
      </p:sp>
      <p:sp>
        <p:nvSpPr>
          <p:cNvPr id="3" name="Content Placeholder 2"/>
          <p:cNvSpPr>
            <a:spLocks noGrp="1"/>
          </p:cNvSpPr>
          <p:nvPr>
            <p:ph idx="1"/>
          </p:nvPr>
        </p:nvSpPr>
        <p:spPr>
          <a:xfrm>
            <a:off x="342900" y="946404"/>
            <a:ext cx="845820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408926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14" name="Прямоугольник 13"/>
          <p:cNvSpPr/>
          <p:nvPr userDrawn="1"/>
        </p:nvSpPr>
        <p:spPr>
          <a:xfrm>
            <a:off x="0" y="-1"/>
            <a:ext cx="9144000" cy="5143501"/>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rtlCol="0" anchor="ctr"/>
          <a:lstStyle/>
          <a:p>
            <a:pPr algn="ctr"/>
            <a:endParaRPr lang="ru-RU" sz="1350" dirty="0"/>
          </a:p>
        </p:txBody>
      </p:sp>
      <p:pic>
        <p:nvPicPr>
          <p:cNvPr id="15" name="Рисунок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65536" y="251913"/>
            <a:ext cx="1602264" cy="881938"/>
          </a:xfrm>
          <a:prstGeom prst="rect">
            <a:avLst/>
          </a:prstGeom>
        </p:spPr>
      </p:pic>
      <p:cxnSp>
        <p:nvCxnSpPr>
          <p:cNvPr id="16" name="Прямая соединительная линия 15"/>
          <p:cNvCxnSpPr>
            <a:stCxn id="19" idx="1"/>
          </p:cNvCxnSpPr>
          <p:nvPr userDrawn="1"/>
        </p:nvCxnSpPr>
        <p:spPr>
          <a:xfrm flipH="1">
            <a:off x="65487" y="768434"/>
            <a:ext cx="236938" cy="2199"/>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a:endCxn id="19" idx="3"/>
          </p:cNvCxnSpPr>
          <p:nvPr userDrawn="1"/>
        </p:nvCxnSpPr>
        <p:spPr>
          <a:xfrm flipH="1" flipV="1">
            <a:off x="1478580" y="768434"/>
            <a:ext cx="5986956" cy="2199"/>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8" name="Группа 17"/>
          <p:cNvGrpSpPr/>
          <p:nvPr userDrawn="1"/>
        </p:nvGrpSpPr>
        <p:grpSpPr>
          <a:xfrm>
            <a:off x="302426" y="328113"/>
            <a:ext cx="1176155" cy="1285026"/>
            <a:chOff x="3495296" y="2571685"/>
            <a:chExt cx="2084894" cy="2277882"/>
          </a:xfrm>
        </p:grpSpPr>
        <p:pic>
          <p:nvPicPr>
            <p:cNvPr id="19" name="Рисунок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95296" y="2571685"/>
              <a:ext cx="2084894" cy="1561051"/>
            </a:xfrm>
            <a:prstGeom prst="rect">
              <a:avLst/>
            </a:prstGeom>
          </p:spPr>
        </p:pic>
        <p:pic>
          <p:nvPicPr>
            <p:cNvPr id="23" name="Рисунок 2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73097" y="4287204"/>
              <a:ext cx="1701698" cy="562363"/>
            </a:xfrm>
            <a:prstGeom prst="rect">
              <a:avLst/>
            </a:prstGeom>
          </p:spPr>
        </p:pic>
      </p:grpSp>
      <p:sp>
        <p:nvSpPr>
          <p:cNvPr id="24" name="Текст 12"/>
          <p:cNvSpPr>
            <a:spLocks noGrp="1"/>
          </p:cNvSpPr>
          <p:nvPr>
            <p:ph type="body" sz="quarter" idx="10" hasCustomPrompt="1"/>
          </p:nvPr>
        </p:nvSpPr>
        <p:spPr>
          <a:xfrm>
            <a:off x="1885950" y="1809751"/>
            <a:ext cx="5579586" cy="1050032"/>
          </a:xfrm>
          <a:prstGeom prst="rect">
            <a:avLst/>
          </a:prstGeom>
        </p:spPr>
        <p:txBody>
          <a:bodyPr lIns="91438" tIns="45719" rIns="91438" bIns="45719"/>
          <a:lstStyle>
            <a:lvl1pPr marL="0" indent="0">
              <a:buNone/>
              <a:defRPr sz="2774" b="1">
                <a:solidFill>
                  <a:schemeClr val="bg2"/>
                </a:solidFill>
                <a:latin typeface="Arial" panose="020B0604020202020204" pitchFamily="34" charset="0"/>
                <a:cs typeface="Arial" panose="020B0604020202020204" pitchFamily="34" charset="0"/>
              </a:defRPr>
            </a:lvl1pPr>
            <a:lvl2pPr marL="342800" indent="0">
              <a:buNone/>
              <a:defRPr sz="3299" b="1">
                <a:solidFill>
                  <a:schemeClr val="bg2"/>
                </a:solidFill>
              </a:defRPr>
            </a:lvl2pPr>
            <a:lvl3pPr marL="685600" indent="0">
              <a:buNone/>
              <a:defRPr sz="3299" b="1">
                <a:solidFill>
                  <a:schemeClr val="bg2"/>
                </a:solidFill>
              </a:defRPr>
            </a:lvl3pPr>
            <a:lvl4pPr marL="1028400" indent="0">
              <a:buNone/>
              <a:defRPr sz="3299" b="1">
                <a:solidFill>
                  <a:schemeClr val="bg2"/>
                </a:solidFill>
              </a:defRPr>
            </a:lvl4pPr>
            <a:lvl5pPr marL="1371200" indent="0">
              <a:buNone/>
              <a:defRPr sz="3299" b="1">
                <a:solidFill>
                  <a:schemeClr val="bg2"/>
                </a:solidFill>
              </a:defRPr>
            </a:lvl5pPr>
          </a:lstStyle>
          <a:p>
            <a:pPr lvl="0"/>
            <a:r>
              <a:rPr lang="ru-RU" dirty="0"/>
              <a:t>ЗАГОЛОВОК</a:t>
            </a:r>
            <a:br>
              <a:rPr lang="ru-RU" dirty="0"/>
            </a:br>
            <a:r>
              <a:rPr lang="ru-RU" dirty="0"/>
              <a:t>ПРЕЗЕНТАЦИИ</a:t>
            </a:r>
          </a:p>
        </p:txBody>
      </p:sp>
      <p:sp>
        <p:nvSpPr>
          <p:cNvPr id="25" name="Текст 21"/>
          <p:cNvSpPr>
            <a:spLocks noGrp="1"/>
          </p:cNvSpPr>
          <p:nvPr>
            <p:ph type="body" sz="quarter" idx="11" hasCustomPrompt="1"/>
          </p:nvPr>
        </p:nvSpPr>
        <p:spPr>
          <a:xfrm>
            <a:off x="1885951" y="2859783"/>
            <a:ext cx="5579587" cy="402704"/>
          </a:xfrm>
          <a:prstGeom prst="rect">
            <a:avLst/>
          </a:prstGeom>
        </p:spPr>
        <p:txBody>
          <a:bodyPr lIns="91438" tIns="45719" rIns="91438" bIns="45719"/>
          <a:lstStyle>
            <a:lvl1pPr marL="0" indent="0">
              <a:buNone/>
              <a:defRPr sz="1125">
                <a:solidFill>
                  <a:schemeClr val="accent4"/>
                </a:solidFill>
                <a:latin typeface="Arial" panose="020B0604020202020204" pitchFamily="34" charset="0"/>
                <a:cs typeface="Arial" panose="020B0604020202020204" pitchFamily="34" charset="0"/>
              </a:defRPr>
            </a:lvl1pPr>
          </a:lstStyle>
          <a:p>
            <a:r>
              <a:rPr lang="ru-RU" sz="1725" b="1" dirty="0"/>
              <a:t>АВТОР ПРЕЗЕНТАЦИИ</a:t>
            </a:r>
          </a:p>
        </p:txBody>
      </p:sp>
      <p:sp>
        <p:nvSpPr>
          <p:cNvPr id="26" name="Текст 37"/>
          <p:cNvSpPr>
            <a:spLocks noGrp="1"/>
          </p:cNvSpPr>
          <p:nvPr>
            <p:ph type="body" sz="quarter" idx="12"/>
          </p:nvPr>
        </p:nvSpPr>
        <p:spPr>
          <a:xfrm>
            <a:off x="1885950" y="3262486"/>
            <a:ext cx="5579586" cy="792163"/>
          </a:xfrm>
          <a:prstGeom prst="rect">
            <a:avLst/>
          </a:prstGeom>
        </p:spPr>
        <p:txBody>
          <a:bodyPr lIns="121917" tIns="60958" rIns="121917" bIns="60958"/>
          <a:lstStyle>
            <a:lvl1pPr marL="0" indent="0">
              <a:buNone/>
              <a:defRPr sz="1125">
                <a:solidFill>
                  <a:schemeClr val="accent4"/>
                </a:solidFill>
                <a:latin typeface="Arial" panose="020B0604020202020204" pitchFamily="34" charset="0"/>
                <a:cs typeface="Arial" panose="020B0604020202020204" pitchFamily="34" charset="0"/>
              </a:defRPr>
            </a:lvl1pPr>
          </a:lstStyle>
          <a:p>
            <a:r>
              <a:rPr lang="ru-RU" sz="1725" b="1" dirty="0"/>
              <a:t>Должность автора</a:t>
            </a:r>
          </a:p>
          <a:p>
            <a:r>
              <a:rPr lang="ru-RU" sz="1725" b="1" dirty="0"/>
              <a:t>Дата мероприятия, город</a:t>
            </a:r>
            <a:endParaRPr lang="en-US" sz="1725" b="1" dirty="0"/>
          </a:p>
        </p:txBody>
      </p:sp>
    </p:spTree>
    <p:extLst>
      <p:ext uri="{BB962C8B-B14F-4D97-AF65-F5344CB8AC3E}">
        <p14:creationId xmlns:p14="http://schemas.microsoft.com/office/powerpoint/2010/main" val="314705668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sp>
        <p:nvSpPr>
          <p:cNvPr id="10" name="Прямоугольник 9"/>
          <p:cNvSpPr/>
          <p:nvPr userDrawn="1"/>
        </p:nvSpPr>
        <p:spPr>
          <a:xfrm>
            <a:off x="0" y="1"/>
            <a:ext cx="9144000" cy="5143501"/>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rtlCol="0" anchor="ctr"/>
          <a:lstStyle/>
          <a:p>
            <a:pPr algn="ctr"/>
            <a:endParaRPr lang="ru-RU" sz="1350"/>
          </a:p>
        </p:txBody>
      </p:sp>
      <p:sp>
        <p:nvSpPr>
          <p:cNvPr id="11" name="Прямоугольник 10"/>
          <p:cNvSpPr/>
          <p:nvPr userDrawn="1"/>
        </p:nvSpPr>
        <p:spPr>
          <a:xfrm>
            <a:off x="0" y="1"/>
            <a:ext cx="9144000" cy="5143501"/>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rtlCol="0" anchor="ctr"/>
          <a:lstStyle/>
          <a:p>
            <a:pPr algn="ctr"/>
            <a:endParaRPr lang="ru-RU" sz="1350"/>
          </a:p>
        </p:txBody>
      </p:sp>
      <p:sp>
        <p:nvSpPr>
          <p:cNvPr id="12" name="Title 1"/>
          <p:cNvSpPr>
            <a:spLocks noGrp="1"/>
          </p:cNvSpPr>
          <p:nvPr>
            <p:ph type="ctrTitle" hasCustomPrompt="1"/>
          </p:nvPr>
        </p:nvSpPr>
        <p:spPr>
          <a:xfrm>
            <a:off x="1143000" y="1824842"/>
            <a:ext cx="6858000" cy="976756"/>
          </a:xfrm>
          <a:prstGeom prst="rect">
            <a:avLst/>
          </a:prstGeom>
        </p:spPr>
        <p:txBody>
          <a:bodyPr lIns="91438" tIns="45719" rIns="91438" bIns="45719" anchor="t"/>
          <a:lstStyle>
            <a:lvl1pPr algn="ctr">
              <a:defRPr sz="3299" b="1">
                <a:solidFill>
                  <a:schemeClr val="bg2"/>
                </a:solidFill>
                <a:latin typeface="Arial" panose="020B0604020202020204" pitchFamily="34" charset="0"/>
                <a:cs typeface="Arial" panose="020B0604020202020204" pitchFamily="34" charset="0"/>
              </a:defRPr>
            </a:lvl1pPr>
          </a:lstStyle>
          <a:p>
            <a:r>
              <a:rPr lang="ru-RU" dirty="0"/>
              <a:t>ЗАГОЛОВОК ПРЕЗЕНТАЦИИ</a:t>
            </a:r>
            <a:endParaRPr lang="en-US" dirty="0"/>
          </a:p>
        </p:txBody>
      </p:sp>
      <p:sp>
        <p:nvSpPr>
          <p:cNvPr id="13" name="Subtitle 2"/>
          <p:cNvSpPr>
            <a:spLocks noGrp="1"/>
          </p:cNvSpPr>
          <p:nvPr>
            <p:ph type="subTitle" idx="1" hasCustomPrompt="1"/>
          </p:nvPr>
        </p:nvSpPr>
        <p:spPr>
          <a:xfrm>
            <a:off x="1143000" y="2870653"/>
            <a:ext cx="6858000" cy="1175722"/>
          </a:xfrm>
          <a:prstGeom prst="rect">
            <a:avLst/>
          </a:prstGeom>
        </p:spPr>
        <p:txBody>
          <a:bodyPr lIns="91438" tIns="45719" rIns="91438" bIns="45719"/>
          <a:lstStyle>
            <a:lvl1pPr marL="0" indent="0" algn="ctr">
              <a:buNone/>
              <a:defRPr sz="1500">
                <a:solidFill>
                  <a:schemeClr val="accent4"/>
                </a:solidFill>
                <a:latin typeface="+mn-lt"/>
              </a:defRPr>
            </a:lvl1pPr>
            <a:lvl2pPr marL="342800" indent="0" algn="ctr">
              <a:buNone/>
              <a:defRPr sz="1500"/>
            </a:lvl2pPr>
            <a:lvl3pPr marL="685600" indent="0" algn="ctr">
              <a:buNone/>
              <a:defRPr sz="1425"/>
            </a:lvl3pPr>
            <a:lvl4pPr marL="1028400" indent="0" algn="ctr">
              <a:buNone/>
              <a:defRPr sz="1200"/>
            </a:lvl4pPr>
            <a:lvl5pPr marL="1371200" indent="0" algn="ctr">
              <a:buNone/>
              <a:defRPr sz="1200"/>
            </a:lvl5pPr>
            <a:lvl6pPr marL="1714000" indent="0" algn="ctr">
              <a:buNone/>
              <a:defRPr sz="1200"/>
            </a:lvl6pPr>
            <a:lvl7pPr marL="2056800" indent="0" algn="ctr">
              <a:buNone/>
              <a:defRPr sz="1200"/>
            </a:lvl7pPr>
            <a:lvl8pPr marL="2399600" indent="0" algn="ctr">
              <a:buNone/>
              <a:defRPr sz="1200"/>
            </a:lvl8pPr>
            <a:lvl9pPr marL="2742400" indent="0" algn="ctr">
              <a:buNone/>
              <a:defRPr sz="1200"/>
            </a:lvl9pPr>
          </a:lstStyle>
          <a:p>
            <a:r>
              <a:rPr lang="ru-RU" sz="1725" b="1" dirty="0"/>
              <a:t>АВТОР ПРЕЗЕНТАЦИИ</a:t>
            </a:r>
          </a:p>
          <a:p>
            <a:r>
              <a:rPr lang="ru-RU" sz="1725" b="1" dirty="0"/>
              <a:t>Должность автора</a:t>
            </a:r>
          </a:p>
          <a:p>
            <a:r>
              <a:rPr lang="ru-RU" sz="1725" b="1" dirty="0"/>
              <a:t>Дата мероприятия, город</a:t>
            </a:r>
            <a:endParaRPr lang="en-US" sz="1725" b="1" dirty="0"/>
          </a:p>
        </p:txBody>
      </p:sp>
      <p:pic>
        <p:nvPicPr>
          <p:cNvPr id="14" name="Рисунок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65536" y="251913"/>
            <a:ext cx="1602264" cy="881938"/>
          </a:xfrm>
          <a:prstGeom prst="rect">
            <a:avLst/>
          </a:prstGeom>
        </p:spPr>
      </p:pic>
      <p:cxnSp>
        <p:nvCxnSpPr>
          <p:cNvPr id="21" name="Прямая соединительная линия 20"/>
          <p:cNvCxnSpPr>
            <a:stCxn id="24" idx="1"/>
          </p:cNvCxnSpPr>
          <p:nvPr userDrawn="1"/>
        </p:nvCxnSpPr>
        <p:spPr>
          <a:xfrm flipH="1">
            <a:off x="65487" y="768434"/>
            <a:ext cx="236938" cy="2199"/>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a:endCxn id="24" idx="3"/>
          </p:cNvCxnSpPr>
          <p:nvPr userDrawn="1"/>
        </p:nvCxnSpPr>
        <p:spPr>
          <a:xfrm flipH="1" flipV="1">
            <a:off x="1478580" y="768434"/>
            <a:ext cx="5986956" cy="2199"/>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pic>
        <p:nvPicPr>
          <p:cNvPr id="24" name="Рисунок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2426" y="328114"/>
            <a:ext cx="1176155" cy="880639"/>
          </a:xfrm>
          <a:prstGeom prst="rect">
            <a:avLst/>
          </a:prstGeom>
        </p:spPr>
      </p:pic>
      <p:pic>
        <p:nvPicPr>
          <p:cNvPr id="15" name="Рисунок 14"/>
          <p:cNvPicPr>
            <a:picLocks noChangeAspect="1"/>
          </p:cNvPicPr>
          <p:nvPr userDrawn="1"/>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02728" y="1295893"/>
            <a:ext cx="959982" cy="317247"/>
          </a:xfrm>
          <a:prstGeom prst="rect">
            <a:avLst/>
          </a:prstGeom>
        </p:spPr>
      </p:pic>
    </p:spTree>
    <p:extLst>
      <p:ext uri="{BB962C8B-B14F-4D97-AF65-F5344CB8AC3E}">
        <p14:creationId xmlns:p14="http://schemas.microsoft.com/office/powerpoint/2010/main" val="256027984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sp>
        <p:nvSpPr>
          <p:cNvPr id="10" name="Прямоугольник 9"/>
          <p:cNvSpPr/>
          <p:nvPr userDrawn="1"/>
        </p:nvSpPr>
        <p:spPr>
          <a:xfrm>
            <a:off x="0" y="1"/>
            <a:ext cx="9144000" cy="5143501"/>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rtlCol="0" anchor="ctr"/>
          <a:lstStyle/>
          <a:p>
            <a:pPr algn="ctr"/>
            <a:endParaRPr lang="ru-RU" sz="1350"/>
          </a:p>
        </p:txBody>
      </p:sp>
      <p:sp>
        <p:nvSpPr>
          <p:cNvPr id="11" name="Прямоугольник 10"/>
          <p:cNvSpPr/>
          <p:nvPr userDrawn="1"/>
        </p:nvSpPr>
        <p:spPr>
          <a:xfrm>
            <a:off x="0" y="1"/>
            <a:ext cx="9144000" cy="5143501"/>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rtlCol="0" anchor="ctr"/>
          <a:lstStyle/>
          <a:p>
            <a:pPr algn="ctr"/>
            <a:endParaRPr lang="ru-RU" sz="1350"/>
          </a:p>
        </p:txBody>
      </p:sp>
      <p:sp>
        <p:nvSpPr>
          <p:cNvPr id="12" name="Title 1"/>
          <p:cNvSpPr>
            <a:spLocks noGrp="1"/>
          </p:cNvSpPr>
          <p:nvPr>
            <p:ph type="ctrTitle" hasCustomPrompt="1"/>
          </p:nvPr>
        </p:nvSpPr>
        <p:spPr>
          <a:xfrm>
            <a:off x="1143000" y="1824842"/>
            <a:ext cx="6858000" cy="976756"/>
          </a:xfrm>
          <a:prstGeom prst="rect">
            <a:avLst/>
          </a:prstGeom>
        </p:spPr>
        <p:txBody>
          <a:bodyPr lIns="91438" tIns="45719" rIns="91438" bIns="45719" anchor="t"/>
          <a:lstStyle>
            <a:lvl1pPr algn="ctr">
              <a:defRPr sz="3299" b="1">
                <a:solidFill>
                  <a:schemeClr val="bg2"/>
                </a:solidFill>
                <a:latin typeface="Arial" panose="020B0604020202020204" pitchFamily="34" charset="0"/>
                <a:cs typeface="Arial" panose="020B0604020202020204" pitchFamily="34" charset="0"/>
              </a:defRPr>
            </a:lvl1pPr>
          </a:lstStyle>
          <a:p>
            <a:r>
              <a:rPr lang="ru-RU" dirty="0"/>
              <a:t>ЗАГОЛОВОК ПРЕЗЕНТАЦИИ</a:t>
            </a:r>
            <a:endParaRPr lang="en-US" dirty="0"/>
          </a:p>
        </p:txBody>
      </p:sp>
      <p:sp>
        <p:nvSpPr>
          <p:cNvPr id="13" name="Subtitle 2"/>
          <p:cNvSpPr>
            <a:spLocks noGrp="1"/>
          </p:cNvSpPr>
          <p:nvPr>
            <p:ph type="subTitle" idx="1" hasCustomPrompt="1"/>
          </p:nvPr>
        </p:nvSpPr>
        <p:spPr>
          <a:xfrm>
            <a:off x="1143000" y="2870653"/>
            <a:ext cx="6858000" cy="1175722"/>
          </a:xfrm>
          <a:prstGeom prst="rect">
            <a:avLst/>
          </a:prstGeom>
        </p:spPr>
        <p:txBody>
          <a:bodyPr lIns="91438" tIns="45719" rIns="91438" bIns="45719"/>
          <a:lstStyle>
            <a:lvl1pPr marL="0" indent="0" algn="ctr">
              <a:buNone/>
              <a:defRPr sz="1500">
                <a:solidFill>
                  <a:schemeClr val="accent4"/>
                </a:solidFill>
                <a:latin typeface="+mn-lt"/>
              </a:defRPr>
            </a:lvl1pPr>
            <a:lvl2pPr marL="342800" indent="0" algn="ctr">
              <a:buNone/>
              <a:defRPr sz="1500"/>
            </a:lvl2pPr>
            <a:lvl3pPr marL="685600" indent="0" algn="ctr">
              <a:buNone/>
              <a:defRPr sz="1425"/>
            </a:lvl3pPr>
            <a:lvl4pPr marL="1028400" indent="0" algn="ctr">
              <a:buNone/>
              <a:defRPr sz="1200"/>
            </a:lvl4pPr>
            <a:lvl5pPr marL="1371200" indent="0" algn="ctr">
              <a:buNone/>
              <a:defRPr sz="1200"/>
            </a:lvl5pPr>
            <a:lvl6pPr marL="1714000" indent="0" algn="ctr">
              <a:buNone/>
              <a:defRPr sz="1200"/>
            </a:lvl6pPr>
            <a:lvl7pPr marL="2056800" indent="0" algn="ctr">
              <a:buNone/>
              <a:defRPr sz="1200"/>
            </a:lvl7pPr>
            <a:lvl8pPr marL="2399600" indent="0" algn="ctr">
              <a:buNone/>
              <a:defRPr sz="1200"/>
            </a:lvl8pPr>
            <a:lvl9pPr marL="2742400" indent="0" algn="ctr">
              <a:buNone/>
              <a:defRPr sz="1200"/>
            </a:lvl9pPr>
          </a:lstStyle>
          <a:p>
            <a:r>
              <a:rPr lang="ru-RU" sz="1725" b="1" dirty="0"/>
              <a:t>АВТОР ПРЕЗЕНТАЦИИ</a:t>
            </a:r>
          </a:p>
          <a:p>
            <a:r>
              <a:rPr lang="ru-RU" sz="1725" b="1" dirty="0"/>
              <a:t>Должность автора</a:t>
            </a:r>
          </a:p>
          <a:p>
            <a:r>
              <a:rPr lang="ru-RU" sz="1725" b="1" dirty="0"/>
              <a:t>Дата мероприятия, город</a:t>
            </a:r>
            <a:endParaRPr lang="en-US" sz="1725" b="1" dirty="0"/>
          </a:p>
        </p:txBody>
      </p:sp>
      <p:pic>
        <p:nvPicPr>
          <p:cNvPr id="14" name="Рисунок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65536" y="251913"/>
            <a:ext cx="1602264" cy="881938"/>
          </a:xfrm>
          <a:prstGeom prst="rect">
            <a:avLst/>
          </a:prstGeom>
        </p:spPr>
      </p:pic>
      <p:cxnSp>
        <p:nvCxnSpPr>
          <p:cNvPr id="21" name="Прямая соединительная линия 20"/>
          <p:cNvCxnSpPr>
            <a:stCxn id="24" idx="1"/>
          </p:cNvCxnSpPr>
          <p:nvPr userDrawn="1"/>
        </p:nvCxnSpPr>
        <p:spPr>
          <a:xfrm flipH="1">
            <a:off x="65487" y="768434"/>
            <a:ext cx="236938" cy="2199"/>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a:endCxn id="24" idx="3"/>
          </p:cNvCxnSpPr>
          <p:nvPr userDrawn="1"/>
        </p:nvCxnSpPr>
        <p:spPr>
          <a:xfrm flipH="1" flipV="1">
            <a:off x="1478580" y="768434"/>
            <a:ext cx="5986956" cy="2199"/>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3" name="Группа 22"/>
          <p:cNvGrpSpPr/>
          <p:nvPr userDrawn="1"/>
        </p:nvGrpSpPr>
        <p:grpSpPr>
          <a:xfrm>
            <a:off x="302426" y="328113"/>
            <a:ext cx="1176155" cy="1285026"/>
            <a:chOff x="3495296" y="2571685"/>
            <a:chExt cx="2084894" cy="2277882"/>
          </a:xfrm>
        </p:grpSpPr>
        <p:pic>
          <p:nvPicPr>
            <p:cNvPr id="24" name="Рисунок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95296" y="2571685"/>
              <a:ext cx="2084894" cy="1561051"/>
            </a:xfrm>
            <a:prstGeom prst="rect">
              <a:avLst/>
            </a:prstGeom>
          </p:spPr>
        </p:pic>
        <p:pic>
          <p:nvPicPr>
            <p:cNvPr id="25" name="Рисунок 2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78599" y="4287204"/>
              <a:ext cx="1690694" cy="562363"/>
            </a:xfrm>
            <a:prstGeom prst="rect">
              <a:avLst/>
            </a:prstGeom>
          </p:spPr>
        </p:pic>
      </p:grpSp>
    </p:spTree>
    <p:extLst>
      <p:ext uri="{BB962C8B-B14F-4D97-AF65-F5344CB8AC3E}">
        <p14:creationId xmlns:p14="http://schemas.microsoft.com/office/powerpoint/2010/main" val="267043973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6_Титульный слайд">
    <p:spTree>
      <p:nvGrpSpPr>
        <p:cNvPr id="1" name=""/>
        <p:cNvGrpSpPr/>
        <p:nvPr/>
      </p:nvGrpSpPr>
      <p:grpSpPr>
        <a:xfrm>
          <a:off x="0" y="0"/>
          <a:ext cx="0" cy="0"/>
          <a:chOff x="0" y="0"/>
          <a:chExt cx="0" cy="0"/>
        </a:xfrm>
      </p:grpSpPr>
      <p:sp>
        <p:nvSpPr>
          <p:cNvPr id="18" name="Прямоугольник 17"/>
          <p:cNvSpPr/>
          <p:nvPr userDrawn="1"/>
        </p:nvSpPr>
        <p:spPr>
          <a:xfrm>
            <a:off x="2903518" y="1"/>
            <a:ext cx="6240483" cy="51435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3" tIns="34281" rIns="68563" bIns="34281" rtlCol="0" anchor="ctr"/>
          <a:lstStyle/>
          <a:p>
            <a:pPr algn="ctr"/>
            <a:endParaRPr lang="ru-RU" sz="1350"/>
          </a:p>
        </p:txBody>
      </p:sp>
      <p:sp>
        <p:nvSpPr>
          <p:cNvPr id="19" name="Title 1"/>
          <p:cNvSpPr>
            <a:spLocks noGrp="1"/>
          </p:cNvSpPr>
          <p:nvPr>
            <p:ph type="ctrTitle"/>
          </p:nvPr>
        </p:nvSpPr>
        <p:spPr>
          <a:xfrm>
            <a:off x="3473533" y="1661174"/>
            <a:ext cx="5437857" cy="748874"/>
          </a:xfrm>
          <a:prstGeom prst="rect">
            <a:avLst/>
          </a:prstGeom>
        </p:spPr>
        <p:txBody>
          <a:bodyPr lIns="91438" tIns="45719" rIns="91438" bIns="45719" anchor="t"/>
          <a:lstStyle>
            <a:lvl1pPr algn="l">
              <a:defRPr sz="3299" b="1">
                <a:solidFill>
                  <a:schemeClr val="bg1"/>
                </a:solidFill>
                <a:latin typeface="+mj-lt"/>
              </a:defRPr>
            </a:lvl1pPr>
          </a:lstStyle>
          <a:p>
            <a:r>
              <a:rPr lang="ru-RU" dirty="0"/>
              <a:t>Образец заголовка</a:t>
            </a:r>
            <a:endParaRPr lang="en-US" dirty="0"/>
          </a:p>
        </p:txBody>
      </p:sp>
      <p:sp>
        <p:nvSpPr>
          <p:cNvPr id="20" name="Subtitle 2"/>
          <p:cNvSpPr>
            <a:spLocks noGrp="1"/>
          </p:cNvSpPr>
          <p:nvPr>
            <p:ph type="subTitle" idx="1"/>
          </p:nvPr>
        </p:nvSpPr>
        <p:spPr>
          <a:xfrm>
            <a:off x="3473533" y="2410048"/>
            <a:ext cx="5418947" cy="1457846"/>
          </a:xfrm>
          <a:prstGeom prst="rect">
            <a:avLst/>
          </a:prstGeom>
        </p:spPr>
        <p:txBody>
          <a:bodyPr lIns="91438" tIns="45719" rIns="91438" bIns="45719"/>
          <a:lstStyle>
            <a:lvl1pPr marL="0" indent="0" algn="l">
              <a:buNone/>
              <a:defRPr sz="1800" b="1">
                <a:solidFill>
                  <a:schemeClr val="accent6">
                    <a:lumMod val="50000"/>
                  </a:schemeClr>
                </a:solidFill>
                <a:latin typeface="+mn-lt"/>
              </a:defRPr>
            </a:lvl1pPr>
            <a:lvl2pPr marL="342800" indent="0" algn="ctr">
              <a:buNone/>
              <a:defRPr sz="1500"/>
            </a:lvl2pPr>
            <a:lvl3pPr marL="685600" indent="0" algn="ctr">
              <a:buNone/>
              <a:defRPr sz="1425"/>
            </a:lvl3pPr>
            <a:lvl4pPr marL="1028400" indent="0" algn="ctr">
              <a:buNone/>
              <a:defRPr sz="1200"/>
            </a:lvl4pPr>
            <a:lvl5pPr marL="1371200" indent="0" algn="ctr">
              <a:buNone/>
              <a:defRPr sz="1200"/>
            </a:lvl5pPr>
            <a:lvl6pPr marL="1714000" indent="0" algn="ctr">
              <a:buNone/>
              <a:defRPr sz="1200"/>
            </a:lvl6pPr>
            <a:lvl7pPr marL="2056800" indent="0" algn="ctr">
              <a:buNone/>
              <a:defRPr sz="1200"/>
            </a:lvl7pPr>
            <a:lvl8pPr marL="2399600" indent="0" algn="ctr">
              <a:buNone/>
              <a:defRPr sz="1200"/>
            </a:lvl8pPr>
            <a:lvl9pPr marL="2742400" indent="0" algn="ctr">
              <a:buNone/>
              <a:defRPr sz="1200"/>
            </a:lvl9pPr>
          </a:lstStyle>
          <a:p>
            <a:r>
              <a:rPr lang="ru-RU" dirty="0"/>
              <a:t>Образец подзаголовка</a:t>
            </a:r>
            <a:endParaRPr lang="en-US" dirty="0"/>
          </a:p>
        </p:txBody>
      </p:sp>
      <p:pic>
        <p:nvPicPr>
          <p:cNvPr id="21" name="Рисунок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9552" y="1682718"/>
            <a:ext cx="1113536" cy="833753"/>
          </a:xfrm>
          <a:prstGeom prst="rect">
            <a:avLst/>
          </a:prstGeom>
        </p:spPr>
      </p:pic>
      <p:cxnSp>
        <p:nvCxnSpPr>
          <p:cNvPr id="22" name="Прямая соединительная линия 21"/>
          <p:cNvCxnSpPr>
            <a:stCxn id="21" idx="1"/>
          </p:cNvCxnSpPr>
          <p:nvPr userDrawn="1"/>
        </p:nvCxnSpPr>
        <p:spPr>
          <a:xfrm flipH="1" flipV="1">
            <a:off x="80254" y="2099595"/>
            <a:ext cx="459297" cy="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a:endCxn id="21" idx="3"/>
          </p:cNvCxnSpPr>
          <p:nvPr userDrawn="1"/>
        </p:nvCxnSpPr>
        <p:spPr>
          <a:xfrm flipH="1" flipV="1">
            <a:off x="1653088" y="2099595"/>
            <a:ext cx="1277148" cy="2"/>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pic>
        <p:nvPicPr>
          <p:cNvPr id="24" name="Рисунок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17397" y="4647487"/>
            <a:ext cx="1293992" cy="315318"/>
          </a:xfrm>
          <a:prstGeom prst="rect">
            <a:avLst/>
          </a:prstGeom>
        </p:spPr>
      </p:pic>
      <p:pic>
        <p:nvPicPr>
          <p:cNvPr id="25" name="Рисунок 24"/>
          <p:cNvPicPr>
            <a:picLocks noChangeAspect="1"/>
          </p:cNvPicPr>
          <p:nvPr userDrawn="1"/>
        </p:nvPicPr>
        <p:blipFill>
          <a:blip r:embed="rId4"/>
          <a:stretch>
            <a:fillRect/>
          </a:stretch>
        </p:blipFill>
        <p:spPr>
          <a:xfrm>
            <a:off x="565130" y="2633507"/>
            <a:ext cx="982535" cy="323631"/>
          </a:xfrm>
          <a:prstGeom prst="rect">
            <a:avLst/>
          </a:prstGeom>
        </p:spPr>
      </p:pic>
    </p:spTree>
    <p:extLst>
      <p:ext uri="{BB962C8B-B14F-4D97-AF65-F5344CB8AC3E}">
        <p14:creationId xmlns:p14="http://schemas.microsoft.com/office/powerpoint/2010/main" val="25295132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Текст 2">
    <p:spTree>
      <p:nvGrpSpPr>
        <p:cNvPr id="1" name=""/>
        <p:cNvGrpSpPr/>
        <p:nvPr/>
      </p:nvGrpSpPr>
      <p:grpSpPr>
        <a:xfrm>
          <a:off x="0" y="0"/>
          <a:ext cx="0" cy="0"/>
          <a:chOff x="0" y="0"/>
          <a:chExt cx="0" cy="0"/>
        </a:xfrm>
      </p:grpSpPr>
      <p:pic>
        <p:nvPicPr>
          <p:cNvPr id="3074" name="Picture 2" descr="C:\Grishagina Maria\Tempo\AZON 2022 2023\РЛ Москва 2-3 апреля\Темплейт\Картинки\image16.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4001"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6" y="250031"/>
            <a:ext cx="7027700"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Tree>
    <p:extLst>
      <p:ext uri="{BB962C8B-B14F-4D97-AF65-F5344CB8AC3E}">
        <p14:creationId xmlns:p14="http://schemas.microsoft.com/office/powerpoint/2010/main" val="4178355526"/>
      </p:ext>
    </p:extLst>
  </p:cSld>
  <p:clrMapOvr>
    <a:masterClrMapping/>
  </p:clrMapOvr>
  <p:extLst>
    <p:ext uri="{DCECCB84-F9BA-43D5-87BE-67443E8EF086}">
      <p15:sldGuideLst xmlns:p15="http://schemas.microsoft.com/office/powerpoint/2012/main" xmlns=""/>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 2 (White Logo)">
    <p:spTree>
      <p:nvGrpSpPr>
        <p:cNvPr id="1" name=""/>
        <p:cNvGrpSpPr/>
        <p:nvPr/>
      </p:nvGrpSpPr>
      <p:grpSpPr>
        <a:xfrm>
          <a:off x="0" y="0"/>
          <a:ext cx="0" cy="0"/>
          <a:chOff x="0" y="0"/>
          <a:chExt cx="0" cy="0"/>
        </a:xfrm>
      </p:grpSpPr>
      <p:sp>
        <p:nvSpPr>
          <p:cNvPr id="25" name="Picture Placeholder 6">
            <a:extLst>
              <a:ext uri="{FF2B5EF4-FFF2-40B4-BE49-F238E27FC236}">
                <a16:creationId xmlns:a16="http://schemas.microsoft.com/office/drawing/2014/main" xmlns="" id="{216500E2-EA52-4AD0-BF40-A34E54D9C695}"/>
              </a:ext>
            </a:extLst>
          </p:cNvPr>
          <p:cNvSpPr>
            <a:spLocks noGrp="1"/>
          </p:cNvSpPr>
          <p:nvPr>
            <p:ph type="pic" sz="quarter" idx="27" hasCustomPrompt="1"/>
          </p:nvPr>
        </p:nvSpPr>
        <p:spPr>
          <a:xfrm>
            <a:off x="0" y="0"/>
            <a:ext cx="9144000" cy="5143500"/>
          </a:xfrm>
          <a:noFill/>
        </p:spPr>
        <p:txBody>
          <a:bodyPr rIns="4032000" bIns="864000" anchor="ctr">
            <a:normAutofit/>
          </a:bodyPr>
          <a:lstStyle>
            <a:lvl1pPr algn="r">
              <a:defRPr sz="1200">
                <a:solidFill>
                  <a:schemeClr val="tx2"/>
                </a:solidFill>
              </a:defRPr>
            </a:lvl1pPr>
          </a:lstStyle>
          <a:p>
            <a:r>
              <a:rPr lang="en-GB" dirty="0"/>
              <a:t>Click icon to insert image</a:t>
            </a:r>
          </a:p>
        </p:txBody>
      </p:sp>
      <p:sp>
        <p:nvSpPr>
          <p:cNvPr id="14" name="Text Placeholder 13">
            <a:extLst>
              <a:ext uri="{FF2B5EF4-FFF2-40B4-BE49-F238E27FC236}">
                <a16:creationId xmlns:a16="http://schemas.microsoft.com/office/drawing/2014/main" xmlns="" id="{AE66799B-6BF5-4FB8-9C45-30244CC94A78}"/>
              </a:ext>
            </a:extLst>
          </p:cNvPr>
          <p:cNvSpPr>
            <a:spLocks noGrp="1"/>
          </p:cNvSpPr>
          <p:nvPr>
            <p:ph type="body" sz="quarter" idx="15" hasCustomPrompt="1"/>
          </p:nvPr>
        </p:nvSpPr>
        <p:spPr>
          <a:xfrm>
            <a:off x="0" y="-4572"/>
            <a:ext cx="4503571" cy="5148072"/>
          </a:xfrm>
          <a:custGeom>
            <a:avLst/>
            <a:gdLst>
              <a:gd name="connsiteX0" fmla="*/ 4456934 w 6004761"/>
              <a:gd name="connsiteY0" fmla="*/ 0 h 6864096"/>
              <a:gd name="connsiteX1" fmla="*/ 1 w 6004761"/>
              <a:gd name="connsiteY1" fmla="*/ 0 h 6864096"/>
              <a:gd name="connsiteX2" fmla="*/ 0 w 6004761"/>
              <a:gd name="connsiteY2" fmla="*/ 6864096 h 6864096"/>
              <a:gd name="connsiteX3" fmla="*/ 4450311 w 6004761"/>
              <a:gd name="connsiteY3" fmla="*/ 6864096 h 6864096"/>
              <a:gd name="connsiteX4" fmla="*/ 4625637 w 6004761"/>
              <a:gd name="connsiteY4" fmla="*/ 6702826 h 6864096"/>
              <a:gd name="connsiteX5" fmla="*/ 6004761 w 6004761"/>
              <a:gd name="connsiteY5" fmla="*/ 3429001 h 6864096"/>
              <a:gd name="connsiteX6" fmla="*/ 4625637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4456934" y="0"/>
                </a:moveTo>
                <a:lnTo>
                  <a:pt x="1" y="0"/>
                </a:lnTo>
                <a:lnTo>
                  <a:pt x="0" y="6864096"/>
                </a:lnTo>
                <a:lnTo>
                  <a:pt x="4450311" y="6864096"/>
                </a:lnTo>
                <a:lnTo>
                  <a:pt x="4625637" y="6702826"/>
                </a:lnTo>
                <a:cubicBezTo>
                  <a:pt x="5476522" y="5871990"/>
                  <a:pt x="6004761" y="4712184"/>
                  <a:pt x="6004761" y="3429001"/>
                </a:cubicBezTo>
                <a:cubicBezTo>
                  <a:pt x="6004761" y="2145819"/>
                  <a:pt x="5476522" y="986013"/>
                  <a:pt x="4625637" y="155178"/>
                </a:cubicBezTo>
                <a:close/>
              </a:path>
            </a:pathLst>
          </a:custGeom>
          <a:solidFill>
            <a:srgbClr val="F0AB00"/>
          </a:solidFill>
        </p:spPr>
        <p:txBody>
          <a:bodyPr wrap="square" lIns="288000" rIns="720000" bIns="360000" anchor="ctr">
            <a:noAutofit/>
          </a:bodyPr>
          <a:lstStyle>
            <a:lvl1pPr>
              <a:defRPr sz="2700">
                <a:solidFill>
                  <a:schemeClr val="bg1"/>
                </a:solidFill>
                <a:latin typeface="+mj-lt"/>
              </a:defRPr>
            </a:lvl1pPr>
          </a:lstStyle>
          <a:p>
            <a:pPr lvl="0"/>
            <a:r>
              <a:rPr lang="en-GB" dirty="0"/>
              <a:t> Enter text here</a:t>
            </a:r>
          </a:p>
        </p:txBody>
      </p:sp>
      <p:sp>
        <p:nvSpPr>
          <p:cNvPr id="3" name="Date Placeholder 2">
            <a:extLst>
              <a:ext uri="{FF2B5EF4-FFF2-40B4-BE49-F238E27FC236}">
                <a16:creationId xmlns:a16="http://schemas.microsoft.com/office/drawing/2014/main" xmlns="" id="{AC84221B-78A9-465F-9406-357FB84897C0}"/>
              </a:ext>
            </a:extLst>
          </p:cNvPr>
          <p:cNvSpPr>
            <a:spLocks noGrp="1"/>
          </p:cNvSpPr>
          <p:nvPr>
            <p:ph type="dt" sz="half" idx="10"/>
          </p:nvPr>
        </p:nvSpPr>
        <p:spPr/>
        <p:txBody>
          <a:bodyPr/>
          <a:lstStyle>
            <a:lvl1pPr>
              <a:defRPr>
                <a:solidFill>
                  <a:schemeClr val="bg1"/>
                </a:solidFill>
              </a:defRPr>
            </a:lvl1pPr>
          </a:lstStyle>
          <a:p>
            <a:fld id="{3C3324B7-53A9-474F-923D-1F75ED923560}" type="datetime4">
              <a:rPr lang="en-GB" smtClean="0"/>
              <a:t>29 June 2023</a:t>
            </a:fld>
            <a:endParaRPr lang="en-GB" dirty="0"/>
          </a:p>
        </p:txBody>
      </p:sp>
      <p:sp>
        <p:nvSpPr>
          <p:cNvPr id="4" name="Footer Placeholder 3">
            <a:extLst>
              <a:ext uri="{FF2B5EF4-FFF2-40B4-BE49-F238E27FC236}">
                <a16:creationId xmlns:a16="http://schemas.microsoft.com/office/drawing/2014/main" xmlns="" id="{07819BB2-B389-4791-B8C3-CEAA012DEEA0}"/>
              </a:ext>
            </a:extLst>
          </p:cNvPr>
          <p:cNvSpPr>
            <a:spLocks noGrp="1"/>
          </p:cNvSpPr>
          <p:nvPr>
            <p:ph type="ftr" sz="quarter" idx="11"/>
          </p:nvPr>
        </p:nvSpPr>
        <p:spPr/>
        <p:txBody>
          <a:bodyPr/>
          <a:lstStyle>
            <a:lvl1pPr>
              <a:defRPr>
                <a:solidFill>
                  <a:schemeClr val="bg1"/>
                </a:solidFill>
              </a:defRPr>
            </a:lvl1pPr>
          </a:lstStyle>
          <a:p>
            <a:r>
              <a:rPr lang="en-GB" dirty="0"/>
              <a:t>Name</a:t>
            </a:r>
          </a:p>
        </p:txBody>
      </p:sp>
      <p:sp>
        <p:nvSpPr>
          <p:cNvPr id="52" name="Text Placeholder 30">
            <a:extLst>
              <a:ext uri="{FF2B5EF4-FFF2-40B4-BE49-F238E27FC236}">
                <a16:creationId xmlns:a16="http://schemas.microsoft.com/office/drawing/2014/main" xmlns="" id="{175499C3-A261-47EF-868C-302623217C59}"/>
              </a:ext>
            </a:extLst>
          </p:cNvPr>
          <p:cNvSpPr>
            <a:spLocks noGrp="1"/>
          </p:cNvSpPr>
          <p:nvPr>
            <p:ph type="body" sz="quarter" idx="25" hasCustomPrompt="1"/>
          </p:nvPr>
        </p:nvSpPr>
        <p:spPr>
          <a:xfrm>
            <a:off x="8724014" y="4727999"/>
            <a:ext cx="221109" cy="266324"/>
          </a:xfrm>
          <a:blipFill>
            <a:blip r:embed="rId2">
              <a:lum bright="100000"/>
              <a:extLst>
                <a:ext uri="{96DAC541-7B7A-43D3-8B79-37D633B846F1}">
                  <asvg:svgBlip xmlns:asvg="http://schemas.microsoft.com/office/drawing/2016/SVG/main" xmlns="" r:embed="rId3"/>
                </a:ext>
              </a:extLst>
            </a:blip>
            <a:stretch>
              <a:fillRect/>
            </a:stretch>
          </a:blipFill>
        </p:spPr>
        <p:txBody>
          <a:bodyPr/>
          <a:lstStyle/>
          <a:p>
            <a:pPr lvl="0"/>
            <a:r>
              <a:rPr lang="en-GB" dirty="0"/>
              <a:t> </a:t>
            </a:r>
          </a:p>
        </p:txBody>
      </p:sp>
      <p:sp>
        <p:nvSpPr>
          <p:cNvPr id="54" name="Text Placeholder 18">
            <a:extLst>
              <a:ext uri="{FF2B5EF4-FFF2-40B4-BE49-F238E27FC236}">
                <a16:creationId xmlns:a16="http://schemas.microsoft.com/office/drawing/2014/main" xmlns="" id="{51CCC995-3BAB-41F1-A856-FA283DCA48F7}"/>
              </a:ext>
            </a:extLst>
          </p:cNvPr>
          <p:cNvSpPr>
            <a:spLocks noGrp="1"/>
          </p:cNvSpPr>
          <p:nvPr>
            <p:ph type="body" sz="quarter" idx="28" hasCustomPrompt="1"/>
          </p:nvPr>
        </p:nvSpPr>
        <p:spPr>
          <a:xfrm>
            <a:off x="7557578" y="4776541"/>
            <a:ext cx="8100" cy="199586"/>
          </a:xfrm>
          <a:solidFill>
            <a:schemeClr val="bg1"/>
          </a:solidFill>
        </p:spPr>
        <p:txBody>
          <a:bodyPr/>
          <a:lstStyle/>
          <a:p>
            <a:pPr lvl="0"/>
            <a:r>
              <a:rPr lang="en-GB" dirty="0"/>
              <a:t> </a:t>
            </a:r>
          </a:p>
        </p:txBody>
      </p:sp>
    </p:spTree>
    <p:extLst>
      <p:ext uri="{BB962C8B-B14F-4D97-AF65-F5344CB8AC3E}">
        <p14:creationId xmlns:p14="http://schemas.microsoft.com/office/powerpoint/2010/main" val="289761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7_Титульный слайд">
    <p:spTree>
      <p:nvGrpSpPr>
        <p:cNvPr id="1" name=""/>
        <p:cNvGrpSpPr/>
        <p:nvPr/>
      </p:nvGrpSpPr>
      <p:grpSpPr>
        <a:xfrm>
          <a:off x="0" y="0"/>
          <a:ext cx="0" cy="0"/>
          <a:chOff x="0" y="0"/>
          <a:chExt cx="0" cy="0"/>
        </a:xfrm>
      </p:grpSpPr>
      <p:sp>
        <p:nvSpPr>
          <p:cNvPr id="18" name="Прямоугольник 17"/>
          <p:cNvSpPr/>
          <p:nvPr userDrawn="1"/>
        </p:nvSpPr>
        <p:spPr>
          <a:xfrm>
            <a:off x="2903518" y="1"/>
            <a:ext cx="6240483" cy="51435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3" tIns="34281" rIns="68563" bIns="34281" rtlCol="0" anchor="ctr"/>
          <a:lstStyle/>
          <a:p>
            <a:pPr algn="ctr"/>
            <a:endParaRPr lang="ru-RU" sz="1350"/>
          </a:p>
        </p:txBody>
      </p:sp>
      <p:sp>
        <p:nvSpPr>
          <p:cNvPr id="19" name="Title 1"/>
          <p:cNvSpPr>
            <a:spLocks noGrp="1"/>
          </p:cNvSpPr>
          <p:nvPr>
            <p:ph type="ctrTitle"/>
          </p:nvPr>
        </p:nvSpPr>
        <p:spPr>
          <a:xfrm>
            <a:off x="3473533" y="1661174"/>
            <a:ext cx="5437857" cy="748874"/>
          </a:xfrm>
          <a:prstGeom prst="rect">
            <a:avLst/>
          </a:prstGeom>
        </p:spPr>
        <p:txBody>
          <a:bodyPr lIns="91438" tIns="45719" rIns="91438" bIns="45719" anchor="t"/>
          <a:lstStyle>
            <a:lvl1pPr algn="l">
              <a:defRPr sz="3299" b="1">
                <a:solidFill>
                  <a:schemeClr val="bg1"/>
                </a:solidFill>
                <a:latin typeface="+mj-lt"/>
              </a:defRPr>
            </a:lvl1pPr>
          </a:lstStyle>
          <a:p>
            <a:r>
              <a:rPr lang="ru-RU" dirty="0"/>
              <a:t>Образец заголовка</a:t>
            </a:r>
            <a:endParaRPr lang="en-US" dirty="0"/>
          </a:p>
        </p:txBody>
      </p:sp>
      <p:sp>
        <p:nvSpPr>
          <p:cNvPr id="20" name="Subtitle 2"/>
          <p:cNvSpPr>
            <a:spLocks noGrp="1"/>
          </p:cNvSpPr>
          <p:nvPr>
            <p:ph type="subTitle" idx="1"/>
          </p:nvPr>
        </p:nvSpPr>
        <p:spPr>
          <a:xfrm>
            <a:off x="3473533" y="2410048"/>
            <a:ext cx="5418947" cy="1457846"/>
          </a:xfrm>
          <a:prstGeom prst="rect">
            <a:avLst/>
          </a:prstGeom>
        </p:spPr>
        <p:txBody>
          <a:bodyPr lIns="91438" tIns="45719" rIns="91438" bIns="45719"/>
          <a:lstStyle>
            <a:lvl1pPr marL="0" indent="0" algn="l">
              <a:buNone/>
              <a:defRPr sz="1800" b="1">
                <a:solidFill>
                  <a:schemeClr val="accent6">
                    <a:lumMod val="50000"/>
                  </a:schemeClr>
                </a:solidFill>
                <a:latin typeface="+mn-lt"/>
              </a:defRPr>
            </a:lvl1pPr>
            <a:lvl2pPr marL="342800" indent="0" algn="ctr">
              <a:buNone/>
              <a:defRPr sz="1500"/>
            </a:lvl2pPr>
            <a:lvl3pPr marL="685600" indent="0" algn="ctr">
              <a:buNone/>
              <a:defRPr sz="1425"/>
            </a:lvl3pPr>
            <a:lvl4pPr marL="1028400" indent="0" algn="ctr">
              <a:buNone/>
              <a:defRPr sz="1200"/>
            </a:lvl4pPr>
            <a:lvl5pPr marL="1371200" indent="0" algn="ctr">
              <a:buNone/>
              <a:defRPr sz="1200"/>
            </a:lvl5pPr>
            <a:lvl6pPr marL="1714000" indent="0" algn="ctr">
              <a:buNone/>
              <a:defRPr sz="1200"/>
            </a:lvl6pPr>
            <a:lvl7pPr marL="2056800" indent="0" algn="ctr">
              <a:buNone/>
              <a:defRPr sz="1200"/>
            </a:lvl7pPr>
            <a:lvl8pPr marL="2399600" indent="0" algn="ctr">
              <a:buNone/>
              <a:defRPr sz="1200"/>
            </a:lvl8pPr>
            <a:lvl9pPr marL="2742400" indent="0" algn="ctr">
              <a:buNone/>
              <a:defRPr sz="1200"/>
            </a:lvl9pPr>
          </a:lstStyle>
          <a:p>
            <a:r>
              <a:rPr lang="ru-RU" dirty="0"/>
              <a:t>Образец подзаголовка</a:t>
            </a:r>
            <a:endParaRPr lang="en-US" dirty="0"/>
          </a:p>
        </p:txBody>
      </p:sp>
      <p:pic>
        <p:nvPicPr>
          <p:cNvPr id="21" name="Рисунок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9552" y="1682718"/>
            <a:ext cx="1113536" cy="833753"/>
          </a:xfrm>
          <a:prstGeom prst="rect">
            <a:avLst/>
          </a:prstGeom>
        </p:spPr>
      </p:pic>
      <p:cxnSp>
        <p:nvCxnSpPr>
          <p:cNvPr id="22" name="Прямая соединительная линия 21"/>
          <p:cNvCxnSpPr>
            <a:stCxn id="21" idx="1"/>
          </p:cNvCxnSpPr>
          <p:nvPr userDrawn="1"/>
        </p:nvCxnSpPr>
        <p:spPr>
          <a:xfrm flipH="1" flipV="1">
            <a:off x="80254" y="2099595"/>
            <a:ext cx="459297" cy="1"/>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a:endCxn id="21" idx="3"/>
          </p:cNvCxnSpPr>
          <p:nvPr userDrawn="1"/>
        </p:nvCxnSpPr>
        <p:spPr>
          <a:xfrm flipH="1" flipV="1">
            <a:off x="1653088" y="2099595"/>
            <a:ext cx="1277148" cy="2"/>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pic>
        <p:nvPicPr>
          <p:cNvPr id="24" name="Рисунок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17397" y="4647487"/>
            <a:ext cx="1293992" cy="315318"/>
          </a:xfrm>
          <a:prstGeom prst="rect">
            <a:avLst/>
          </a:prstGeom>
        </p:spPr>
      </p:pic>
      <p:pic>
        <p:nvPicPr>
          <p:cNvPr id="25" name="Рисунок 2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68307" y="2632973"/>
            <a:ext cx="976181" cy="324700"/>
          </a:xfrm>
          <a:prstGeom prst="rect">
            <a:avLst/>
          </a:prstGeom>
        </p:spPr>
      </p:pic>
    </p:spTree>
    <p:extLst>
      <p:ext uri="{BB962C8B-B14F-4D97-AF65-F5344CB8AC3E}">
        <p14:creationId xmlns:p14="http://schemas.microsoft.com/office/powerpoint/2010/main" val="225565936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sp>
        <p:nvSpPr>
          <p:cNvPr id="21" name="Title 1"/>
          <p:cNvSpPr>
            <a:spLocks noGrp="1"/>
          </p:cNvSpPr>
          <p:nvPr>
            <p:ph type="title"/>
          </p:nvPr>
        </p:nvSpPr>
        <p:spPr>
          <a:xfrm>
            <a:off x="584415" y="1059553"/>
            <a:ext cx="8326974" cy="436739"/>
          </a:xfrm>
          <a:prstGeom prst="rect">
            <a:avLst/>
          </a:prstGeom>
        </p:spPr>
        <p:txBody>
          <a:bodyPr lIns="91438" tIns="45719" rIns="91438" bIns="45719" anchor="t"/>
          <a:lstStyle>
            <a:lvl1pPr algn="l">
              <a:defRPr sz="2099" b="1">
                <a:solidFill>
                  <a:schemeClr val="accent1"/>
                </a:solidFill>
                <a:latin typeface="+mj-lt"/>
              </a:defRPr>
            </a:lvl1pPr>
          </a:lstStyle>
          <a:p>
            <a:r>
              <a:rPr lang="ru-RU" dirty="0"/>
              <a:t>Образец заголовка</a:t>
            </a:r>
            <a:endParaRPr lang="en-US" dirty="0"/>
          </a:p>
        </p:txBody>
      </p:sp>
      <p:sp>
        <p:nvSpPr>
          <p:cNvPr id="22" name="Text Placeholder 2"/>
          <p:cNvSpPr>
            <a:spLocks noGrp="1"/>
          </p:cNvSpPr>
          <p:nvPr>
            <p:ph type="body" idx="1"/>
          </p:nvPr>
        </p:nvSpPr>
        <p:spPr>
          <a:xfrm>
            <a:off x="584415" y="1629009"/>
            <a:ext cx="8326974" cy="2886585"/>
          </a:xfrm>
          <a:prstGeom prst="rect">
            <a:avLst/>
          </a:prstGeom>
        </p:spPr>
        <p:txBody>
          <a:bodyPr lIns="91438" tIns="45719" rIns="91438" bIns="45719"/>
          <a:lstStyle>
            <a:lvl1pPr marL="0" indent="0">
              <a:buNone/>
              <a:defRPr sz="1425">
                <a:solidFill>
                  <a:schemeClr val="tx1"/>
                </a:solidFill>
                <a:latin typeface="+mn-lt"/>
              </a:defRPr>
            </a:lvl1pPr>
            <a:lvl2pPr marL="342800" indent="0">
              <a:buNone/>
              <a:defRPr sz="1500">
                <a:solidFill>
                  <a:schemeClr val="tx1">
                    <a:tint val="75000"/>
                  </a:schemeClr>
                </a:solidFill>
              </a:defRPr>
            </a:lvl2pPr>
            <a:lvl3pPr marL="685600" indent="0">
              <a:buNone/>
              <a:defRPr sz="1425">
                <a:solidFill>
                  <a:schemeClr val="tx1">
                    <a:tint val="75000"/>
                  </a:schemeClr>
                </a:solidFill>
              </a:defRPr>
            </a:lvl3pPr>
            <a:lvl4pPr marL="1028400" indent="0">
              <a:buNone/>
              <a:defRPr sz="1200">
                <a:solidFill>
                  <a:schemeClr val="tx1">
                    <a:tint val="75000"/>
                  </a:schemeClr>
                </a:solidFill>
              </a:defRPr>
            </a:lvl4pPr>
            <a:lvl5pPr marL="1371200" indent="0">
              <a:buNone/>
              <a:defRPr sz="1200">
                <a:solidFill>
                  <a:schemeClr val="tx1">
                    <a:tint val="75000"/>
                  </a:schemeClr>
                </a:solidFill>
              </a:defRPr>
            </a:lvl5pPr>
            <a:lvl6pPr marL="1714000" indent="0">
              <a:buNone/>
              <a:defRPr sz="1200">
                <a:solidFill>
                  <a:schemeClr val="tx1">
                    <a:tint val="75000"/>
                  </a:schemeClr>
                </a:solidFill>
              </a:defRPr>
            </a:lvl6pPr>
            <a:lvl7pPr marL="2056800" indent="0">
              <a:buNone/>
              <a:defRPr sz="1200">
                <a:solidFill>
                  <a:schemeClr val="tx1">
                    <a:tint val="75000"/>
                  </a:schemeClr>
                </a:solidFill>
              </a:defRPr>
            </a:lvl7pPr>
            <a:lvl8pPr marL="2399600" indent="0">
              <a:buNone/>
              <a:defRPr sz="1200">
                <a:solidFill>
                  <a:schemeClr val="tx1">
                    <a:tint val="75000"/>
                  </a:schemeClr>
                </a:solidFill>
              </a:defRPr>
            </a:lvl8pPr>
            <a:lvl9pPr marL="2742400" indent="0">
              <a:buNone/>
              <a:defRPr sz="1200">
                <a:solidFill>
                  <a:schemeClr val="tx1">
                    <a:tint val="75000"/>
                  </a:schemeClr>
                </a:solidFill>
              </a:defRPr>
            </a:lvl9pPr>
          </a:lstStyle>
          <a:p>
            <a:pPr lvl="0"/>
            <a:r>
              <a:rPr lang="ru-RU" dirty="0"/>
              <a:t>Образец текста</a:t>
            </a:r>
          </a:p>
        </p:txBody>
      </p:sp>
      <p:pic>
        <p:nvPicPr>
          <p:cNvPr id="23" name="Рисунок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73685" cy="917369"/>
          </a:xfrm>
          <a:prstGeom prst="rect">
            <a:avLst/>
          </a:prstGeom>
        </p:spPr>
      </p:pic>
      <p:sp>
        <p:nvSpPr>
          <p:cNvPr id="24" name="Текст 6"/>
          <p:cNvSpPr>
            <a:spLocks noGrp="1"/>
          </p:cNvSpPr>
          <p:nvPr>
            <p:ph type="body" sz="quarter" idx="10"/>
          </p:nvPr>
        </p:nvSpPr>
        <p:spPr>
          <a:xfrm>
            <a:off x="590253" y="4731990"/>
            <a:ext cx="8321137" cy="311944"/>
          </a:xfrm>
          <a:prstGeom prst="rect">
            <a:avLst/>
          </a:prstGeom>
        </p:spPr>
        <p:txBody>
          <a:bodyPr lIns="91438" tIns="45719" rIns="91438" bIns="45719" anchor="b"/>
          <a:lstStyle>
            <a:lvl1pPr marL="0" indent="0">
              <a:buNone/>
              <a:defRPr sz="675" b="0" i="0">
                <a:solidFill>
                  <a:schemeClr val="accent6">
                    <a:lumMod val="50000"/>
                  </a:schemeClr>
                </a:solidFill>
              </a:defRPr>
            </a:lvl1pPr>
          </a:lstStyle>
          <a:p>
            <a:pPr lvl="0"/>
            <a:r>
              <a:rPr lang="ru-RU" dirty="0"/>
              <a:t>Образец текста</a:t>
            </a:r>
          </a:p>
        </p:txBody>
      </p:sp>
      <p:pic>
        <p:nvPicPr>
          <p:cNvPr id="25" name="Рисунок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74740" y="89823"/>
            <a:ext cx="1333765" cy="734147"/>
          </a:xfrm>
          <a:prstGeom prst="rect">
            <a:avLst/>
          </a:prstGeom>
        </p:spPr>
      </p:pic>
      <p:pic>
        <p:nvPicPr>
          <p:cNvPr id="26" name="Рисунок 2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4415" y="320162"/>
            <a:ext cx="556769" cy="416877"/>
          </a:xfrm>
          <a:prstGeom prst="rect">
            <a:avLst/>
          </a:prstGeom>
        </p:spPr>
      </p:pic>
      <p:cxnSp>
        <p:nvCxnSpPr>
          <p:cNvPr id="27" name="Прямая соединительная линия 26"/>
          <p:cNvCxnSpPr/>
          <p:nvPr userDrawn="1"/>
        </p:nvCxnSpPr>
        <p:spPr>
          <a:xfrm flipH="1">
            <a:off x="7563823" y="264937"/>
            <a:ext cx="1" cy="0"/>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userDrawn="1"/>
        </p:nvCxnSpPr>
        <p:spPr>
          <a:xfrm flipH="1">
            <a:off x="1" y="528599"/>
            <a:ext cx="584415"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userDrawn="1"/>
        </p:nvCxnSpPr>
        <p:spPr>
          <a:xfrm flipH="1">
            <a:off x="1141184" y="528599"/>
            <a:ext cx="6743184"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095771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5_Титульный слайд">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941026" y="195486"/>
            <a:ext cx="7970364" cy="738512"/>
          </a:xfrm>
          <a:prstGeom prst="rect">
            <a:avLst/>
          </a:prstGeom>
        </p:spPr>
        <p:txBody>
          <a:bodyPr lIns="91438" tIns="45719" rIns="91438" bIns="45719" anchor="t"/>
          <a:lstStyle>
            <a:lvl1pPr algn="l">
              <a:defRPr sz="2099" b="1">
                <a:solidFill>
                  <a:schemeClr val="bg1"/>
                </a:solidFill>
                <a:latin typeface="+mj-lt"/>
              </a:defRPr>
            </a:lvl1pPr>
          </a:lstStyle>
          <a:p>
            <a:r>
              <a:rPr lang="ru-RU" dirty="0"/>
              <a:t>Заголовок слайда</a:t>
            </a:r>
            <a:endParaRPr lang="en-US" dirty="0"/>
          </a:p>
        </p:txBody>
      </p:sp>
      <p:sp>
        <p:nvSpPr>
          <p:cNvPr id="15" name="Рисунок 5"/>
          <p:cNvSpPr>
            <a:spLocks noGrp="1"/>
          </p:cNvSpPr>
          <p:nvPr>
            <p:ph type="pic" sz="quarter" idx="10"/>
          </p:nvPr>
        </p:nvSpPr>
        <p:spPr>
          <a:xfrm>
            <a:off x="5745892" y="1147665"/>
            <a:ext cx="3165497" cy="3276545"/>
          </a:xfrm>
          <a:prstGeom prst="rect">
            <a:avLst/>
          </a:prstGeom>
        </p:spPr>
        <p:txBody>
          <a:bodyPr lIns="91438" tIns="45719" rIns="91438" bIns="45719"/>
          <a:lstStyle/>
          <a:p>
            <a:endParaRPr lang="ru-RU" dirty="0"/>
          </a:p>
        </p:txBody>
      </p:sp>
      <p:pic>
        <p:nvPicPr>
          <p:cNvPr id="17" name="Рисунок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797768" cy="5143500"/>
          </a:xfrm>
          <a:prstGeom prst="rect">
            <a:avLst/>
          </a:prstGeom>
        </p:spPr>
      </p:pic>
      <p:pic>
        <p:nvPicPr>
          <p:cNvPr id="19" name="Рисунок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0499" y="4575297"/>
            <a:ext cx="556769" cy="416877"/>
          </a:xfrm>
          <a:prstGeom prst="rect">
            <a:avLst/>
          </a:prstGeom>
        </p:spPr>
      </p:pic>
      <p:sp>
        <p:nvSpPr>
          <p:cNvPr id="20" name="Текст 15"/>
          <p:cNvSpPr>
            <a:spLocks noGrp="1"/>
          </p:cNvSpPr>
          <p:nvPr>
            <p:ph type="body" sz="quarter" idx="11"/>
          </p:nvPr>
        </p:nvSpPr>
        <p:spPr>
          <a:xfrm>
            <a:off x="923926" y="1147763"/>
            <a:ext cx="4716430" cy="3276600"/>
          </a:xfrm>
          <a:prstGeom prst="rect">
            <a:avLst/>
          </a:prstGeom>
        </p:spPr>
        <p:txBody>
          <a:bodyPr lIns="91438" tIns="45719" rIns="91438" bIns="45719"/>
          <a:lstStyle>
            <a:lvl1pPr marL="0" indent="0">
              <a:buNone/>
              <a:defRPr sz="1425"/>
            </a:lvl1pPr>
            <a:lvl2pPr marL="342800" indent="0">
              <a:buNone/>
              <a:defRPr sz="1425"/>
            </a:lvl2pPr>
            <a:lvl3pPr marL="685600" indent="0">
              <a:buNone/>
              <a:defRPr sz="1425"/>
            </a:lvl3pPr>
            <a:lvl4pPr marL="1028400" indent="0">
              <a:buNone/>
              <a:defRPr sz="1425"/>
            </a:lvl4pPr>
            <a:lvl5pPr marL="1371200" indent="0">
              <a:buNone/>
              <a:defRPr sz="1425"/>
            </a:lvl5pPr>
          </a:lstStyle>
          <a:p>
            <a:pPr lvl="0"/>
            <a:r>
              <a:rPr lang="ru-RU" dirty="0"/>
              <a:t>Образец текста</a:t>
            </a:r>
          </a:p>
        </p:txBody>
      </p:sp>
      <p:sp>
        <p:nvSpPr>
          <p:cNvPr id="21" name="Текст 17"/>
          <p:cNvSpPr>
            <a:spLocks noGrp="1"/>
          </p:cNvSpPr>
          <p:nvPr>
            <p:ph type="body" sz="quarter" idx="12"/>
          </p:nvPr>
        </p:nvSpPr>
        <p:spPr>
          <a:xfrm>
            <a:off x="923925" y="4747023"/>
            <a:ext cx="7987464" cy="276225"/>
          </a:xfrm>
          <a:prstGeom prst="rect">
            <a:avLst/>
          </a:prstGeom>
        </p:spPr>
        <p:txBody>
          <a:bodyPr lIns="91438" tIns="45719" rIns="91438" bIns="45719" anchor="b"/>
          <a:lstStyle>
            <a:lvl1pPr marL="0" indent="0">
              <a:buNone/>
              <a:defRPr sz="675" i="0">
                <a:solidFill>
                  <a:schemeClr val="accent6">
                    <a:lumMod val="50000"/>
                  </a:schemeClr>
                </a:solidFill>
              </a:defRPr>
            </a:lvl1pPr>
            <a:lvl2pPr marL="342800" indent="0">
              <a:buNone/>
              <a:defRPr sz="525" i="1">
                <a:solidFill>
                  <a:schemeClr val="accent6"/>
                </a:solidFill>
              </a:defRPr>
            </a:lvl2pPr>
            <a:lvl3pPr marL="685600" indent="0">
              <a:buNone/>
              <a:defRPr sz="525" i="1">
                <a:solidFill>
                  <a:schemeClr val="accent6"/>
                </a:solidFill>
              </a:defRPr>
            </a:lvl3pPr>
            <a:lvl4pPr marL="1028400" indent="0">
              <a:buNone/>
              <a:defRPr sz="525" i="1">
                <a:solidFill>
                  <a:schemeClr val="accent6"/>
                </a:solidFill>
              </a:defRPr>
            </a:lvl4pPr>
            <a:lvl5pPr marL="1371200" indent="0">
              <a:buNone/>
              <a:defRPr sz="525" i="1">
                <a:solidFill>
                  <a:schemeClr val="accent6"/>
                </a:solidFill>
              </a:defRPr>
            </a:lvl5pPr>
          </a:lstStyle>
          <a:p>
            <a:pPr lvl="0"/>
            <a:r>
              <a:rPr lang="ru-RU" dirty="0"/>
              <a:t>Образец</a:t>
            </a:r>
          </a:p>
        </p:txBody>
      </p:sp>
    </p:spTree>
    <p:extLst>
      <p:ext uri="{BB962C8B-B14F-4D97-AF65-F5344CB8AC3E}">
        <p14:creationId xmlns:p14="http://schemas.microsoft.com/office/powerpoint/2010/main" val="381508622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_Титульный слайд">
    <p:spTree>
      <p:nvGrpSpPr>
        <p:cNvPr id="1" name=""/>
        <p:cNvGrpSpPr/>
        <p:nvPr/>
      </p:nvGrpSpPr>
      <p:grpSpPr>
        <a:xfrm>
          <a:off x="0" y="0"/>
          <a:ext cx="0" cy="0"/>
          <a:chOff x="0" y="0"/>
          <a:chExt cx="0" cy="0"/>
        </a:xfrm>
      </p:grpSpPr>
      <p:pic>
        <p:nvPicPr>
          <p:cNvPr id="10" name="Рисунок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1741" y="311760"/>
            <a:ext cx="531089" cy="397650"/>
          </a:xfrm>
          <a:prstGeom prst="rect">
            <a:avLst/>
          </a:prstGeom>
        </p:spPr>
      </p:pic>
      <p:pic>
        <p:nvPicPr>
          <p:cNvPr id="11" name="Рисунок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28600" cy="5143500"/>
          </a:xfrm>
          <a:prstGeom prst="rect">
            <a:avLst/>
          </a:prstGeom>
        </p:spPr>
      </p:pic>
    </p:spTree>
    <p:extLst>
      <p:ext uri="{BB962C8B-B14F-4D97-AF65-F5344CB8AC3E}">
        <p14:creationId xmlns:p14="http://schemas.microsoft.com/office/powerpoint/2010/main" val="110851436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8" name="Прямоугольник 7"/>
          <p:cNvSpPr/>
          <p:nvPr userDrawn="1"/>
        </p:nvSpPr>
        <p:spPr>
          <a:xfrm>
            <a:off x="657676" y="979715"/>
            <a:ext cx="7865840" cy="3722914"/>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3" tIns="34281" rIns="68563" bIns="34281" rtlCol="0" anchor="ctr"/>
          <a:lstStyle/>
          <a:p>
            <a:pPr algn="ctr"/>
            <a:endParaRPr lang="ru-RU" sz="1350"/>
          </a:p>
        </p:txBody>
      </p:sp>
      <p:pic>
        <p:nvPicPr>
          <p:cNvPr id="9" name="Рисунок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6326" y="106304"/>
            <a:ext cx="1333765" cy="734147"/>
          </a:xfrm>
          <a:prstGeom prst="rect">
            <a:avLst/>
          </a:prstGeom>
        </p:spPr>
      </p:pic>
      <p:pic>
        <p:nvPicPr>
          <p:cNvPr id="10" name="Рисунок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7104" y="302655"/>
            <a:ext cx="556769" cy="416877"/>
          </a:xfrm>
          <a:prstGeom prst="rect">
            <a:avLst/>
          </a:prstGeom>
        </p:spPr>
      </p:pic>
      <p:cxnSp>
        <p:nvCxnSpPr>
          <p:cNvPr id="11" name="Прямая соединительная линия 10"/>
          <p:cNvCxnSpPr/>
          <p:nvPr userDrawn="1"/>
        </p:nvCxnSpPr>
        <p:spPr>
          <a:xfrm flipH="1">
            <a:off x="-1" y="473377"/>
            <a:ext cx="459297"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userDrawn="1"/>
        </p:nvCxnSpPr>
        <p:spPr>
          <a:xfrm flipH="1">
            <a:off x="1143873" y="511092"/>
            <a:ext cx="6668173"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Текст 5"/>
          <p:cNvSpPr>
            <a:spLocks noGrp="1"/>
          </p:cNvSpPr>
          <p:nvPr>
            <p:ph type="body" sz="quarter" idx="10" hasCustomPrompt="1"/>
          </p:nvPr>
        </p:nvSpPr>
        <p:spPr>
          <a:xfrm>
            <a:off x="657676" y="1203722"/>
            <a:ext cx="7865840" cy="503932"/>
          </a:xfrm>
          <a:prstGeom prst="rect">
            <a:avLst/>
          </a:prstGeom>
        </p:spPr>
        <p:txBody>
          <a:bodyPr lIns="91438" tIns="45719" rIns="91438" bIns="45719"/>
          <a:lstStyle>
            <a:lvl1pPr marL="0" indent="0" algn="ctr">
              <a:buNone/>
              <a:defRPr sz="2774" b="1">
                <a:solidFill>
                  <a:schemeClr val="accent1"/>
                </a:solidFill>
              </a:defRPr>
            </a:lvl1pPr>
            <a:lvl2pPr marL="342800" indent="0">
              <a:buNone/>
              <a:defRPr sz="2099" b="1">
                <a:solidFill>
                  <a:schemeClr val="accent4"/>
                </a:solidFill>
              </a:defRPr>
            </a:lvl2pPr>
            <a:lvl3pPr marL="685600" indent="0">
              <a:buNone/>
              <a:defRPr sz="2099" b="1">
                <a:solidFill>
                  <a:schemeClr val="accent4"/>
                </a:solidFill>
              </a:defRPr>
            </a:lvl3pPr>
            <a:lvl4pPr marL="1028400" indent="0">
              <a:buNone/>
              <a:defRPr sz="2099" b="1">
                <a:solidFill>
                  <a:schemeClr val="accent4"/>
                </a:solidFill>
              </a:defRPr>
            </a:lvl4pPr>
            <a:lvl5pPr marL="1371200" indent="0">
              <a:buNone/>
              <a:defRPr sz="2099" b="1">
                <a:solidFill>
                  <a:schemeClr val="accent4"/>
                </a:solidFill>
              </a:defRPr>
            </a:lvl5pPr>
          </a:lstStyle>
          <a:p>
            <a:pPr lvl="0"/>
            <a:r>
              <a:rPr lang="ru-RU" dirty="0"/>
              <a:t>ВЫВОДЫ</a:t>
            </a:r>
          </a:p>
        </p:txBody>
      </p:sp>
    </p:spTree>
    <p:extLst>
      <p:ext uri="{BB962C8B-B14F-4D97-AF65-F5344CB8AC3E}">
        <p14:creationId xmlns:p14="http://schemas.microsoft.com/office/powerpoint/2010/main" val="254004226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sp>
        <p:nvSpPr>
          <p:cNvPr id="10" name="Прямоугольник 9"/>
          <p:cNvSpPr/>
          <p:nvPr userDrawn="1"/>
        </p:nvSpPr>
        <p:spPr>
          <a:xfrm>
            <a:off x="0" y="8316"/>
            <a:ext cx="9144000" cy="5143501"/>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08" rIns="91417" bIns="45708" rtlCol="0" anchor="ctr"/>
          <a:lstStyle/>
          <a:p>
            <a:pPr algn="ctr"/>
            <a:endParaRPr lang="ru-RU" sz="1350"/>
          </a:p>
        </p:txBody>
      </p:sp>
      <p:pic>
        <p:nvPicPr>
          <p:cNvPr id="11" name="Рисунок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65536" y="251913"/>
            <a:ext cx="1602264" cy="881938"/>
          </a:xfrm>
          <a:prstGeom prst="rect">
            <a:avLst/>
          </a:prstGeom>
        </p:spPr>
      </p:pic>
      <p:cxnSp>
        <p:nvCxnSpPr>
          <p:cNvPr id="12" name="Прямая соединительная линия 11"/>
          <p:cNvCxnSpPr>
            <a:stCxn id="22" idx="1"/>
          </p:cNvCxnSpPr>
          <p:nvPr userDrawn="1"/>
        </p:nvCxnSpPr>
        <p:spPr>
          <a:xfrm flipH="1">
            <a:off x="65487" y="768434"/>
            <a:ext cx="236938" cy="2199"/>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Прямая соединительная линия 12"/>
          <p:cNvCxnSpPr>
            <a:endCxn id="22" idx="3"/>
          </p:cNvCxnSpPr>
          <p:nvPr userDrawn="1"/>
        </p:nvCxnSpPr>
        <p:spPr>
          <a:xfrm flipH="1" flipV="1">
            <a:off x="1478580" y="768434"/>
            <a:ext cx="5986956" cy="2199"/>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pic>
        <p:nvPicPr>
          <p:cNvPr id="22" name="Рисунок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2426" y="328114"/>
            <a:ext cx="1176155" cy="880639"/>
          </a:xfrm>
          <a:prstGeom prst="rect">
            <a:avLst/>
          </a:prstGeom>
        </p:spPr>
      </p:pic>
      <p:sp>
        <p:nvSpPr>
          <p:cNvPr id="24" name="Текст 52"/>
          <p:cNvSpPr>
            <a:spLocks noGrp="1"/>
          </p:cNvSpPr>
          <p:nvPr>
            <p:ph type="body" sz="quarter" idx="10" hasCustomPrompt="1"/>
          </p:nvPr>
        </p:nvSpPr>
        <p:spPr>
          <a:xfrm>
            <a:off x="302425" y="2125350"/>
            <a:ext cx="8590055" cy="1113564"/>
          </a:xfrm>
          <a:prstGeom prst="rect">
            <a:avLst/>
          </a:prstGeom>
        </p:spPr>
        <p:txBody>
          <a:bodyPr lIns="91438" tIns="45719" rIns="91438" bIns="45719"/>
          <a:lstStyle>
            <a:lvl1pPr marL="0" indent="0" algn="ctr">
              <a:buNone/>
              <a:defRPr sz="3299" b="1" baseline="0">
                <a:solidFill>
                  <a:schemeClr val="bg2"/>
                </a:solidFill>
              </a:defRPr>
            </a:lvl1pPr>
            <a:lvl5pPr>
              <a:defRPr/>
            </a:lvl5pPr>
          </a:lstStyle>
          <a:p>
            <a:pPr lvl="0"/>
            <a:r>
              <a:rPr lang="ru-RU" dirty="0"/>
              <a:t>Спасибо за внимание!</a:t>
            </a:r>
          </a:p>
        </p:txBody>
      </p:sp>
      <p:pic>
        <p:nvPicPr>
          <p:cNvPr id="14" name="Рисунок 13"/>
          <p:cNvPicPr>
            <a:picLocks noChangeAspect="1"/>
          </p:cNvPicPr>
          <p:nvPr userDrawn="1"/>
        </p:nvPicPr>
        <p:blipFill>
          <a:blip r:embed="rId4">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02728" y="1295893"/>
            <a:ext cx="959982" cy="317247"/>
          </a:xfrm>
          <a:prstGeom prst="rect">
            <a:avLst/>
          </a:prstGeom>
        </p:spPr>
      </p:pic>
    </p:spTree>
    <p:extLst>
      <p:ext uri="{BB962C8B-B14F-4D97-AF65-F5344CB8AC3E}">
        <p14:creationId xmlns:p14="http://schemas.microsoft.com/office/powerpoint/2010/main" val="30688045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1741" y="311760"/>
            <a:ext cx="531089" cy="397650"/>
          </a:xfrm>
          <a:prstGeom prst="rect">
            <a:avLst/>
          </a:prstGeom>
        </p:spPr>
      </p:pic>
      <p:pic>
        <p:nvPicPr>
          <p:cNvPr id="5" name="Рисунок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228600" cy="5143500"/>
          </a:xfrm>
          <a:prstGeom prst="rect">
            <a:avLst/>
          </a:prstGeom>
        </p:spPr>
      </p:pic>
    </p:spTree>
    <p:extLst>
      <p:ext uri="{BB962C8B-B14F-4D97-AF65-F5344CB8AC3E}">
        <p14:creationId xmlns:p14="http://schemas.microsoft.com/office/powerpoint/2010/main" val="319900765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grpSp>
        <p:nvGrpSpPr>
          <p:cNvPr id="16" name="Группа 15"/>
          <p:cNvGrpSpPr/>
          <p:nvPr userDrawn="1"/>
        </p:nvGrpSpPr>
        <p:grpSpPr>
          <a:xfrm>
            <a:off x="6633" y="0"/>
            <a:ext cx="9144000" cy="5143500"/>
            <a:chOff x="0" y="0"/>
            <a:chExt cx="9144000" cy="5143500"/>
          </a:xfrm>
        </p:grpSpPr>
        <p:sp>
          <p:nvSpPr>
            <p:cNvPr id="17" name="Прямоугольник 16"/>
            <p:cNvSpPr/>
            <p:nvPr/>
          </p:nvSpPr>
          <p:spPr>
            <a:xfrm>
              <a:off x="0" y="0"/>
              <a:ext cx="651043"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8" name="Прямоугольник 17"/>
            <p:cNvSpPr/>
            <p:nvPr/>
          </p:nvSpPr>
          <p:spPr>
            <a:xfrm>
              <a:off x="8904757" y="0"/>
              <a:ext cx="239243"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9" name="Прямоугольник 18"/>
            <p:cNvSpPr/>
            <p:nvPr/>
          </p:nvSpPr>
          <p:spPr>
            <a:xfrm>
              <a:off x="57955" y="0"/>
              <a:ext cx="9028090" cy="3026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20" name="Прямоугольник 19"/>
            <p:cNvSpPr/>
            <p:nvPr/>
          </p:nvSpPr>
          <p:spPr>
            <a:xfrm>
              <a:off x="0" y="4992173"/>
              <a:ext cx="9028090" cy="1513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grpSp>
    </p:spTree>
    <p:extLst>
      <p:ext uri="{BB962C8B-B14F-4D97-AF65-F5344CB8AC3E}">
        <p14:creationId xmlns:p14="http://schemas.microsoft.com/office/powerpoint/2010/main" val="170629731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Группа 5"/>
          <p:cNvGrpSpPr/>
          <p:nvPr userDrawn="1"/>
        </p:nvGrpSpPr>
        <p:grpSpPr>
          <a:xfrm>
            <a:off x="1" y="-1874"/>
            <a:ext cx="9143999" cy="5145375"/>
            <a:chOff x="0" y="-1875"/>
            <a:chExt cx="9143999" cy="5145375"/>
          </a:xfrm>
        </p:grpSpPr>
        <p:sp>
          <p:nvSpPr>
            <p:cNvPr id="2" name="Прямоугольник 1"/>
            <p:cNvSpPr/>
            <p:nvPr userDrawn="1"/>
          </p:nvSpPr>
          <p:spPr>
            <a:xfrm>
              <a:off x="0" y="-1875"/>
              <a:ext cx="999931"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3" name="Прямоугольник 2"/>
            <p:cNvSpPr/>
            <p:nvPr userDrawn="1"/>
          </p:nvSpPr>
          <p:spPr>
            <a:xfrm>
              <a:off x="8850973" y="0"/>
              <a:ext cx="293026"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4" name="Прямоугольник 3"/>
            <p:cNvSpPr/>
            <p:nvPr userDrawn="1"/>
          </p:nvSpPr>
          <p:spPr>
            <a:xfrm>
              <a:off x="0" y="0"/>
              <a:ext cx="9143999" cy="3155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5" name="Прямоугольник 4"/>
            <p:cNvSpPr/>
            <p:nvPr userDrawn="1"/>
          </p:nvSpPr>
          <p:spPr>
            <a:xfrm>
              <a:off x="0" y="4992173"/>
              <a:ext cx="9028090" cy="1513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grpSp>
    </p:spTree>
    <p:extLst>
      <p:ext uri="{BB962C8B-B14F-4D97-AF65-F5344CB8AC3E}">
        <p14:creationId xmlns:p14="http://schemas.microsoft.com/office/powerpoint/2010/main" val="289268939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1026" name="Picture 2" descr="C:\Grishagina Maria\Tempo\AZON 2022 2023\РЛ Москва 2-3 апреля\Темплейт\Картинки\image9.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4001"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hasCustomPrompt="1"/>
          </p:nvPr>
        </p:nvSpPr>
        <p:spPr>
          <a:xfrm>
            <a:off x="4134971" y="840441"/>
            <a:ext cx="4813768" cy="2030507"/>
          </a:xfrm>
        </p:spPr>
        <p:txBody>
          <a:bodyPr anchor="ctr">
            <a:normAutofit/>
          </a:bodyPr>
          <a:lstStyle>
            <a:lvl1pPr algn="r">
              <a:defRPr sz="2100" b="1" baseline="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Заголовок презентации</a:t>
            </a:r>
          </a:p>
        </p:txBody>
      </p:sp>
      <p:sp>
        <p:nvSpPr>
          <p:cNvPr id="3" name="Подзаголовок 2"/>
          <p:cNvSpPr>
            <a:spLocks noGrp="1"/>
          </p:cNvSpPr>
          <p:nvPr>
            <p:ph type="subTitle" idx="1"/>
          </p:nvPr>
        </p:nvSpPr>
        <p:spPr>
          <a:xfrm>
            <a:off x="4134971" y="2931457"/>
            <a:ext cx="4813768" cy="753037"/>
          </a:xfrm>
        </p:spPr>
        <p:txBody>
          <a:bodyPr anchor="ctr">
            <a:normAutofit/>
          </a:bodyPr>
          <a:lstStyle>
            <a:lvl1pPr marL="0" indent="0" algn="r">
              <a:buNone/>
              <a:defRPr sz="1350" b="1">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a:t>Образец подзаголовка</a:t>
            </a:r>
          </a:p>
        </p:txBody>
      </p:sp>
    </p:spTree>
    <p:extLst>
      <p:ext uri="{BB962C8B-B14F-4D97-AF65-F5344CB8AC3E}">
        <p14:creationId xmlns:p14="http://schemas.microsoft.com/office/powerpoint/2010/main" val="1958128101"/>
      </p:ext>
    </p:extLst>
  </p:cSld>
  <p:clrMapOvr>
    <a:masterClrMapping/>
  </p:clrMapOvr>
  <p:extLst>
    <p:ext uri="{DCECCB84-F9BA-43D5-87BE-67443E8EF086}">
      <p15:sldGuideLst xmlns:p15="http://schemas.microsoft.com/office/powerpoint/2012/main" xmlns=""/>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DS AZ_Title, Subtitle and Tex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4E26D3C-57EC-4CEF-A2A8-A07986F7F862}"/>
              </a:ext>
            </a:extLst>
          </p:cNvPr>
          <p:cNvSpPr>
            <a:spLocks noGrp="1"/>
          </p:cNvSpPr>
          <p:nvPr>
            <p:ph type="sldNum" sz="quarter" idx="10"/>
          </p:nvPr>
        </p:nvSpPr>
        <p:spPr/>
        <p:txBody>
          <a:bodyPr rtlCol="0"/>
          <a:lstStyle/>
          <a:p>
            <a:pPr rtl="0"/>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pic>
        <p:nvPicPr>
          <p:cNvPr id="12" name="Picture 11" descr="DSI-AZ-hor-COLOR.png"/>
          <p:cNvPicPr>
            <a:picLocks noChangeAspect="1"/>
          </p:cNvPicPr>
          <p:nvPr userDrawn="1"/>
        </p:nvPicPr>
        <p:blipFill rotWithShape="1">
          <a:blip r:embed="rId2">
            <a:extLst>
              <a:ext uri="{28A0092B-C50C-407E-A947-70E740481C1C}">
                <a14:useLocalDpi xmlns:a14="http://schemas.microsoft.com/office/drawing/2010/main" val="0"/>
              </a:ext>
            </a:extLst>
          </a:blip>
          <a:srcRect l="55567" t="1755"/>
          <a:stretch/>
        </p:blipFill>
        <p:spPr>
          <a:xfrm>
            <a:off x="1433245" y="4639499"/>
            <a:ext cx="1146086" cy="504001"/>
          </a:xfrm>
          <a:prstGeom prst="rect">
            <a:avLst/>
          </a:prstGeom>
        </p:spPr>
      </p:pic>
      <p:sp>
        <p:nvSpPr>
          <p:cNvPr id="16" name="Title 8">
            <a:extLst>
              <a:ext uri="{FF2B5EF4-FFF2-40B4-BE49-F238E27FC236}">
                <a16:creationId xmlns:a16="http://schemas.microsoft.com/office/drawing/2014/main" xmlns="" id="{DAAD880F-186C-4797-8B60-F942A0CBF0D9}"/>
              </a:ext>
            </a:extLst>
          </p:cNvPr>
          <p:cNvSpPr>
            <a:spLocks noGrp="1"/>
          </p:cNvSpPr>
          <p:nvPr>
            <p:ph type="title" hasCustomPrompt="1"/>
          </p:nvPr>
        </p:nvSpPr>
        <p:spPr>
          <a:xfrm>
            <a:off x="304799" y="357060"/>
            <a:ext cx="8524875" cy="504000"/>
          </a:xfrm>
          <a:prstGeom prst="rect">
            <a:avLst/>
          </a:prstGeom>
        </p:spPr>
        <p:txBody>
          <a:bodyPr vert="horz" lIns="0" rtlCol="0"/>
          <a:lstStyle>
            <a:lvl1pPr algn="l">
              <a:defRPr sz="2600" b="1" baseline="0">
                <a:solidFill>
                  <a:schemeClr val="tx2"/>
                </a:solidFill>
                <a:latin typeface="Arial" pitchFamily="34" charset="0"/>
                <a:cs typeface="Arial" pitchFamily="34" charset="0"/>
              </a:defRPr>
            </a:lvl1pPr>
          </a:lstStyle>
          <a:p>
            <a:pPr rtl="0"/>
            <a:r>
              <a:rPr lang="ru" noProof="0"/>
              <a:t>Click to add slide title</a:t>
            </a:r>
          </a:p>
        </p:txBody>
      </p:sp>
      <p:sp>
        <p:nvSpPr>
          <p:cNvPr id="17" name="Subtitle 2">
            <a:extLst>
              <a:ext uri="{FF2B5EF4-FFF2-40B4-BE49-F238E27FC236}">
                <a16:creationId xmlns:a16="http://schemas.microsoft.com/office/drawing/2014/main" xmlns="" id="{398572C5-B722-46A9-9CC8-4DF78C5FB7BD}"/>
              </a:ext>
            </a:extLst>
          </p:cNvPr>
          <p:cNvSpPr>
            <a:spLocks noGrp="1"/>
          </p:cNvSpPr>
          <p:nvPr>
            <p:ph type="subTitle" idx="12" hasCustomPrompt="1"/>
          </p:nvPr>
        </p:nvSpPr>
        <p:spPr>
          <a:xfrm>
            <a:off x="304801" y="141978"/>
            <a:ext cx="8524874" cy="212704"/>
          </a:xfrm>
          <a:prstGeom prst="rect">
            <a:avLst/>
          </a:prstGeom>
        </p:spPr>
        <p:txBody>
          <a:bodyPr lIns="0" rtlCol="0" anchor="ctr"/>
          <a:lstStyle>
            <a:lvl1pPr marL="0" indent="0" algn="l">
              <a:lnSpc>
                <a:spcPct val="100000"/>
              </a:lnSpc>
              <a:spcBef>
                <a:spcPts val="0"/>
              </a:spcBef>
              <a:buNone/>
              <a:defRPr sz="1800" i="1">
                <a:solidFill>
                  <a:schemeClr val="accent2"/>
                </a:solidFill>
                <a:latin typeface="Arial" pitchFamily="34" charset="0"/>
                <a:cs typeface="Arial"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pPr rtl="0"/>
            <a:r>
              <a:rPr lang="ru" noProof="0"/>
              <a:t>Click to add subtitle</a:t>
            </a:r>
          </a:p>
        </p:txBody>
      </p:sp>
    </p:spTree>
    <p:extLst>
      <p:ext uri="{BB962C8B-B14F-4D97-AF65-F5344CB8AC3E}">
        <p14:creationId xmlns:p14="http://schemas.microsoft.com/office/powerpoint/2010/main" val="3133177263"/>
      </p:ext>
    </p:extLst>
  </p:cSld>
  <p:clrMapOvr>
    <a:masterClrMapping/>
  </p:clrMapOvr>
  <p:extLst>
    <p:ext uri="{DCECCB84-F9BA-43D5-87BE-67443E8EF086}">
      <p15:sldGuideLst xmlns:p15="http://schemas.microsoft.com/office/powerpoint/2012/main" xmlns="">
        <p15:guide id="1" orient="horz" pos="756">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1_Разделитель 2">
    <p:spTree>
      <p:nvGrpSpPr>
        <p:cNvPr id="1" name=""/>
        <p:cNvGrpSpPr/>
        <p:nvPr/>
      </p:nvGrpSpPr>
      <p:grpSpPr>
        <a:xfrm>
          <a:off x="0" y="0"/>
          <a:ext cx="0" cy="0"/>
          <a:chOff x="0" y="0"/>
          <a:chExt cx="0" cy="0"/>
        </a:xfrm>
      </p:grpSpPr>
      <p:pic>
        <p:nvPicPr>
          <p:cNvPr id="2050" name="Picture 2" descr="C:\Grishagina Maria\Tempo\AZON 2022 2023\РЛ Москва 2-3 апреля\Темплейт\Картинки\image1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hasCustomPrompt="1"/>
          </p:nvPr>
        </p:nvSpPr>
        <p:spPr>
          <a:xfrm>
            <a:off x="2884394" y="773207"/>
            <a:ext cx="5898635" cy="1721223"/>
          </a:xfrm>
        </p:spPr>
        <p:txBody>
          <a:bodyPr anchor="ctr">
            <a:normAutofit/>
          </a:bodyPr>
          <a:lstStyle>
            <a:lvl1pPr algn="r">
              <a:defRPr sz="2100" b="1" baseline="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Заголовок разделителя</a:t>
            </a:r>
          </a:p>
        </p:txBody>
      </p:sp>
      <p:sp>
        <p:nvSpPr>
          <p:cNvPr id="3" name="Подзаголовок 2"/>
          <p:cNvSpPr>
            <a:spLocks noGrp="1"/>
          </p:cNvSpPr>
          <p:nvPr>
            <p:ph type="subTitle" idx="1"/>
          </p:nvPr>
        </p:nvSpPr>
        <p:spPr>
          <a:xfrm>
            <a:off x="4961965" y="2509103"/>
            <a:ext cx="3821064" cy="959013"/>
          </a:xfrm>
        </p:spPr>
        <p:txBody>
          <a:bodyPr anchor="t">
            <a:normAutofit/>
          </a:bodyPr>
          <a:lstStyle>
            <a:lvl1pPr marL="0" indent="0" algn="r">
              <a:buNone/>
              <a:defRPr sz="1350" b="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a:t>Образец подзаголовка</a:t>
            </a:r>
          </a:p>
        </p:txBody>
      </p:sp>
    </p:spTree>
    <p:extLst>
      <p:ext uri="{BB962C8B-B14F-4D97-AF65-F5344CB8AC3E}">
        <p14:creationId xmlns:p14="http://schemas.microsoft.com/office/powerpoint/2010/main" val="2584795051"/>
      </p:ext>
    </p:extLst>
  </p:cSld>
  <p:clrMapOvr>
    <a:masterClrMapping/>
  </p:clrMapOvr>
  <p:extLst>
    <p:ext uri="{DCECCB84-F9BA-43D5-87BE-67443E8EF086}">
      <p15:sldGuideLst xmlns:p15="http://schemas.microsoft.com/office/powerpoint/2012/main" xmlns=""/>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 preserve="1">
  <p:cSld name="2_Разделитель 2">
    <p:spTree>
      <p:nvGrpSpPr>
        <p:cNvPr id="1" name=""/>
        <p:cNvGrpSpPr/>
        <p:nvPr/>
      </p:nvGrpSpPr>
      <p:grpSpPr>
        <a:xfrm>
          <a:off x="0" y="0"/>
          <a:ext cx="0" cy="0"/>
          <a:chOff x="0" y="0"/>
          <a:chExt cx="0" cy="0"/>
        </a:xfrm>
      </p:grpSpPr>
      <p:pic>
        <p:nvPicPr>
          <p:cNvPr id="3074" name="Picture 2" descr="C:\Grishagina Maria\Tempo\AZON 2022 2023\РЛ Москва 2-3 апреля\Темплейт\Картинки\image11.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hasCustomPrompt="1"/>
          </p:nvPr>
        </p:nvSpPr>
        <p:spPr>
          <a:xfrm>
            <a:off x="2884394" y="773207"/>
            <a:ext cx="5898635" cy="1721223"/>
          </a:xfrm>
        </p:spPr>
        <p:txBody>
          <a:bodyPr anchor="ctr">
            <a:normAutofit/>
          </a:bodyPr>
          <a:lstStyle>
            <a:lvl1pPr algn="r">
              <a:defRPr sz="2400" b="1" baseline="0">
                <a:solidFill>
                  <a:schemeClr val="tx2"/>
                </a:solidFill>
                <a:latin typeface="+mn-lt"/>
                <a:ea typeface="Verdana" panose="020B0604030504040204" pitchFamily="34" charset="0"/>
                <a:cs typeface="Arial" panose="020B0604020202020204" pitchFamily="34" charset="0"/>
              </a:defRPr>
            </a:lvl1pPr>
          </a:lstStyle>
          <a:p>
            <a:r>
              <a:rPr lang="ru-RU" dirty="0"/>
              <a:t>Заголовок разделителя</a:t>
            </a:r>
          </a:p>
        </p:txBody>
      </p:sp>
      <p:sp>
        <p:nvSpPr>
          <p:cNvPr id="3" name="Подзаголовок 2"/>
          <p:cNvSpPr>
            <a:spLocks noGrp="1"/>
          </p:cNvSpPr>
          <p:nvPr>
            <p:ph type="subTitle" idx="1"/>
          </p:nvPr>
        </p:nvSpPr>
        <p:spPr>
          <a:xfrm>
            <a:off x="4961965" y="2509103"/>
            <a:ext cx="3821064" cy="959013"/>
          </a:xfrm>
        </p:spPr>
        <p:txBody>
          <a:bodyPr anchor="t">
            <a:normAutofit/>
          </a:bodyPr>
          <a:lstStyle>
            <a:lvl1pPr marL="0" indent="0" algn="r">
              <a:buNone/>
              <a:defRPr sz="1350" b="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a:t>Образец подзаголовка</a:t>
            </a:r>
          </a:p>
        </p:txBody>
      </p:sp>
      <p:sp>
        <p:nvSpPr>
          <p:cNvPr id="8" name="Номер слайда 6"/>
          <p:cNvSpPr txBox="1">
            <a:spLocks/>
          </p:cNvSpPr>
          <p:nvPr userDrawn="1"/>
        </p:nvSpPr>
        <p:spPr>
          <a:xfrm>
            <a:off x="8542664" y="149896"/>
            <a:ext cx="480733" cy="273844"/>
          </a:xfrm>
          <a:prstGeom prst="rect">
            <a:avLst/>
          </a:prstGeom>
        </p:spPr>
        <p:txBody>
          <a:bodyPr vert="horz" lIns="68580" tIns="34290" rIns="68580" bIns="34290"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105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617856"/>
      </p:ext>
    </p:extLst>
  </p:cSld>
  <p:clrMapOvr>
    <a:masterClrMapping/>
  </p:clrMapOvr>
  <p:extLst>
    <p:ext uri="{DCECCB84-F9BA-43D5-87BE-67443E8EF086}">
      <p15:sldGuideLst xmlns:p15="http://schemas.microsoft.com/office/powerpoint/2012/main" xmlns=""/>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Текст 2">
    <p:spTree>
      <p:nvGrpSpPr>
        <p:cNvPr id="1" name=""/>
        <p:cNvGrpSpPr/>
        <p:nvPr/>
      </p:nvGrpSpPr>
      <p:grpSpPr>
        <a:xfrm>
          <a:off x="0" y="0"/>
          <a:ext cx="0" cy="0"/>
          <a:chOff x="0" y="0"/>
          <a:chExt cx="0" cy="0"/>
        </a:xfrm>
      </p:grpSpPr>
      <p:pic>
        <p:nvPicPr>
          <p:cNvPr id="4098" name="Picture 2" descr="C:\Grishagina Maria\Tempo\AZON 2022 2023\РЛ Москва 2-3 апреля\Темплейт\Картинки\image12.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6" y="250031"/>
            <a:ext cx="7027700"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11" name="Объект 10"/>
          <p:cNvSpPr>
            <a:spLocks noGrp="1"/>
          </p:cNvSpPr>
          <p:nvPr>
            <p:ph sz="quarter" idx="10"/>
          </p:nvPr>
        </p:nvSpPr>
        <p:spPr>
          <a:xfrm>
            <a:off x="791766" y="1146655"/>
            <a:ext cx="7560469" cy="3068999"/>
          </a:xfrm>
        </p:spPr>
        <p:txBody>
          <a:bodyPr>
            <a:normAutofit/>
          </a:bodyPr>
          <a:lstStyle>
            <a:lvl1pPr>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862748643"/>
      </p:ext>
    </p:extLst>
  </p:cSld>
  <p:clrMapOvr>
    <a:masterClrMapping/>
  </p:clrMapOvr>
  <p:extLst>
    <p:ext uri="{DCECCB84-F9BA-43D5-87BE-67443E8EF086}">
      <p15:sldGuideLst xmlns:p15="http://schemas.microsoft.com/office/powerpoint/2012/main" xmlns=""/>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Текст 2">
    <p:spTree>
      <p:nvGrpSpPr>
        <p:cNvPr id="1" name=""/>
        <p:cNvGrpSpPr/>
        <p:nvPr/>
      </p:nvGrpSpPr>
      <p:grpSpPr>
        <a:xfrm>
          <a:off x="0" y="0"/>
          <a:ext cx="0" cy="0"/>
          <a:chOff x="0" y="0"/>
          <a:chExt cx="0" cy="0"/>
        </a:xfrm>
      </p:grpSpPr>
      <p:pic>
        <p:nvPicPr>
          <p:cNvPr id="3" name="Picture 2" descr="C:\Grishagina Maria\Tempo\AZON 2022 2023\РЛ Москва 2-3 апреля\Темплейт\Картинки\image17.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6" y="250031"/>
            <a:ext cx="7027700"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Tree>
    <p:extLst>
      <p:ext uri="{BB962C8B-B14F-4D97-AF65-F5344CB8AC3E}">
        <p14:creationId xmlns:p14="http://schemas.microsoft.com/office/powerpoint/2010/main" val="1195349955"/>
      </p:ext>
    </p:extLst>
  </p:cSld>
  <p:clrMapOvr>
    <a:masterClrMapping/>
  </p:clrMapOvr>
  <p:extLst>
    <p:ext uri="{DCECCB84-F9BA-43D5-87BE-67443E8EF086}">
      <p15:sldGuideLst xmlns:p15="http://schemas.microsoft.com/office/powerpoint/2012/main" xmlns=""/>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Текст и рисунок">
    <p:spTree>
      <p:nvGrpSpPr>
        <p:cNvPr id="1" name=""/>
        <p:cNvGrpSpPr/>
        <p:nvPr/>
      </p:nvGrpSpPr>
      <p:grpSpPr>
        <a:xfrm>
          <a:off x="0" y="0"/>
          <a:ext cx="0" cy="0"/>
          <a:chOff x="0" y="0"/>
          <a:chExt cx="0" cy="0"/>
        </a:xfrm>
      </p:grpSpPr>
      <p:pic>
        <p:nvPicPr>
          <p:cNvPr id="8" name="Picture 2" descr="C:\Grishagina Maria\Tempo\AZON 2022 2023\РЛ Москва 2-3 апреля\Темплейт\Картинки\image12.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7" y="250032"/>
            <a:ext cx="7027698" cy="647700"/>
          </a:xfrm>
        </p:spPr>
        <p:txBody>
          <a:bodyPr>
            <a:normAutofit/>
          </a:bodyPr>
          <a:lstStyle>
            <a:lvl1pPr>
              <a:defRPr sz="18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7" name="Объект 2"/>
          <p:cNvSpPr>
            <a:spLocks noGrp="1"/>
          </p:cNvSpPr>
          <p:nvPr>
            <p:ph sz="half" idx="1"/>
          </p:nvPr>
        </p:nvSpPr>
        <p:spPr>
          <a:xfrm>
            <a:off x="791766" y="1149165"/>
            <a:ext cx="2731364" cy="3147172"/>
          </a:xfrm>
        </p:spPr>
        <p:txBody>
          <a:bodyPr/>
          <a:lstStyle>
            <a:lvl1pPr marL="214313" marR="0" indent="-214313"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marL="557213" indent="-214313">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marL="900113" indent="-214313">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marL="1157288" indent="-128588">
              <a:buFont typeface="Arial" panose="020B0604020202020204" pitchFamily="34" charset="0"/>
              <a:buChar cha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marL="1500188" indent="-128588">
              <a:buFont typeface="Arial" panose="020B0604020202020204" pitchFamily="34" charset="0"/>
              <a:buChar cha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endParaRPr lang="en-US" dirty="0"/>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4" name="Объект 2"/>
          <p:cNvSpPr>
            <a:spLocks noGrp="1"/>
          </p:cNvSpPr>
          <p:nvPr>
            <p:ph sz="half" idx="10"/>
          </p:nvPr>
        </p:nvSpPr>
        <p:spPr>
          <a:xfrm>
            <a:off x="3704665" y="1149163"/>
            <a:ext cx="4647570" cy="3147172"/>
          </a:xfrm>
        </p:spPr>
        <p:txBody>
          <a:bodyPr/>
          <a:lstStyle>
            <a:lvl1pPr marL="171450" indent="-171450">
              <a:buFont typeface="Arial" panose="020B0604020202020204" pitchFamily="34" charset="0"/>
              <a:buChar char="•"/>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marL="514350" indent="-171450">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455717180"/>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Текст 2">
    <p:spTree>
      <p:nvGrpSpPr>
        <p:cNvPr id="1" name=""/>
        <p:cNvGrpSpPr/>
        <p:nvPr/>
      </p:nvGrpSpPr>
      <p:grpSpPr>
        <a:xfrm>
          <a:off x="0" y="0"/>
          <a:ext cx="0" cy="0"/>
          <a:chOff x="0" y="0"/>
          <a:chExt cx="0" cy="0"/>
        </a:xfrm>
      </p:grpSpPr>
      <p:pic>
        <p:nvPicPr>
          <p:cNvPr id="1026" name="Picture 2" descr="C:\Grishagina Maria\Tempo\AZON 2022 2023\РЛ Москва 2-3 апреля\Темплейт\Картинки\image1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6" y="250031"/>
            <a:ext cx="7027700"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11" name="Объект 10"/>
          <p:cNvSpPr>
            <a:spLocks noGrp="1"/>
          </p:cNvSpPr>
          <p:nvPr>
            <p:ph sz="quarter" idx="10"/>
          </p:nvPr>
        </p:nvSpPr>
        <p:spPr>
          <a:xfrm>
            <a:off x="791766" y="1146655"/>
            <a:ext cx="7560469" cy="3068999"/>
          </a:xfrm>
        </p:spPr>
        <p:txBody>
          <a:bodyPr>
            <a:normAutofit/>
          </a:bodyPr>
          <a:lstStyle>
            <a:lvl1pPr>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3445238999"/>
      </p:ext>
    </p:extLst>
  </p:cSld>
  <p:clrMapOvr>
    <a:masterClrMapping/>
  </p:clrMapOvr>
  <p:extLst>
    <p:ext uri="{DCECCB84-F9BA-43D5-87BE-67443E8EF086}">
      <p15:sldGuideLst xmlns:p15="http://schemas.microsoft.com/office/powerpoint/2012/main" xmlns=""/>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Текст 2">
    <p:spTree>
      <p:nvGrpSpPr>
        <p:cNvPr id="1" name=""/>
        <p:cNvGrpSpPr/>
        <p:nvPr/>
      </p:nvGrpSpPr>
      <p:grpSpPr>
        <a:xfrm>
          <a:off x="0" y="0"/>
          <a:ext cx="0" cy="0"/>
          <a:chOff x="0" y="0"/>
          <a:chExt cx="0" cy="0"/>
        </a:xfrm>
      </p:grpSpPr>
      <p:pic>
        <p:nvPicPr>
          <p:cNvPr id="3074" name="Picture 2" descr="C:\Grishagina Maria\Tempo\AZON 2022 2023\РЛ Москва 2-3 апреля\Темплейт\Картинки\image16.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144001"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6" y="250031"/>
            <a:ext cx="7027700"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Tree>
    <p:extLst>
      <p:ext uri="{BB962C8B-B14F-4D97-AF65-F5344CB8AC3E}">
        <p14:creationId xmlns:p14="http://schemas.microsoft.com/office/powerpoint/2010/main" val="1259738164"/>
      </p:ext>
    </p:extLst>
  </p:cSld>
  <p:clrMapOvr>
    <a:masterClrMapping/>
  </p:clrMapOvr>
  <p:extLst>
    <p:ext uri="{DCECCB84-F9BA-43D5-87BE-67443E8EF086}">
      <p15:sldGuideLst xmlns:p15="http://schemas.microsoft.com/office/powerpoint/2012/main" xmlns=""/>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Текст и рисунок">
    <p:spTree>
      <p:nvGrpSpPr>
        <p:cNvPr id="1" name=""/>
        <p:cNvGrpSpPr/>
        <p:nvPr/>
      </p:nvGrpSpPr>
      <p:grpSpPr>
        <a:xfrm>
          <a:off x="0" y="0"/>
          <a:ext cx="0" cy="0"/>
          <a:chOff x="0" y="0"/>
          <a:chExt cx="0" cy="0"/>
        </a:xfrm>
      </p:grpSpPr>
      <p:pic>
        <p:nvPicPr>
          <p:cNvPr id="5122" name="Picture 2" descr="C:\Grishagina Maria\Tempo\AZON 2022 2023\РЛ Москва 2-3 апреля\Темплейт\Картинки\image14.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a:extLst>
              <a:ext uri="{FF2B5EF4-FFF2-40B4-BE49-F238E27FC236}">
                <a16:creationId xmlns:a16="http://schemas.microsoft.com/office/drawing/2014/main" xmlns="" id="{F3CC9659-97F0-63B8-7D25-A9E2D5020997}"/>
              </a:ext>
            </a:extLst>
          </p:cNvPr>
          <p:cNvSpPr/>
          <p:nvPr userDrawn="1"/>
        </p:nvSpPr>
        <p:spPr>
          <a:xfrm>
            <a:off x="6281637" y="459633"/>
            <a:ext cx="1087066" cy="357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2" name="Заголовок 1"/>
          <p:cNvSpPr>
            <a:spLocks noGrp="1"/>
          </p:cNvSpPr>
          <p:nvPr>
            <p:ph type="title"/>
          </p:nvPr>
        </p:nvSpPr>
        <p:spPr>
          <a:xfrm>
            <a:off x="791766" y="270203"/>
            <a:ext cx="7027699" cy="647700"/>
          </a:xfrm>
        </p:spPr>
        <p:txBody>
          <a:bodyPr>
            <a:normAutofit/>
          </a:bodyPr>
          <a:lstStyle>
            <a:lvl1pPr>
              <a:defRPr sz="18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4" name="Прямоугольник 3">
            <a:extLst>
              <a:ext uri="{FF2B5EF4-FFF2-40B4-BE49-F238E27FC236}">
                <a16:creationId xmlns:a16="http://schemas.microsoft.com/office/drawing/2014/main" xmlns="" id="{12C6CA07-FC64-26DC-8927-4E75DDD71C54}"/>
              </a:ext>
            </a:extLst>
          </p:cNvPr>
          <p:cNvSpPr/>
          <p:nvPr userDrawn="1"/>
        </p:nvSpPr>
        <p:spPr>
          <a:xfrm>
            <a:off x="0" y="4107505"/>
            <a:ext cx="9144000" cy="10432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Tree>
    <p:extLst>
      <p:ext uri="{BB962C8B-B14F-4D97-AF65-F5344CB8AC3E}">
        <p14:creationId xmlns:p14="http://schemas.microsoft.com/office/powerpoint/2010/main" val="3490761941"/>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Разделитель 1">
    <p:spTree>
      <p:nvGrpSpPr>
        <p:cNvPr id="1" name=""/>
        <p:cNvGrpSpPr/>
        <p:nvPr/>
      </p:nvGrpSpPr>
      <p:grpSpPr>
        <a:xfrm>
          <a:off x="0" y="0"/>
          <a:ext cx="0" cy="0"/>
          <a:chOff x="0" y="0"/>
          <a:chExt cx="0" cy="0"/>
        </a:xfrm>
      </p:grpSpPr>
      <p:pic>
        <p:nvPicPr>
          <p:cNvPr id="6146" name="Picture 2" descr="C:\Grishagina Maria\Tempo\AZON 2022 2023\РЛ Москва 2-3 апреля\Темплейт\Картинки\image2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hasCustomPrompt="1"/>
          </p:nvPr>
        </p:nvSpPr>
        <p:spPr>
          <a:xfrm>
            <a:off x="4484861" y="962492"/>
            <a:ext cx="3953111" cy="1968302"/>
          </a:xfrm>
        </p:spPr>
        <p:txBody>
          <a:bodyPr anchor="ctr">
            <a:normAutofit/>
          </a:bodyPr>
          <a:lstStyle>
            <a:lvl1pPr algn="l">
              <a:defRPr sz="3000" b="1" baseline="0">
                <a:solidFill>
                  <a:schemeClr val="tx2"/>
                </a:solidFill>
                <a:latin typeface="+mn-lt"/>
                <a:ea typeface="Verdana" panose="020B0604030504040204" pitchFamily="34" charset="0"/>
                <a:cs typeface="Arial" panose="020B0604020202020204" pitchFamily="34" charset="0"/>
              </a:defRPr>
            </a:lvl1pPr>
          </a:lstStyle>
          <a:p>
            <a:r>
              <a:rPr lang="ru-RU" dirty="0"/>
              <a:t>Спасибо </a:t>
            </a:r>
            <a:br>
              <a:rPr lang="ru-RU" dirty="0"/>
            </a:br>
            <a:r>
              <a:rPr lang="ru-RU" dirty="0"/>
              <a:t>за внимание!</a:t>
            </a:r>
          </a:p>
        </p:txBody>
      </p:sp>
    </p:spTree>
    <p:extLst>
      <p:ext uri="{BB962C8B-B14F-4D97-AF65-F5344CB8AC3E}">
        <p14:creationId xmlns:p14="http://schemas.microsoft.com/office/powerpoint/2010/main" val="3313331446"/>
      </p:ext>
    </p:extLst>
  </p:cSld>
  <p:clrMapOvr>
    <a:masterClrMapping/>
  </p:clrMapOvr>
  <p:extLst>
    <p:ext uri="{DCECCB84-F9BA-43D5-87BE-67443E8EF086}">
      <p15:sldGuideLst xmlns:p15="http://schemas.microsoft.com/office/powerpoint/2012/main" xmlns=""/>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Текст 2">
  <p:cSld name="4_Текст 2">
    <p:spTree>
      <p:nvGrpSpPr>
        <p:cNvPr id="1" name="Shape 19"/>
        <p:cNvGrpSpPr/>
        <p:nvPr/>
      </p:nvGrpSpPr>
      <p:grpSpPr>
        <a:xfrm>
          <a:off x="0" y="0"/>
          <a:ext cx="0" cy="0"/>
          <a:chOff x="0" y="0"/>
          <a:chExt cx="0" cy="0"/>
        </a:xfrm>
      </p:grpSpPr>
      <p:pic>
        <p:nvPicPr>
          <p:cNvPr id="20" name="Google Shape;20;p113" descr="C:\Grishagina Maria\Tempo\AZON 2022 2023\РЛ Москва 2-3 апреля\Темплейт\Картинки\image12.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38" y="0"/>
            <a:ext cx="9144000" cy="5143500"/>
          </a:xfrm>
          <a:prstGeom prst="rect">
            <a:avLst/>
          </a:prstGeom>
          <a:noFill/>
          <a:ln>
            <a:noFill/>
          </a:ln>
        </p:spPr>
      </p:pic>
      <p:sp>
        <p:nvSpPr>
          <p:cNvPr id="21" name="Google Shape;21;p113"/>
          <p:cNvSpPr txBox="1">
            <a:spLocks noGrp="1"/>
          </p:cNvSpPr>
          <p:nvPr>
            <p:ph type="title"/>
          </p:nvPr>
        </p:nvSpPr>
        <p:spPr>
          <a:xfrm>
            <a:off x="791766" y="250031"/>
            <a:ext cx="7027700" cy="6477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2"/>
              </a:buClr>
              <a:buSzPts val="2400"/>
              <a:buFont typeface="Arial"/>
              <a:buNone/>
              <a:defRPr sz="1800" b="0">
                <a:solidFill>
                  <a:schemeClr val="dk2"/>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113"/>
          <p:cNvSpPr txBox="1">
            <a:spLocks noGrp="1"/>
          </p:cNvSpPr>
          <p:nvPr>
            <p:ph type="body" idx="1"/>
          </p:nvPr>
        </p:nvSpPr>
        <p:spPr>
          <a:xfrm>
            <a:off x="791766" y="1146655"/>
            <a:ext cx="7560469" cy="3068999"/>
          </a:xfrm>
          <a:prstGeom prst="rect">
            <a:avLst/>
          </a:prstGeom>
          <a:noFill/>
          <a:ln>
            <a:noFill/>
          </a:ln>
        </p:spPr>
        <p:txBody>
          <a:bodyPr spcFirstLastPara="1" wrap="square" lIns="91425" tIns="45700" rIns="91425" bIns="45700" anchor="t" anchorCtr="0">
            <a:normAutofit/>
          </a:bodyPr>
          <a:lstStyle>
            <a:lvl1pPr marL="342900" lvl="0" indent="-247650" algn="l">
              <a:lnSpc>
                <a:spcPct val="90000"/>
              </a:lnSpc>
              <a:spcBef>
                <a:spcPts val="750"/>
              </a:spcBef>
              <a:spcAft>
                <a:spcPts val="0"/>
              </a:spcAft>
              <a:buClr>
                <a:schemeClr val="dk1"/>
              </a:buClr>
              <a:buSzPts val="1600"/>
              <a:buChar char="•"/>
              <a:defRPr sz="1200">
                <a:solidFill>
                  <a:schemeClr val="dk1"/>
                </a:solidFill>
                <a:latin typeface="Arial"/>
                <a:ea typeface="Arial"/>
                <a:cs typeface="Arial"/>
                <a:sym typeface="Arial"/>
              </a:defRPr>
            </a:lvl1pPr>
            <a:lvl2pPr marL="685800" lvl="1" indent="-238125" algn="l">
              <a:lnSpc>
                <a:spcPct val="90000"/>
              </a:lnSpc>
              <a:spcBef>
                <a:spcPts val="375"/>
              </a:spcBef>
              <a:spcAft>
                <a:spcPts val="0"/>
              </a:spcAft>
              <a:buClr>
                <a:schemeClr val="dk1"/>
              </a:buClr>
              <a:buSzPts val="1400"/>
              <a:buChar char="•"/>
              <a:defRPr sz="1050">
                <a:solidFill>
                  <a:schemeClr val="dk1"/>
                </a:solidFill>
                <a:latin typeface="Arial"/>
                <a:ea typeface="Arial"/>
                <a:cs typeface="Arial"/>
                <a:sym typeface="Arial"/>
              </a:defRPr>
            </a:lvl2pPr>
            <a:lvl3pPr marL="1028700" lvl="2" indent="-238125" algn="l">
              <a:lnSpc>
                <a:spcPct val="90000"/>
              </a:lnSpc>
              <a:spcBef>
                <a:spcPts val="375"/>
              </a:spcBef>
              <a:spcAft>
                <a:spcPts val="0"/>
              </a:spcAft>
              <a:buClr>
                <a:schemeClr val="dk1"/>
              </a:buClr>
              <a:buSzPts val="1400"/>
              <a:buChar char="•"/>
              <a:defRPr sz="1050">
                <a:solidFill>
                  <a:schemeClr val="dk1"/>
                </a:solidFill>
                <a:latin typeface="Arial"/>
                <a:ea typeface="Arial"/>
                <a:cs typeface="Arial"/>
                <a:sym typeface="Arial"/>
              </a:defRPr>
            </a:lvl3pPr>
            <a:lvl4pPr marL="1371600" lvl="3" indent="-228600" algn="l">
              <a:lnSpc>
                <a:spcPct val="90000"/>
              </a:lnSpc>
              <a:spcBef>
                <a:spcPts val="375"/>
              </a:spcBef>
              <a:spcAft>
                <a:spcPts val="0"/>
              </a:spcAft>
              <a:buClr>
                <a:schemeClr val="dk1"/>
              </a:buClr>
              <a:buSzPts val="1200"/>
              <a:buChar char="•"/>
              <a:defRPr sz="900">
                <a:solidFill>
                  <a:schemeClr val="dk1"/>
                </a:solidFill>
                <a:latin typeface="Arial"/>
                <a:ea typeface="Arial"/>
                <a:cs typeface="Arial"/>
                <a:sym typeface="Arial"/>
              </a:defRPr>
            </a:lvl4pPr>
            <a:lvl5pPr marL="1714500" lvl="4" indent="-228600" algn="l">
              <a:lnSpc>
                <a:spcPct val="90000"/>
              </a:lnSpc>
              <a:spcBef>
                <a:spcPts val="375"/>
              </a:spcBef>
              <a:spcAft>
                <a:spcPts val="0"/>
              </a:spcAft>
              <a:buClr>
                <a:schemeClr val="dk1"/>
              </a:buClr>
              <a:buSzPts val="1200"/>
              <a:buChar char="•"/>
              <a:defRPr sz="900">
                <a:solidFill>
                  <a:schemeClr val="dk1"/>
                </a:solidFill>
                <a:latin typeface="Arial"/>
                <a:ea typeface="Arial"/>
                <a:cs typeface="Arial"/>
                <a:sym typeface="Arial"/>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52750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master title</a:t>
            </a:r>
          </a:p>
        </p:txBody>
      </p:sp>
      <p:sp>
        <p:nvSpPr>
          <p:cNvPr id="6" name="Text Placeholder 3"/>
          <p:cNvSpPr>
            <a:spLocks noGrp="1"/>
          </p:cNvSpPr>
          <p:nvPr>
            <p:ph type="body" sz="quarter" idx="11" hasCustomPrompt="1"/>
          </p:nvPr>
        </p:nvSpPr>
        <p:spPr>
          <a:xfrm>
            <a:off x="237062" y="1164513"/>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89" indent="0">
              <a:buNone/>
              <a:defRPr sz="2400"/>
            </a:lvl2pPr>
            <a:lvl3pPr marL="914378" indent="0">
              <a:buNone/>
              <a:defRPr sz="2400"/>
            </a:lvl3pPr>
            <a:lvl4pPr marL="1371566" indent="0">
              <a:buNone/>
              <a:defRPr sz="2400"/>
            </a:lvl4pPr>
            <a:lvl5pPr marL="1828754" indent="0">
              <a:buNone/>
              <a:defRPr sz="2400"/>
            </a:lvl5pPr>
          </a:lstStyle>
          <a:p>
            <a:pPr lvl="0"/>
            <a:r>
              <a:rPr lang="en-GB" noProof="0" dirty="0"/>
              <a:t>Click to add introduction text</a:t>
            </a:r>
          </a:p>
        </p:txBody>
      </p:sp>
    </p:spTree>
    <p:extLst>
      <p:ext uri="{BB962C8B-B14F-4D97-AF65-F5344CB8AC3E}">
        <p14:creationId xmlns:p14="http://schemas.microsoft.com/office/powerpoint/2010/main" val="293372235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2_Текст и рисунок">
    <p:spTree>
      <p:nvGrpSpPr>
        <p:cNvPr id="1" name=""/>
        <p:cNvGrpSpPr/>
        <p:nvPr/>
      </p:nvGrpSpPr>
      <p:grpSpPr>
        <a:xfrm>
          <a:off x="0" y="0"/>
          <a:ext cx="0" cy="0"/>
          <a:chOff x="0" y="0"/>
          <a:chExt cx="0" cy="0"/>
        </a:xfrm>
      </p:grpSpPr>
      <p:pic>
        <p:nvPicPr>
          <p:cNvPr id="6" name="Рисунок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sp>
        <p:nvSpPr>
          <p:cNvPr id="13" name="Прямоугольник 12"/>
          <p:cNvSpPr/>
          <p:nvPr userDrawn="1"/>
        </p:nvSpPr>
        <p:spPr>
          <a:xfrm>
            <a:off x="-538" y="952576"/>
            <a:ext cx="9144538" cy="136635"/>
          </a:xfrm>
          <a:prstGeom prst="rect">
            <a:avLst/>
          </a:prstGeom>
          <a:gradFill flip="none" rotWithShape="1">
            <a:gsLst>
              <a:gs pos="73204">
                <a:srgbClr val="95B9D0"/>
              </a:gs>
              <a:gs pos="100000">
                <a:srgbClr val="A7E5F2"/>
              </a:gs>
              <a:gs pos="34000">
                <a:srgbClr val="7A789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2" name="Заголовок 1"/>
          <p:cNvSpPr>
            <a:spLocks noGrp="1"/>
          </p:cNvSpPr>
          <p:nvPr>
            <p:ph type="title"/>
          </p:nvPr>
        </p:nvSpPr>
        <p:spPr>
          <a:xfrm>
            <a:off x="188817" y="139992"/>
            <a:ext cx="7630648" cy="647700"/>
          </a:xfrm>
        </p:spPr>
        <p:txBody>
          <a:bodyPr>
            <a:normAutofit/>
          </a:bodyPr>
          <a:lstStyle>
            <a:lvl1pPr>
              <a:defRPr sz="18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Tree>
    <p:extLst>
      <p:ext uri="{BB962C8B-B14F-4D97-AF65-F5344CB8AC3E}">
        <p14:creationId xmlns:p14="http://schemas.microsoft.com/office/powerpoint/2010/main" val="832840669"/>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DS AZ Cover Slide_with Imag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2" y="1211336"/>
            <a:ext cx="6822759" cy="504000"/>
          </a:xfrm>
          <a:prstGeom prst="rect">
            <a:avLst/>
          </a:prstGeom>
        </p:spPr>
        <p:txBody>
          <a:bodyPr vert="horz"/>
          <a:lstStyle>
            <a:lvl1pPr algn="l">
              <a:lnSpc>
                <a:spcPct val="90000"/>
              </a:lnSpc>
              <a:defRPr sz="2800" b="1" baseline="0">
                <a:solidFill>
                  <a:schemeClr val="tx1"/>
                </a:solidFill>
                <a:latin typeface="Arial" pitchFamily="34" charset="0"/>
                <a:cs typeface="Arial" pitchFamily="34" charset="0"/>
              </a:defRPr>
            </a:lvl1pPr>
          </a:lstStyle>
          <a:p>
            <a:r>
              <a:rPr lang="en-GB" noProof="0"/>
              <a:t>Click to add presentation title</a:t>
            </a:r>
          </a:p>
        </p:txBody>
      </p:sp>
      <p:sp>
        <p:nvSpPr>
          <p:cNvPr id="10" name="Text Placeholder 29"/>
          <p:cNvSpPr>
            <a:spLocks noGrp="1"/>
          </p:cNvSpPr>
          <p:nvPr>
            <p:ph type="body" sz="quarter" idx="11" hasCustomPrompt="1"/>
          </p:nvPr>
        </p:nvSpPr>
        <p:spPr>
          <a:xfrm>
            <a:off x="215999" y="2180815"/>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15999" y="2387065"/>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7128000" y="2180815"/>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a:t>00 Month Year</a:t>
            </a:r>
          </a:p>
        </p:txBody>
      </p:sp>
      <p:sp>
        <p:nvSpPr>
          <p:cNvPr id="13" name="Text Placeholder 29"/>
          <p:cNvSpPr>
            <a:spLocks noGrp="1"/>
          </p:cNvSpPr>
          <p:nvPr>
            <p:ph type="body" sz="quarter" idx="13" hasCustomPrompt="1"/>
          </p:nvPr>
        </p:nvSpPr>
        <p:spPr>
          <a:xfrm>
            <a:off x="7128000" y="2387065"/>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onfidential statement</a:t>
            </a:r>
          </a:p>
        </p:txBody>
      </p:sp>
      <p:sp>
        <p:nvSpPr>
          <p:cNvPr id="17" name="Picture Placeholder 16">
            <a:extLst>
              <a:ext uri="{FF2B5EF4-FFF2-40B4-BE49-F238E27FC236}">
                <a16:creationId xmlns:a16="http://schemas.microsoft.com/office/drawing/2014/main" xmlns="" id="{4C30F799-6730-4DCD-BE22-7CAD6970BA4A}"/>
              </a:ext>
            </a:extLst>
          </p:cNvPr>
          <p:cNvSpPr>
            <a:spLocks noGrp="1"/>
          </p:cNvSpPr>
          <p:nvPr>
            <p:ph type="pic" sz="quarter" idx="16"/>
          </p:nvPr>
        </p:nvSpPr>
        <p:spPr>
          <a:xfrm>
            <a:off x="0" y="2876550"/>
            <a:ext cx="9144000" cy="2266950"/>
          </a:xfrm>
          <a:prstGeom prst="rect">
            <a:avLst/>
          </a:prstGeom>
        </p:spPr>
        <p:txBody>
          <a:bodyPr/>
          <a:lstStyle>
            <a:lvl1pPr marL="0" indent="0">
              <a:buNone/>
              <a:defRPr sz="2800"/>
            </a:lvl1pPr>
          </a:lstStyle>
          <a:p>
            <a:r>
              <a:rPr lang="ja-JP" altLang="en-US"/>
              <a:t>図を追加</a:t>
            </a:r>
            <a:endParaRPr lang="en-US"/>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2690276"/>
            <a:ext cx="9144000" cy="18288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xmlns="" id="{B0ABF1D8-27C3-4FCE-AB62-F0B255246FBC}"/>
              </a:ext>
            </a:extLst>
          </p:cNvPr>
          <p:cNvSpPr/>
          <p:nvPr userDrawn="1"/>
        </p:nvSpPr>
        <p:spPr>
          <a:xfrm>
            <a:off x="6065522" y="1304"/>
            <a:ext cx="3078479"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4" name="Picture 13"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353014370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DS AZ Cover Slide_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998C743-1B41-4F28-913F-08C0E1FCA696}"/>
              </a:ext>
            </a:extLst>
          </p:cNvPr>
          <p:cNvSpPr/>
          <p:nvPr userDrawn="1"/>
        </p:nvSpPr>
        <p:spPr>
          <a:xfrm>
            <a:off x="0" y="2873157"/>
            <a:ext cx="9144000" cy="2302240"/>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itle 8"/>
          <p:cNvSpPr>
            <a:spLocks noGrp="1"/>
          </p:cNvSpPr>
          <p:nvPr>
            <p:ph type="title" hasCustomPrompt="1"/>
          </p:nvPr>
        </p:nvSpPr>
        <p:spPr>
          <a:xfrm>
            <a:off x="216002" y="1211336"/>
            <a:ext cx="6822759" cy="504000"/>
          </a:xfrm>
          <a:prstGeom prst="rect">
            <a:avLst/>
          </a:prstGeom>
        </p:spPr>
        <p:txBody>
          <a:bodyPr vert="horz"/>
          <a:lstStyle>
            <a:lvl1pPr algn="l">
              <a:lnSpc>
                <a:spcPct val="90000"/>
              </a:lnSpc>
              <a:defRPr sz="2800" b="1" baseline="0">
                <a:solidFill>
                  <a:schemeClr val="tx1"/>
                </a:solidFill>
                <a:latin typeface="Arial" pitchFamily="34" charset="0"/>
                <a:cs typeface="Arial" pitchFamily="34" charset="0"/>
              </a:defRPr>
            </a:lvl1pPr>
          </a:lstStyle>
          <a:p>
            <a:r>
              <a:rPr lang="en-GB" noProof="0"/>
              <a:t>Click to add presentation title</a:t>
            </a:r>
          </a:p>
        </p:txBody>
      </p:sp>
      <p:sp>
        <p:nvSpPr>
          <p:cNvPr id="10" name="Text Placeholder 29"/>
          <p:cNvSpPr>
            <a:spLocks noGrp="1"/>
          </p:cNvSpPr>
          <p:nvPr>
            <p:ph type="body" sz="quarter" idx="11" hasCustomPrompt="1"/>
          </p:nvPr>
        </p:nvSpPr>
        <p:spPr>
          <a:xfrm>
            <a:off x="215999" y="4554017"/>
            <a:ext cx="6480000" cy="190800"/>
          </a:xfrm>
          <a:prstGeom prst="rect">
            <a:avLst/>
          </a:prstGeom>
        </p:spPr>
        <p:txBody>
          <a:bodyPr vert="horz" anchor="b"/>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15999" y="4760267"/>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lick to add event title</a:t>
            </a:r>
          </a:p>
        </p:txBody>
      </p:sp>
      <p:sp>
        <p:nvSpPr>
          <p:cNvPr id="2" name="Rectangle 1">
            <a:extLst>
              <a:ext uri="{FF2B5EF4-FFF2-40B4-BE49-F238E27FC236}">
                <a16:creationId xmlns:a16="http://schemas.microsoft.com/office/drawing/2014/main" xmlns="" id="{E5045AD9-7DBC-43CB-8C5E-506EE81A645E}"/>
              </a:ext>
            </a:extLst>
          </p:cNvPr>
          <p:cNvSpPr/>
          <p:nvPr userDrawn="1"/>
        </p:nvSpPr>
        <p:spPr>
          <a:xfrm>
            <a:off x="6065522" y="1304"/>
            <a:ext cx="3078479"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2690276"/>
            <a:ext cx="9144000" cy="18288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 Placeholder 29">
            <a:extLst>
              <a:ext uri="{FF2B5EF4-FFF2-40B4-BE49-F238E27FC236}">
                <a16:creationId xmlns:a16="http://schemas.microsoft.com/office/drawing/2014/main" xmlns="" id="{68259949-663B-4EE0-9CC3-95A7DE56956A}"/>
              </a:ext>
            </a:extLst>
          </p:cNvPr>
          <p:cNvSpPr>
            <a:spLocks noGrp="1"/>
          </p:cNvSpPr>
          <p:nvPr>
            <p:ph type="body" sz="quarter" idx="15" hasCustomPrompt="1"/>
          </p:nvPr>
        </p:nvSpPr>
        <p:spPr>
          <a:xfrm>
            <a:off x="216001" y="2180815"/>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a:t>00 Month Year</a:t>
            </a:r>
          </a:p>
        </p:txBody>
      </p:sp>
      <p:sp>
        <p:nvSpPr>
          <p:cNvPr id="16" name="Text Placeholder 29">
            <a:extLst>
              <a:ext uri="{FF2B5EF4-FFF2-40B4-BE49-F238E27FC236}">
                <a16:creationId xmlns:a16="http://schemas.microsoft.com/office/drawing/2014/main" xmlns="" id="{BAA3AA96-C0F8-4E62-AB8A-A1C4135FA24E}"/>
              </a:ext>
            </a:extLst>
          </p:cNvPr>
          <p:cNvSpPr>
            <a:spLocks noGrp="1"/>
          </p:cNvSpPr>
          <p:nvPr>
            <p:ph type="body" sz="quarter" idx="13" hasCustomPrompt="1"/>
          </p:nvPr>
        </p:nvSpPr>
        <p:spPr>
          <a:xfrm>
            <a:off x="216001" y="2387065"/>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onfidential statement</a:t>
            </a:r>
          </a:p>
        </p:txBody>
      </p:sp>
      <p:pic>
        <p:nvPicPr>
          <p:cNvPr id="18" name="Picture 17"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312956838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S AZ Cover Slide_with Image_RIA Tez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861919"/>
            <a:ext cx="9144001" cy="2280276"/>
          </a:xfrm>
          <a:prstGeom prst="rect">
            <a:avLst/>
          </a:prstGeom>
        </p:spPr>
      </p:pic>
      <p:sp>
        <p:nvSpPr>
          <p:cNvPr id="9" name="Title 8"/>
          <p:cNvSpPr>
            <a:spLocks noGrp="1"/>
          </p:cNvSpPr>
          <p:nvPr>
            <p:ph type="title" hasCustomPrompt="1"/>
          </p:nvPr>
        </p:nvSpPr>
        <p:spPr>
          <a:xfrm>
            <a:off x="216002" y="1211336"/>
            <a:ext cx="6822759" cy="504000"/>
          </a:xfrm>
          <a:prstGeom prst="rect">
            <a:avLst/>
          </a:prstGeom>
        </p:spPr>
        <p:txBody>
          <a:bodyPr vert="horz"/>
          <a:lstStyle>
            <a:lvl1pPr algn="l">
              <a:lnSpc>
                <a:spcPct val="90000"/>
              </a:lnSpc>
              <a:defRPr sz="2800" b="1" baseline="0">
                <a:solidFill>
                  <a:schemeClr val="tx1"/>
                </a:solidFill>
                <a:latin typeface="Arial" pitchFamily="34" charset="0"/>
                <a:cs typeface="Arial" pitchFamily="34" charset="0"/>
              </a:defRPr>
            </a:lvl1pPr>
          </a:lstStyle>
          <a:p>
            <a:r>
              <a:rPr lang="en-GB" noProof="0"/>
              <a:t>Click to add presentation title</a:t>
            </a:r>
          </a:p>
        </p:txBody>
      </p:sp>
      <p:sp>
        <p:nvSpPr>
          <p:cNvPr id="23" name="Text Placeholder 29">
            <a:extLst>
              <a:ext uri="{FF2B5EF4-FFF2-40B4-BE49-F238E27FC236}">
                <a16:creationId xmlns:a16="http://schemas.microsoft.com/office/drawing/2014/main" xmlns="" id="{C46E52FB-F4BE-4304-AB0B-4EA19D8942CB}"/>
              </a:ext>
            </a:extLst>
          </p:cNvPr>
          <p:cNvSpPr>
            <a:spLocks noGrp="1"/>
          </p:cNvSpPr>
          <p:nvPr>
            <p:ph type="body" sz="quarter" idx="11" hasCustomPrompt="1"/>
          </p:nvPr>
        </p:nvSpPr>
        <p:spPr>
          <a:xfrm>
            <a:off x="215999" y="2180815"/>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a:t>Click to add speaker title</a:t>
            </a:r>
          </a:p>
        </p:txBody>
      </p:sp>
      <p:sp>
        <p:nvSpPr>
          <p:cNvPr id="24" name="Text Placeholder 29">
            <a:extLst>
              <a:ext uri="{FF2B5EF4-FFF2-40B4-BE49-F238E27FC236}">
                <a16:creationId xmlns:a16="http://schemas.microsoft.com/office/drawing/2014/main" xmlns="" id="{A04291AB-A2D2-475D-81F7-586F75828522}"/>
              </a:ext>
            </a:extLst>
          </p:cNvPr>
          <p:cNvSpPr>
            <a:spLocks noGrp="1"/>
          </p:cNvSpPr>
          <p:nvPr>
            <p:ph type="body" sz="quarter" idx="12" hasCustomPrompt="1"/>
          </p:nvPr>
        </p:nvSpPr>
        <p:spPr>
          <a:xfrm>
            <a:off x="215999" y="2387065"/>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lick to add event title</a:t>
            </a:r>
          </a:p>
        </p:txBody>
      </p:sp>
      <p:sp>
        <p:nvSpPr>
          <p:cNvPr id="25" name="Text Placeholder 29">
            <a:extLst>
              <a:ext uri="{FF2B5EF4-FFF2-40B4-BE49-F238E27FC236}">
                <a16:creationId xmlns:a16="http://schemas.microsoft.com/office/drawing/2014/main" xmlns="" id="{BF0B68C4-008D-4D58-906B-31A6CAFA3C8D}"/>
              </a:ext>
            </a:extLst>
          </p:cNvPr>
          <p:cNvSpPr>
            <a:spLocks noGrp="1"/>
          </p:cNvSpPr>
          <p:nvPr>
            <p:ph type="body" sz="quarter" idx="15" hasCustomPrompt="1"/>
          </p:nvPr>
        </p:nvSpPr>
        <p:spPr>
          <a:xfrm>
            <a:off x="7128000" y="2180815"/>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a:t>00 Month Year</a:t>
            </a:r>
          </a:p>
        </p:txBody>
      </p:sp>
      <p:sp>
        <p:nvSpPr>
          <p:cNvPr id="26" name="Text Placeholder 29">
            <a:extLst>
              <a:ext uri="{FF2B5EF4-FFF2-40B4-BE49-F238E27FC236}">
                <a16:creationId xmlns:a16="http://schemas.microsoft.com/office/drawing/2014/main" xmlns="" id="{F2ADC474-7F03-4AEC-84C0-20F83E60D0F3}"/>
              </a:ext>
            </a:extLst>
          </p:cNvPr>
          <p:cNvSpPr>
            <a:spLocks noGrp="1"/>
          </p:cNvSpPr>
          <p:nvPr>
            <p:ph type="body" sz="quarter" idx="13" hasCustomPrompt="1"/>
          </p:nvPr>
        </p:nvSpPr>
        <p:spPr>
          <a:xfrm>
            <a:off x="7128000" y="2387065"/>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onfidential statement</a:t>
            </a:r>
          </a:p>
        </p:txBody>
      </p:sp>
      <p:sp>
        <p:nvSpPr>
          <p:cNvPr id="27" name="Rectangle 26">
            <a:extLst>
              <a:ext uri="{FF2B5EF4-FFF2-40B4-BE49-F238E27FC236}">
                <a16:creationId xmlns:a16="http://schemas.microsoft.com/office/drawing/2014/main" xmlns="" id="{8683E9E4-CEB9-49BB-85E9-5A47AC9CDC6E}"/>
              </a:ext>
            </a:extLst>
          </p:cNvPr>
          <p:cNvSpPr/>
          <p:nvPr userDrawn="1"/>
        </p:nvSpPr>
        <p:spPr>
          <a:xfrm>
            <a:off x="0" y="2690276"/>
            <a:ext cx="9144000" cy="18288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xmlns="" id="{D3685537-4301-4F2C-8337-9D115D3DA386}"/>
              </a:ext>
            </a:extLst>
          </p:cNvPr>
          <p:cNvSpPr/>
          <p:nvPr userDrawn="1"/>
        </p:nvSpPr>
        <p:spPr>
          <a:xfrm>
            <a:off x="6065522" y="1304"/>
            <a:ext cx="3078479"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5" name="Picture 14" descr="DSI-AZ-hor-COLOR.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100049608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DS AZ Divider Slide_option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8B494F9C-51D7-4F7B-A1D3-D4A6CAEC4D4F}"/>
              </a:ext>
            </a:extLst>
          </p:cNvPr>
          <p:cNvSpPr/>
          <p:nvPr userDrawn="1"/>
        </p:nvSpPr>
        <p:spPr>
          <a:xfrm>
            <a:off x="0" y="0"/>
            <a:ext cx="4572000" cy="514350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xmlns="" id="{9F455802-C6CB-4528-A810-863C9B97482D}"/>
              </a:ext>
            </a:extLst>
          </p:cNvPr>
          <p:cNvSpPr/>
          <p:nvPr userDrawn="1"/>
        </p:nvSpPr>
        <p:spPr>
          <a:xfrm>
            <a:off x="0" y="1508760"/>
            <a:ext cx="7530360" cy="210312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1892458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DS AZ Divider Slide_option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8B494F9C-51D7-4F7B-A1D3-D4A6CAEC4D4F}"/>
              </a:ext>
            </a:extLst>
          </p:cNvPr>
          <p:cNvSpPr/>
          <p:nvPr userDrawn="1"/>
        </p:nvSpPr>
        <p:spPr>
          <a:xfrm>
            <a:off x="0" y="0"/>
            <a:ext cx="4572000" cy="514350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xmlns="" id="{9F455802-C6CB-4528-A810-863C9B97482D}"/>
              </a:ext>
            </a:extLst>
          </p:cNvPr>
          <p:cNvSpPr/>
          <p:nvPr userDrawn="1"/>
        </p:nvSpPr>
        <p:spPr>
          <a:xfrm>
            <a:off x="0" y="1508760"/>
            <a:ext cx="7530360" cy="210312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
        <p:nvSpPr>
          <p:cNvPr id="2" name="Slide Number Placeholder 1">
            <a:extLst>
              <a:ext uri="{FF2B5EF4-FFF2-40B4-BE49-F238E27FC236}">
                <a16:creationId xmlns:a16="http://schemas.microsoft.com/office/drawing/2014/main" xmlns="" id="{282857AD-776B-4C28-AC19-4C54AE45732E}"/>
              </a:ext>
            </a:extLst>
          </p:cNvPr>
          <p:cNvSpPr>
            <a:spLocks noGrp="1"/>
          </p:cNvSpPr>
          <p:nvPr>
            <p:ph type="sldNum" sz="quarter" idx="10"/>
          </p:nvPr>
        </p:nvSpPr>
        <p:spPr>
          <a:xfrm>
            <a:off x="8433675" y="4880611"/>
            <a:ext cx="396000" cy="151004"/>
          </a:xfrm>
          <a:prstGeom prst="rect">
            <a:avLst/>
          </a:prstGeom>
        </p:spPr>
        <p:txBody>
          <a:bodyPr/>
          <a:lstStyle/>
          <a:p>
            <a:pPr defTabSz="685800">
              <a:defRPr/>
            </a:pPr>
            <a:fld id="{3C4F54F3-C349-4609-AFEE-01462D5C7942}" type="slidenum">
              <a:rPr lang="en-GB" sz="1350" smtClean="0">
                <a:solidFill>
                  <a:srgbClr val="000000"/>
                </a:solidFill>
              </a:rPr>
              <a:pPr defTabSz="685800">
                <a:defRPr/>
              </a:pPr>
              <a:t>‹#›</a:t>
            </a:fld>
            <a:endParaRPr lang="en-GB" sz="1350">
              <a:solidFill>
                <a:srgbClr val="000000"/>
              </a:solidFill>
            </a:endParaRPr>
          </a:p>
        </p:txBody>
      </p:sp>
    </p:spTree>
    <p:extLst>
      <p:ext uri="{BB962C8B-B14F-4D97-AF65-F5344CB8AC3E}">
        <p14:creationId xmlns:p14="http://schemas.microsoft.com/office/powerpoint/2010/main" val="198795211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DS AZ Sub divider Slide_option 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xmlns="" id="{9F455802-C6CB-4528-A810-863C9B97482D}"/>
              </a:ext>
            </a:extLst>
          </p:cNvPr>
          <p:cNvSpPr/>
          <p:nvPr userDrawn="1"/>
        </p:nvSpPr>
        <p:spPr>
          <a:xfrm>
            <a:off x="0" y="3248457"/>
            <a:ext cx="7530360" cy="18288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Sub 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315085643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DS AZ Sub divider Slide_option 2">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xmlns="" id="{9F455802-C6CB-4528-A810-863C9B97482D}"/>
              </a:ext>
            </a:extLst>
          </p:cNvPr>
          <p:cNvSpPr/>
          <p:nvPr userDrawn="1"/>
        </p:nvSpPr>
        <p:spPr>
          <a:xfrm>
            <a:off x="0" y="3248457"/>
            <a:ext cx="7530360" cy="18288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Sub 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111642476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DS AZ_Title and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pPr defTabSz="685800">
              <a:defRPr/>
            </a:pPr>
            <a:endParaRPr lang="en-GB">
              <a:solidFill>
                <a:srgbClr val="3F4444"/>
              </a:solidFill>
            </a:endParaRPr>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10" name="Content Placeholder 9">
            <a:extLst>
              <a:ext uri="{FF2B5EF4-FFF2-40B4-BE49-F238E27FC236}">
                <a16:creationId xmlns:a16="http://schemas.microsoft.com/office/drawing/2014/main" xmlns="" id="{B3FB1982-363B-AB4A-9EB5-44272D4947B3}"/>
              </a:ext>
            </a:extLst>
          </p:cNvPr>
          <p:cNvSpPr>
            <a:spLocks noGrp="1"/>
          </p:cNvSpPr>
          <p:nvPr>
            <p:ph sz="quarter" idx="14"/>
          </p:nvPr>
        </p:nvSpPr>
        <p:spPr>
          <a:xfrm>
            <a:off x="304800" y="922714"/>
            <a:ext cx="8534400" cy="3433151"/>
          </a:xfrm>
          <a:prstGeom prst="rect">
            <a:avLst/>
          </a:prstGeom>
        </p:spPr>
        <p:txBody>
          <a:bodyPr lIns="0" rIns="0"/>
          <a:lstStyle>
            <a:lvl1pPr marL="342884" indent="-342884">
              <a:defRPr kumimoji="1" lang="en-US" sz="2000" kern="1200" dirty="0" smtClean="0">
                <a:solidFill>
                  <a:schemeClr val="tx2"/>
                </a:solidFill>
                <a:latin typeface="+mn-lt"/>
                <a:ea typeface="+mn-ea"/>
                <a:cs typeface="+mn-cs"/>
              </a:defRPr>
            </a:lvl1pPr>
            <a:lvl2pPr marL="685766" indent="-457178">
              <a:defRPr/>
            </a:lvl2pPr>
            <a:lvl3pPr marL="742913" indent="-285736">
              <a:defRPr kumimoji="1" lang="en-US" sz="1800" kern="1200" dirty="0" smtClean="0">
                <a:solidFill>
                  <a:schemeClr val="tx2"/>
                </a:solidFill>
                <a:latin typeface="+mn-lt"/>
                <a:ea typeface="+mn-ea"/>
                <a:cs typeface="+mn-cs"/>
              </a:defRPr>
            </a:lvl3pPr>
            <a:lvl4pPr marL="971502" indent="-285736">
              <a:defRPr kumimoji="1" lang="en-US" sz="1400" kern="1200" dirty="0" smtClean="0">
                <a:solidFill>
                  <a:schemeClr val="tx2"/>
                </a:solidFill>
                <a:latin typeface="+mn-lt"/>
                <a:ea typeface="+mn-ea"/>
                <a:cs typeface="+mn-cs"/>
              </a:defRPr>
            </a:lvl4pPr>
            <a:lvl5pPr>
              <a:defRPr kumimoji="1" lang="en-US" sz="1400" kern="1200" dirty="0" smtClean="0">
                <a:solidFill>
                  <a:schemeClr val="tx2"/>
                </a:solidFill>
                <a:latin typeface="+mn-lt"/>
                <a:ea typeface="+mn-ea"/>
                <a:cs typeface="+mn-cs"/>
              </a:defRPr>
            </a:lvl5pPr>
          </a:lstStyle>
          <a:p>
            <a:pPr marL="342884" lvl="0" indent="-342884" algn="l" defTabSz="457178" rtl="0" eaLnBrk="1" latinLnBrk="0" hangingPunct="1">
              <a:spcBef>
                <a:spcPct val="20000"/>
              </a:spcBef>
              <a:spcAft>
                <a:spcPts val="600"/>
              </a:spcAft>
              <a:buClr>
                <a:schemeClr val="accent3"/>
              </a:buClr>
              <a:buFont typeface="Arial" panose="020B0604020202020204" pitchFamily="34" charset="0"/>
              <a:buChar char="•"/>
            </a:pPr>
            <a:r>
              <a:rPr lang="en-US"/>
              <a:t>Click to edit Master text styles</a:t>
            </a:r>
          </a:p>
          <a:p>
            <a:pPr marL="457178" lvl="2"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Second level</a:t>
            </a:r>
          </a:p>
          <a:p>
            <a:pPr marL="685766" lvl="3"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Third level</a:t>
            </a:r>
          </a:p>
          <a:p>
            <a:pPr marL="914355" lvl="4"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Fourth level</a:t>
            </a:r>
          </a:p>
        </p:txBody>
      </p:sp>
      <p:sp>
        <p:nvSpPr>
          <p:cNvPr id="6" name="Text Placeholder 5">
            <a:extLst>
              <a:ext uri="{FF2B5EF4-FFF2-40B4-BE49-F238E27FC236}">
                <a16:creationId xmlns:a16="http://schemas.microsoft.com/office/drawing/2014/main" xmlns="" id="{3AE93CBC-F69F-0748-A4F6-0B2237F889B4}"/>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
        <p:nvSpPr>
          <p:cNvPr id="9" name="Rectangle 8">
            <a:extLst>
              <a:ext uri="{FF2B5EF4-FFF2-40B4-BE49-F238E27FC236}">
                <a16:creationId xmlns:a16="http://schemas.microsoft.com/office/drawing/2014/main" xmlns="" id="{AF2ECFD0-C56A-AB4B-8176-926D88CF2400}"/>
              </a:ext>
            </a:extLst>
          </p:cNvPr>
          <p:cNvSpPr/>
          <p:nvPr userDrawn="1"/>
        </p:nvSpPr>
        <p:spPr>
          <a:xfrm>
            <a:off x="7027576" y="4881890"/>
            <a:ext cx="2002471" cy="215444"/>
          </a:xfrm>
          <a:prstGeom prst="rect">
            <a:avLst/>
          </a:prstGeom>
        </p:spPr>
        <p:txBody>
          <a:bodyPr wrap="square">
            <a:spAutoFit/>
          </a:bodyPr>
          <a:lstStyle/>
          <a:p>
            <a:pPr algn="r" defTabSz="457189"/>
            <a:r>
              <a:rPr lang="en-US" sz="800">
                <a:solidFill>
                  <a:srgbClr val="000000"/>
                </a:solidFill>
                <a:latin typeface="Arial"/>
              </a:rPr>
              <a:t>For internal training use only</a:t>
            </a:r>
            <a:r>
              <a:rPr lang="en-US" sz="800">
                <a:solidFill>
                  <a:srgbClr val="000000"/>
                </a:solidFill>
                <a:latin typeface="Segoe UI" panose="020B0502040204020203" pitchFamily="34" charset="0"/>
              </a:rPr>
              <a:t>.</a:t>
            </a:r>
            <a:endParaRPr lang="en-GB" sz="800">
              <a:solidFill>
                <a:srgbClr val="000000"/>
              </a:solidFill>
              <a:latin typeface="Arial"/>
            </a:endParaRPr>
          </a:p>
        </p:txBody>
      </p:sp>
    </p:spTree>
    <p:extLst>
      <p:ext uri="{BB962C8B-B14F-4D97-AF65-F5344CB8AC3E}">
        <p14:creationId xmlns:p14="http://schemas.microsoft.com/office/powerpoint/2010/main" val="2453802862"/>
      </p:ext>
    </p:extLst>
  </p:cSld>
  <p:clrMapOvr>
    <a:masterClrMapping/>
  </p:clrMapOvr>
  <p:extLst>
    <p:ext uri="{DCECCB84-F9BA-43D5-87BE-67443E8EF086}">
      <p15:sldGuideLst xmlns:p15="http://schemas.microsoft.com/office/powerpoint/2012/main" xmlns="">
        <p15:guide id="1" orient="horz" pos="1007">
          <p15:clr>
            <a:srgbClr val="FBAE40"/>
          </p15:clr>
        </p15:guide>
        <p15:guide id="2" orient="horz" pos="3691">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_DS AZ_Title and Tex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xmlns="" id="{361B27C1-87E1-3641-AE3C-3D5D4A126ADF}"/>
              </a:ext>
            </a:extLst>
          </p:cNvPr>
          <p:cNvSpPr>
            <a:spLocks noGrp="1"/>
          </p:cNvSpPr>
          <p:nvPr>
            <p:ph sz="quarter" idx="14"/>
          </p:nvPr>
        </p:nvSpPr>
        <p:spPr>
          <a:xfrm>
            <a:off x="304800" y="1445840"/>
            <a:ext cx="8534400" cy="2910025"/>
          </a:xfrm>
          <a:prstGeom prst="rect">
            <a:avLst/>
          </a:prstGeom>
        </p:spPr>
        <p:txBody>
          <a:bodyPr lIns="0" rIns="0"/>
          <a:lstStyle>
            <a:lvl1pPr marL="342884" indent="-342884">
              <a:defRPr kumimoji="1" lang="en-US" sz="1600" kern="1200" dirty="0" smtClean="0">
                <a:solidFill>
                  <a:schemeClr val="tx2"/>
                </a:solidFill>
                <a:latin typeface="+mn-lt"/>
                <a:ea typeface="+mn-ea"/>
                <a:cs typeface="+mn-cs"/>
              </a:defRPr>
            </a:lvl1pPr>
            <a:lvl2pPr marL="685766" indent="-457178">
              <a:defRPr/>
            </a:lvl2pPr>
            <a:lvl3pPr marL="742913" indent="-285736">
              <a:defRPr kumimoji="1" lang="en-US" sz="1400" kern="1200" dirty="0" smtClean="0">
                <a:solidFill>
                  <a:schemeClr val="tx2"/>
                </a:solidFill>
                <a:latin typeface="+mn-lt"/>
                <a:ea typeface="+mn-ea"/>
                <a:cs typeface="+mn-cs"/>
              </a:defRPr>
            </a:lvl3pPr>
            <a:lvl4pPr marL="971502" indent="-285736">
              <a:defRPr kumimoji="1" lang="en-US" sz="1100" kern="1200" dirty="0" smtClean="0">
                <a:solidFill>
                  <a:schemeClr val="tx2"/>
                </a:solidFill>
                <a:latin typeface="+mn-lt"/>
                <a:ea typeface="+mn-ea"/>
                <a:cs typeface="+mn-cs"/>
              </a:defRPr>
            </a:lvl4pPr>
            <a:lvl5pPr>
              <a:defRPr kumimoji="1" lang="en-US" sz="1100" kern="1200" dirty="0" smtClean="0">
                <a:solidFill>
                  <a:schemeClr val="tx2"/>
                </a:solidFill>
                <a:latin typeface="+mn-lt"/>
                <a:ea typeface="+mn-ea"/>
                <a:cs typeface="+mn-cs"/>
              </a:defRPr>
            </a:lvl5pPr>
          </a:lstStyle>
          <a:p>
            <a:pPr marL="342884" lvl="0" indent="-342884" algn="l" defTabSz="457178" rtl="0" eaLnBrk="1" latinLnBrk="0" hangingPunct="1">
              <a:spcBef>
                <a:spcPct val="20000"/>
              </a:spcBef>
              <a:spcAft>
                <a:spcPts val="600"/>
              </a:spcAft>
              <a:buClr>
                <a:schemeClr val="accent3"/>
              </a:buClr>
              <a:buFont typeface="Arial" panose="020B0604020202020204" pitchFamily="34" charset="0"/>
              <a:buChar char="•"/>
            </a:pPr>
            <a:r>
              <a:rPr lang="en-US"/>
              <a:t>Click to edit Master text styles</a:t>
            </a:r>
          </a:p>
          <a:p>
            <a:pPr marL="457178" lvl="2"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Second level</a:t>
            </a:r>
          </a:p>
          <a:p>
            <a:pPr marL="685766" lvl="3"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Third level</a:t>
            </a:r>
          </a:p>
          <a:p>
            <a:pPr marL="914355" lvl="4"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Fourth level</a:t>
            </a:r>
          </a:p>
        </p:txBody>
      </p:sp>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pPr defTabSz="685800">
              <a:defRPr/>
            </a:pPr>
            <a:endParaRPr lang="en-GB">
              <a:solidFill>
                <a:srgbClr val="3F4444"/>
              </a:solidFill>
            </a:endParaRPr>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xmlns="" id="{C07DEA39-19CC-7F4C-A2DD-C08A6993CE94}"/>
              </a:ext>
            </a:extLst>
          </p:cNvPr>
          <p:cNvSpPr>
            <a:spLocks noGrp="1"/>
          </p:cNvSpPr>
          <p:nvPr>
            <p:ph type="body" sz="quarter" idx="13"/>
          </p:nvPr>
        </p:nvSpPr>
        <p:spPr>
          <a:xfrm>
            <a:off x="304802" y="900431"/>
            <a:ext cx="8534399" cy="476250"/>
          </a:xfrm>
          <a:prstGeom prst="rect">
            <a:avLst/>
          </a:prstGeom>
          <a:noFill/>
        </p:spPr>
        <p:txBody>
          <a:bodyPr vert="horz" lIns="0" anchor="t"/>
          <a:lstStyle>
            <a:lvl1pPr marL="0" indent="0">
              <a:buNone/>
              <a:defRPr lang="en-US" sz="1600" b="0" baseline="0" dirty="0" smtClean="0">
                <a:solidFill>
                  <a:schemeClr val="tx1">
                    <a:lumMod val="50000"/>
                    <a:lumOff val="50000"/>
                  </a:schemeClr>
                </a:solidFill>
                <a:latin typeface="Arial" pitchFamily="34" charset="0"/>
                <a:ea typeface="+mj-ea"/>
                <a:cs typeface="Arial" pitchFamily="34" charset="0"/>
              </a:defRPr>
            </a:lvl1pPr>
          </a:lstStyle>
          <a:p>
            <a:pPr marL="342884" lvl="0" indent="-342884">
              <a:spcBef>
                <a:spcPct val="0"/>
              </a:spcBef>
            </a:pPr>
            <a:r>
              <a:rPr lang="en-US"/>
              <a:t>Click to edit Master text styles</a:t>
            </a:r>
          </a:p>
        </p:txBody>
      </p:sp>
      <p:sp>
        <p:nvSpPr>
          <p:cNvPr id="12" name="Text Placeholder 5">
            <a:extLst>
              <a:ext uri="{FF2B5EF4-FFF2-40B4-BE49-F238E27FC236}">
                <a16:creationId xmlns:a16="http://schemas.microsoft.com/office/drawing/2014/main" xmlns="" id="{37724930-67A2-9240-AD7F-2E23804ADCCA}"/>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
        <p:nvSpPr>
          <p:cNvPr id="13" name="Rectangle 12">
            <a:extLst>
              <a:ext uri="{FF2B5EF4-FFF2-40B4-BE49-F238E27FC236}">
                <a16:creationId xmlns:a16="http://schemas.microsoft.com/office/drawing/2014/main" xmlns="" id="{AF2ECFD0-C56A-AB4B-8176-926D88CF2400}"/>
              </a:ext>
            </a:extLst>
          </p:cNvPr>
          <p:cNvSpPr/>
          <p:nvPr userDrawn="1"/>
        </p:nvSpPr>
        <p:spPr>
          <a:xfrm>
            <a:off x="7027576" y="4888817"/>
            <a:ext cx="2002471" cy="215444"/>
          </a:xfrm>
          <a:prstGeom prst="rect">
            <a:avLst/>
          </a:prstGeom>
        </p:spPr>
        <p:txBody>
          <a:bodyPr wrap="square">
            <a:spAutoFit/>
          </a:bodyPr>
          <a:lstStyle/>
          <a:p>
            <a:pPr algn="r" defTabSz="457189"/>
            <a:r>
              <a:rPr lang="en-US" sz="800">
                <a:solidFill>
                  <a:srgbClr val="000000"/>
                </a:solidFill>
                <a:latin typeface="Arial"/>
              </a:rPr>
              <a:t>For internal training use only</a:t>
            </a:r>
            <a:r>
              <a:rPr lang="en-US" sz="800">
                <a:solidFill>
                  <a:srgbClr val="000000"/>
                </a:solidFill>
                <a:latin typeface="Segoe UI" panose="020B0502040204020203" pitchFamily="34" charset="0"/>
              </a:rPr>
              <a:t>.</a:t>
            </a:r>
            <a:endParaRPr lang="en-GB" sz="800">
              <a:solidFill>
                <a:srgbClr val="000000"/>
              </a:solidFill>
              <a:latin typeface="Arial"/>
            </a:endParaRPr>
          </a:p>
        </p:txBody>
      </p:sp>
    </p:spTree>
    <p:extLst>
      <p:ext uri="{BB962C8B-B14F-4D97-AF65-F5344CB8AC3E}">
        <p14:creationId xmlns:p14="http://schemas.microsoft.com/office/powerpoint/2010/main" val="3599212423"/>
      </p:ext>
    </p:extLst>
  </p:cSld>
  <p:clrMapOvr>
    <a:masterClrMapping/>
  </p:clrMapOvr>
  <p:extLst>
    <p:ext uri="{DCECCB84-F9BA-43D5-87BE-67443E8EF086}">
      <p15:sldGuideLst xmlns:p15="http://schemas.microsoft.com/office/powerpoint/2012/main" xmlns="">
        <p15:guide id="1" orient="horz" pos="1407">
          <p15:clr>
            <a:srgbClr val="FBAE40"/>
          </p15:clr>
        </p15:guide>
        <p15:guide id="2" orient="horz" pos="947">
          <p15:clr>
            <a:srgbClr val="FBAE40"/>
          </p15:clr>
        </p15:guide>
        <p15:guide id="3" orient="horz" pos="369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8021337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3_DS AZ_Title and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pPr defTabSz="685800">
              <a:defRPr/>
            </a:pPr>
            <a:endParaRPr lang="en-GB">
              <a:solidFill>
                <a:srgbClr val="3F4444"/>
              </a:solidFill>
            </a:endParaRPr>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9" name="Text Placeholder 5">
            <a:extLst>
              <a:ext uri="{FF2B5EF4-FFF2-40B4-BE49-F238E27FC236}">
                <a16:creationId xmlns:a16="http://schemas.microsoft.com/office/drawing/2014/main" xmlns="" id="{D2939CFA-5B69-1A4E-81FF-174D69169028}"/>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
        <p:nvSpPr>
          <p:cNvPr id="8" name="Rectangle 7">
            <a:extLst>
              <a:ext uri="{FF2B5EF4-FFF2-40B4-BE49-F238E27FC236}">
                <a16:creationId xmlns:a16="http://schemas.microsoft.com/office/drawing/2014/main" xmlns="" id="{AF2ECFD0-C56A-AB4B-8176-926D88CF2400}"/>
              </a:ext>
            </a:extLst>
          </p:cNvPr>
          <p:cNvSpPr/>
          <p:nvPr userDrawn="1"/>
        </p:nvSpPr>
        <p:spPr>
          <a:xfrm>
            <a:off x="7027576" y="4881890"/>
            <a:ext cx="2002471" cy="215444"/>
          </a:xfrm>
          <a:prstGeom prst="rect">
            <a:avLst/>
          </a:prstGeom>
        </p:spPr>
        <p:txBody>
          <a:bodyPr wrap="square">
            <a:spAutoFit/>
          </a:bodyPr>
          <a:lstStyle/>
          <a:p>
            <a:pPr algn="r" defTabSz="457189"/>
            <a:r>
              <a:rPr lang="en-US" sz="800">
                <a:solidFill>
                  <a:srgbClr val="000000"/>
                </a:solidFill>
                <a:latin typeface="Arial"/>
              </a:rPr>
              <a:t>For internal training use only</a:t>
            </a:r>
            <a:r>
              <a:rPr lang="en-US" sz="800">
                <a:solidFill>
                  <a:srgbClr val="000000"/>
                </a:solidFill>
                <a:latin typeface="Segoe UI" panose="020B0502040204020203" pitchFamily="34" charset="0"/>
              </a:rPr>
              <a:t>.</a:t>
            </a:r>
            <a:endParaRPr lang="en-GB" sz="800">
              <a:solidFill>
                <a:srgbClr val="000000"/>
              </a:solidFill>
              <a:latin typeface="Arial"/>
            </a:endParaRPr>
          </a:p>
        </p:txBody>
      </p:sp>
    </p:spTree>
    <p:extLst>
      <p:ext uri="{BB962C8B-B14F-4D97-AF65-F5344CB8AC3E}">
        <p14:creationId xmlns:p14="http://schemas.microsoft.com/office/powerpoint/2010/main" val="1984353755"/>
      </p:ext>
    </p:extLst>
  </p:cSld>
  <p:clrMapOvr>
    <a:masterClrMapping/>
  </p:clrMapOvr>
  <p:extLst>
    <p:ext uri="{DCECCB84-F9BA-43D5-87BE-67443E8EF086}">
      <p15:sldGuideLst xmlns:p15="http://schemas.microsoft.com/office/powerpoint/2012/main" xmlns="">
        <p15:guide id="1" orient="horz" pos="3696">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5_DS AZ_Title and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pPr defTabSz="685800">
              <a:defRPr/>
            </a:pPr>
            <a:endParaRPr lang="en-GB">
              <a:solidFill>
                <a:srgbClr val="3F4444"/>
              </a:solidFill>
            </a:endParaRPr>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xmlns="" id="{C07DEA39-19CC-7F4C-A2DD-C08A6993CE94}"/>
              </a:ext>
            </a:extLst>
          </p:cNvPr>
          <p:cNvSpPr>
            <a:spLocks noGrp="1"/>
          </p:cNvSpPr>
          <p:nvPr>
            <p:ph type="body" sz="quarter" idx="13"/>
          </p:nvPr>
        </p:nvSpPr>
        <p:spPr>
          <a:xfrm>
            <a:off x="304802" y="900431"/>
            <a:ext cx="8585201" cy="476250"/>
          </a:xfrm>
          <a:prstGeom prst="rect">
            <a:avLst/>
          </a:prstGeom>
          <a:noFill/>
        </p:spPr>
        <p:txBody>
          <a:bodyPr vert="horz" lIns="0" anchor="t"/>
          <a:lstStyle>
            <a:lvl1pPr marL="0" indent="0">
              <a:buNone/>
              <a:defRPr lang="en-US" sz="1600" b="0" baseline="0" dirty="0" smtClean="0">
                <a:solidFill>
                  <a:schemeClr val="tx1">
                    <a:lumMod val="50000"/>
                    <a:lumOff val="50000"/>
                  </a:schemeClr>
                </a:solidFill>
                <a:latin typeface="Arial" pitchFamily="34" charset="0"/>
                <a:ea typeface="+mj-ea"/>
                <a:cs typeface="Arial" pitchFamily="34" charset="0"/>
              </a:defRPr>
            </a:lvl1pPr>
          </a:lstStyle>
          <a:p>
            <a:pPr marL="342884" lvl="0" indent="-342884">
              <a:spcBef>
                <a:spcPct val="0"/>
              </a:spcBef>
            </a:pPr>
            <a:r>
              <a:rPr lang="en-US"/>
              <a:t>Click to edit Master text styles</a:t>
            </a:r>
          </a:p>
        </p:txBody>
      </p:sp>
      <p:sp>
        <p:nvSpPr>
          <p:cNvPr id="9" name="Text Placeholder 5">
            <a:extLst>
              <a:ext uri="{FF2B5EF4-FFF2-40B4-BE49-F238E27FC236}">
                <a16:creationId xmlns:a16="http://schemas.microsoft.com/office/drawing/2014/main" xmlns="" id="{D310C113-4C59-E248-9691-4D9AF8F3A23B}"/>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
        <p:nvSpPr>
          <p:cNvPr id="10" name="Rectangle 9">
            <a:extLst>
              <a:ext uri="{FF2B5EF4-FFF2-40B4-BE49-F238E27FC236}">
                <a16:creationId xmlns:a16="http://schemas.microsoft.com/office/drawing/2014/main" xmlns="" id="{AF2ECFD0-C56A-AB4B-8176-926D88CF2400}"/>
              </a:ext>
            </a:extLst>
          </p:cNvPr>
          <p:cNvSpPr/>
          <p:nvPr userDrawn="1"/>
        </p:nvSpPr>
        <p:spPr>
          <a:xfrm>
            <a:off x="7027576" y="4881890"/>
            <a:ext cx="2002471" cy="215444"/>
          </a:xfrm>
          <a:prstGeom prst="rect">
            <a:avLst/>
          </a:prstGeom>
        </p:spPr>
        <p:txBody>
          <a:bodyPr wrap="square">
            <a:spAutoFit/>
          </a:bodyPr>
          <a:lstStyle/>
          <a:p>
            <a:pPr algn="r" defTabSz="457189"/>
            <a:r>
              <a:rPr lang="en-US" sz="800">
                <a:solidFill>
                  <a:srgbClr val="000000"/>
                </a:solidFill>
                <a:latin typeface="Arial"/>
              </a:rPr>
              <a:t>For internal training use only</a:t>
            </a:r>
            <a:r>
              <a:rPr lang="en-US" sz="800">
                <a:solidFill>
                  <a:srgbClr val="000000"/>
                </a:solidFill>
                <a:latin typeface="Segoe UI" panose="020B0502040204020203" pitchFamily="34" charset="0"/>
              </a:rPr>
              <a:t>.</a:t>
            </a:r>
            <a:endParaRPr lang="en-GB" sz="800">
              <a:solidFill>
                <a:srgbClr val="000000"/>
              </a:solidFill>
              <a:latin typeface="Arial"/>
            </a:endParaRPr>
          </a:p>
        </p:txBody>
      </p:sp>
    </p:spTree>
    <p:extLst>
      <p:ext uri="{BB962C8B-B14F-4D97-AF65-F5344CB8AC3E}">
        <p14:creationId xmlns:p14="http://schemas.microsoft.com/office/powerpoint/2010/main" val="3538261976"/>
      </p:ext>
    </p:extLst>
  </p:cSld>
  <p:clrMapOvr>
    <a:masterClrMapping/>
  </p:clrMapOvr>
  <p:extLst>
    <p:ext uri="{DCECCB84-F9BA-43D5-87BE-67443E8EF086}">
      <p15:sldGuideLst xmlns:p15="http://schemas.microsoft.com/office/powerpoint/2012/main" xmlns="">
        <p15:guide id="1" orient="horz" pos="952">
          <p15:clr>
            <a:srgbClr val="FBAE40"/>
          </p15:clr>
        </p15:guide>
        <p15:guide id="2" orient="horz" pos="3691">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6_DS AZ_Title and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pPr defTabSz="685800">
              <a:defRPr/>
            </a:pPr>
            <a:endParaRPr lang="en-GB">
              <a:solidFill>
                <a:srgbClr val="3F4444"/>
              </a:solidFill>
            </a:endParaRPr>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xmlns="" id="{C07DEA39-19CC-7F4C-A2DD-C08A6993CE94}"/>
              </a:ext>
            </a:extLst>
          </p:cNvPr>
          <p:cNvSpPr>
            <a:spLocks noGrp="1"/>
          </p:cNvSpPr>
          <p:nvPr>
            <p:ph type="body" sz="quarter" idx="13"/>
          </p:nvPr>
        </p:nvSpPr>
        <p:spPr>
          <a:xfrm>
            <a:off x="304802" y="900431"/>
            <a:ext cx="8585201" cy="476250"/>
          </a:xfrm>
          <a:prstGeom prst="rect">
            <a:avLst/>
          </a:prstGeom>
          <a:noFill/>
        </p:spPr>
        <p:txBody>
          <a:bodyPr vert="horz" lIns="0" anchor="t"/>
          <a:lstStyle>
            <a:lvl1pPr marL="0" indent="0">
              <a:buNone/>
              <a:defRPr lang="en-US" sz="1600" b="0" baseline="0" dirty="0" smtClean="0">
                <a:solidFill>
                  <a:schemeClr val="tx1">
                    <a:lumMod val="50000"/>
                    <a:lumOff val="50000"/>
                  </a:schemeClr>
                </a:solidFill>
                <a:latin typeface="Arial" pitchFamily="34" charset="0"/>
                <a:ea typeface="+mj-ea"/>
                <a:cs typeface="Arial" pitchFamily="34" charset="0"/>
              </a:defRPr>
            </a:lvl1pPr>
          </a:lstStyle>
          <a:p>
            <a:pPr marL="342884" lvl="0" indent="-342884">
              <a:spcBef>
                <a:spcPct val="0"/>
              </a:spcBef>
            </a:pPr>
            <a:r>
              <a:rPr lang="en-US"/>
              <a:t>Click to edit Master text styles</a:t>
            </a:r>
          </a:p>
        </p:txBody>
      </p:sp>
      <p:sp>
        <p:nvSpPr>
          <p:cNvPr id="9" name="Text Placeholder 5">
            <a:extLst>
              <a:ext uri="{FF2B5EF4-FFF2-40B4-BE49-F238E27FC236}">
                <a16:creationId xmlns:a16="http://schemas.microsoft.com/office/drawing/2014/main" xmlns="" id="{D310C113-4C59-E248-9691-4D9AF8F3A23B}"/>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
        <p:nvSpPr>
          <p:cNvPr id="10" name="Rectangle 9">
            <a:extLst>
              <a:ext uri="{FF2B5EF4-FFF2-40B4-BE49-F238E27FC236}">
                <a16:creationId xmlns:a16="http://schemas.microsoft.com/office/drawing/2014/main" xmlns="" id="{AF2ECFD0-C56A-AB4B-8176-926D88CF2400}"/>
              </a:ext>
            </a:extLst>
          </p:cNvPr>
          <p:cNvSpPr/>
          <p:nvPr userDrawn="1"/>
        </p:nvSpPr>
        <p:spPr>
          <a:xfrm>
            <a:off x="7027576" y="4881890"/>
            <a:ext cx="2002471" cy="215444"/>
          </a:xfrm>
          <a:prstGeom prst="rect">
            <a:avLst/>
          </a:prstGeom>
        </p:spPr>
        <p:txBody>
          <a:bodyPr wrap="square">
            <a:spAutoFit/>
          </a:bodyPr>
          <a:lstStyle/>
          <a:p>
            <a:pPr algn="r" defTabSz="457189"/>
            <a:r>
              <a:rPr lang="en-US" sz="800">
                <a:solidFill>
                  <a:srgbClr val="000000"/>
                </a:solidFill>
                <a:latin typeface="Arial"/>
              </a:rPr>
              <a:t>For internal training use only</a:t>
            </a:r>
            <a:r>
              <a:rPr lang="en-US" sz="800">
                <a:solidFill>
                  <a:srgbClr val="000000"/>
                </a:solidFill>
                <a:latin typeface="Segoe UI" panose="020B0502040204020203" pitchFamily="34" charset="0"/>
              </a:rPr>
              <a:t>.</a:t>
            </a:r>
            <a:endParaRPr lang="en-GB" sz="800">
              <a:solidFill>
                <a:srgbClr val="000000"/>
              </a:solidFill>
              <a:latin typeface="Arial"/>
            </a:endParaRPr>
          </a:p>
        </p:txBody>
      </p:sp>
    </p:spTree>
    <p:extLst>
      <p:ext uri="{BB962C8B-B14F-4D97-AF65-F5344CB8AC3E}">
        <p14:creationId xmlns:p14="http://schemas.microsoft.com/office/powerpoint/2010/main" val="1330468764"/>
      </p:ext>
    </p:extLst>
  </p:cSld>
  <p:clrMapOvr>
    <a:masterClrMapping/>
  </p:clrMapOvr>
  <p:extLst>
    <p:ext uri="{DCECCB84-F9BA-43D5-87BE-67443E8EF086}">
      <p15:sldGuideLst xmlns:p15="http://schemas.microsoft.com/office/powerpoint/2012/main" xmlns="">
        <p15:guide id="1" orient="horz" pos="952">
          <p15:clr>
            <a:srgbClr val="FBAE40"/>
          </p15:clr>
        </p15:guide>
        <p15:guide id="2" orient="horz" pos="3691">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25F22726-1D46-45B2-8F61-E2A935DB7171}" type="datetimeFigureOut">
              <a:rPr lang="en-GB" smtClean="0"/>
              <a:t>29/06/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D715555-A7B1-4C8D-9209-BB225399AED0}" type="slidenum">
              <a:rPr lang="en-GB" smtClean="0"/>
              <a:t>‹#›</a:t>
            </a:fld>
            <a:endParaRPr lang="en-GB"/>
          </a:p>
        </p:txBody>
      </p:sp>
    </p:spTree>
    <p:extLst>
      <p:ext uri="{BB962C8B-B14F-4D97-AF65-F5344CB8AC3E}">
        <p14:creationId xmlns:p14="http://schemas.microsoft.com/office/powerpoint/2010/main" val="138259669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_DS AZ Cover Slide_with Image">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2" y="1211336"/>
            <a:ext cx="6822759" cy="504000"/>
          </a:xfrm>
          <a:prstGeom prst="rect">
            <a:avLst/>
          </a:prstGeom>
        </p:spPr>
        <p:txBody>
          <a:bodyPr vert="horz"/>
          <a:lstStyle>
            <a:lvl1pPr algn="l">
              <a:lnSpc>
                <a:spcPct val="90000"/>
              </a:lnSpc>
              <a:defRPr sz="2800" b="1" baseline="0">
                <a:solidFill>
                  <a:schemeClr val="tx1"/>
                </a:solidFill>
                <a:latin typeface="Arial" pitchFamily="34" charset="0"/>
                <a:cs typeface="Arial" pitchFamily="34" charset="0"/>
              </a:defRPr>
            </a:lvl1pPr>
          </a:lstStyle>
          <a:p>
            <a:r>
              <a:rPr lang="en-GB" noProof="0"/>
              <a:t>Click to add presentation title</a:t>
            </a:r>
          </a:p>
        </p:txBody>
      </p:sp>
      <p:sp>
        <p:nvSpPr>
          <p:cNvPr id="10" name="Text Placeholder 29"/>
          <p:cNvSpPr>
            <a:spLocks noGrp="1"/>
          </p:cNvSpPr>
          <p:nvPr>
            <p:ph type="body" sz="quarter" idx="11" hasCustomPrompt="1"/>
          </p:nvPr>
        </p:nvSpPr>
        <p:spPr>
          <a:xfrm>
            <a:off x="215999" y="2180815"/>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15999" y="2387065"/>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7128000" y="2180815"/>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a:t>00 Month Year</a:t>
            </a:r>
          </a:p>
        </p:txBody>
      </p:sp>
      <p:sp>
        <p:nvSpPr>
          <p:cNvPr id="13" name="Text Placeholder 29"/>
          <p:cNvSpPr>
            <a:spLocks noGrp="1"/>
          </p:cNvSpPr>
          <p:nvPr>
            <p:ph type="body" sz="quarter" idx="13" hasCustomPrompt="1"/>
          </p:nvPr>
        </p:nvSpPr>
        <p:spPr>
          <a:xfrm>
            <a:off x="7128000" y="2387065"/>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onfidential statement</a:t>
            </a:r>
          </a:p>
        </p:txBody>
      </p:sp>
      <p:sp>
        <p:nvSpPr>
          <p:cNvPr id="17" name="Picture Placeholder 16">
            <a:extLst>
              <a:ext uri="{FF2B5EF4-FFF2-40B4-BE49-F238E27FC236}">
                <a16:creationId xmlns:a16="http://schemas.microsoft.com/office/drawing/2014/main" xmlns="" id="{4C30F799-6730-4DCD-BE22-7CAD6970BA4A}"/>
              </a:ext>
            </a:extLst>
          </p:cNvPr>
          <p:cNvSpPr>
            <a:spLocks noGrp="1"/>
          </p:cNvSpPr>
          <p:nvPr>
            <p:ph type="pic" sz="quarter" idx="16"/>
          </p:nvPr>
        </p:nvSpPr>
        <p:spPr>
          <a:xfrm>
            <a:off x="0" y="2876550"/>
            <a:ext cx="9144000" cy="2266950"/>
          </a:xfrm>
          <a:prstGeom prst="rect">
            <a:avLst/>
          </a:prstGeom>
        </p:spPr>
        <p:txBody>
          <a:bodyPr/>
          <a:lstStyle>
            <a:lvl1pPr marL="0" indent="0">
              <a:buNone/>
              <a:defRPr sz="2800"/>
            </a:lvl1pPr>
          </a:lstStyle>
          <a:p>
            <a:r>
              <a:rPr lang="ja-JP" altLang="en-US"/>
              <a:t>図を追加</a:t>
            </a:r>
            <a:endParaRPr lang="en-US"/>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2690276"/>
            <a:ext cx="9144000" cy="18288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ectangle 19">
            <a:extLst>
              <a:ext uri="{FF2B5EF4-FFF2-40B4-BE49-F238E27FC236}">
                <a16:creationId xmlns:a16="http://schemas.microsoft.com/office/drawing/2014/main" xmlns="" id="{B0ABF1D8-27C3-4FCE-AB62-F0B255246FBC}"/>
              </a:ext>
            </a:extLst>
          </p:cNvPr>
          <p:cNvSpPr/>
          <p:nvPr userDrawn="1"/>
        </p:nvSpPr>
        <p:spPr>
          <a:xfrm>
            <a:off x="6065522" y="1304"/>
            <a:ext cx="3078479"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175134664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3_DS AZ Cover Slide_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998C743-1B41-4F28-913F-08C0E1FCA696}"/>
              </a:ext>
            </a:extLst>
          </p:cNvPr>
          <p:cNvSpPr/>
          <p:nvPr userDrawn="1"/>
        </p:nvSpPr>
        <p:spPr>
          <a:xfrm>
            <a:off x="0" y="2873157"/>
            <a:ext cx="9144000" cy="2302240"/>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9" name="Title 8"/>
          <p:cNvSpPr>
            <a:spLocks noGrp="1"/>
          </p:cNvSpPr>
          <p:nvPr>
            <p:ph type="title" hasCustomPrompt="1"/>
          </p:nvPr>
        </p:nvSpPr>
        <p:spPr>
          <a:xfrm>
            <a:off x="216002" y="1211336"/>
            <a:ext cx="6822759" cy="504000"/>
          </a:xfrm>
          <a:prstGeom prst="rect">
            <a:avLst/>
          </a:prstGeom>
        </p:spPr>
        <p:txBody>
          <a:bodyPr vert="horz"/>
          <a:lstStyle>
            <a:lvl1pPr algn="l">
              <a:lnSpc>
                <a:spcPct val="90000"/>
              </a:lnSpc>
              <a:defRPr sz="2800" b="1" baseline="0">
                <a:solidFill>
                  <a:schemeClr val="tx1"/>
                </a:solidFill>
                <a:latin typeface="Arial" pitchFamily="34" charset="0"/>
                <a:cs typeface="Arial" pitchFamily="34" charset="0"/>
              </a:defRPr>
            </a:lvl1pPr>
          </a:lstStyle>
          <a:p>
            <a:r>
              <a:rPr lang="en-GB" noProof="0"/>
              <a:t>Click to add presentation title</a:t>
            </a:r>
          </a:p>
        </p:txBody>
      </p:sp>
      <p:sp>
        <p:nvSpPr>
          <p:cNvPr id="10" name="Text Placeholder 29"/>
          <p:cNvSpPr>
            <a:spLocks noGrp="1"/>
          </p:cNvSpPr>
          <p:nvPr>
            <p:ph type="body" sz="quarter" idx="11" hasCustomPrompt="1"/>
          </p:nvPr>
        </p:nvSpPr>
        <p:spPr>
          <a:xfrm>
            <a:off x="215999" y="4554017"/>
            <a:ext cx="6480000" cy="190800"/>
          </a:xfrm>
          <a:prstGeom prst="rect">
            <a:avLst/>
          </a:prstGeom>
        </p:spPr>
        <p:txBody>
          <a:bodyPr vert="horz" anchor="b"/>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15999" y="4760267"/>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lick to add event title</a:t>
            </a:r>
          </a:p>
        </p:txBody>
      </p:sp>
      <p:sp>
        <p:nvSpPr>
          <p:cNvPr id="2" name="Rectangle 1">
            <a:extLst>
              <a:ext uri="{FF2B5EF4-FFF2-40B4-BE49-F238E27FC236}">
                <a16:creationId xmlns:a16="http://schemas.microsoft.com/office/drawing/2014/main" xmlns="" id="{E5045AD9-7DBC-43CB-8C5E-506EE81A645E}"/>
              </a:ext>
            </a:extLst>
          </p:cNvPr>
          <p:cNvSpPr/>
          <p:nvPr userDrawn="1"/>
        </p:nvSpPr>
        <p:spPr>
          <a:xfrm>
            <a:off x="6065522" y="1304"/>
            <a:ext cx="3078479"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2690276"/>
            <a:ext cx="9144000" cy="18288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Text Placeholder 29">
            <a:extLst>
              <a:ext uri="{FF2B5EF4-FFF2-40B4-BE49-F238E27FC236}">
                <a16:creationId xmlns:a16="http://schemas.microsoft.com/office/drawing/2014/main" xmlns="" id="{68259949-663B-4EE0-9CC3-95A7DE56956A}"/>
              </a:ext>
            </a:extLst>
          </p:cNvPr>
          <p:cNvSpPr>
            <a:spLocks noGrp="1"/>
          </p:cNvSpPr>
          <p:nvPr>
            <p:ph type="body" sz="quarter" idx="15" hasCustomPrompt="1"/>
          </p:nvPr>
        </p:nvSpPr>
        <p:spPr>
          <a:xfrm>
            <a:off x="216001" y="2180815"/>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a:t>00 Month Year</a:t>
            </a:r>
          </a:p>
        </p:txBody>
      </p:sp>
      <p:sp>
        <p:nvSpPr>
          <p:cNvPr id="16" name="Text Placeholder 29">
            <a:extLst>
              <a:ext uri="{FF2B5EF4-FFF2-40B4-BE49-F238E27FC236}">
                <a16:creationId xmlns:a16="http://schemas.microsoft.com/office/drawing/2014/main" xmlns="" id="{BAA3AA96-C0F8-4E62-AB8A-A1C4135FA24E}"/>
              </a:ext>
            </a:extLst>
          </p:cNvPr>
          <p:cNvSpPr>
            <a:spLocks noGrp="1"/>
          </p:cNvSpPr>
          <p:nvPr>
            <p:ph type="body" sz="quarter" idx="13" hasCustomPrompt="1"/>
          </p:nvPr>
        </p:nvSpPr>
        <p:spPr>
          <a:xfrm>
            <a:off x="216001" y="2387065"/>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onfidential statement</a:t>
            </a:r>
          </a:p>
        </p:txBody>
      </p:sp>
      <p:pic>
        <p:nvPicPr>
          <p:cNvPr id="18" name="Picture 17"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19497347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S AZ Cover Slide_with Image_RIA Tez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861919"/>
            <a:ext cx="9144001" cy="2280276"/>
          </a:xfrm>
          <a:prstGeom prst="rect">
            <a:avLst/>
          </a:prstGeom>
        </p:spPr>
      </p:pic>
      <p:sp>
        <p:nvSpPr>
          <p:cNvPr id="9" name="Title 8"/>
          <p:cNvSpPr>
            <a:spLocks noGrp="1"/>
          </p:cNvSpPr>
          <p:nvPr>
            <p:ph type="title" hasCustomPrompt="1"/>
          </p:nvPr>
        </p:nvSpPr>
        <p:spPr>
          <a:xfrm>
            <a:off x="216002" y="1211336"/>
            <a:ext cx="6822759" cy="504000"/>
          </a:xfrm>
          <a:prstGeom prst="rect">
            <a:avLst/>
          </a:prstGeom>
        </p:spPr>
        <p:txBody>
          <a:bodyPr vert="horz"/>
          <a:lstStyle>
            <a:lvl1pPr algn="l">
              <a:lnSpc>
                <a:spcPct val="90000"/>
              </a:lnSpc>
              <a:defRPr sz="2800" b="1" baseline="0">
                <a:solidFill>
                  <a:schemeClr val="tx1"/>
                </a:solidFill>
                <a:latin typeface="Arial" pitchFamily="34" charset="0"/>
                <a:cs typeface="Arial" pitchFamily="34" charset="0"/>
              </a:defRPr>
            </a:lvl1pPr>
          </a:lstStyle>
          <a:p>
            <a:r>
              <a:rPr lang="en-GB" noProof="0"/>
              <a:t>Click to add presentation title</a:t>
            </a:r>
          </a:p>
        </p:txBody>
      </p:sp>
      <p:sp>
        <p:nvSpPr>
          <p:cNvPr id="23" name="Text Placeholder 29">
            <a:extLst>
              <a:ext uri="{FF2B5EF4-FFF2-40B4-BE49-F238E27FC236}">
                <a16:creationId xmlns:a16="http://schemas.microsoft.com/office/drawing/2014/main" xmlns="" id="{C46E52FB-F4BE-4304-AB0B-4EA19D8942CB}"/>
              </a:ext>
            </a:extLst>
          </p:cNvPr>
          <p:cNvSpPr>
            <a:spLocks noGrp="1"/>
          </p:cNvSpPr>
          <p:nvPr>
            <p:ph type="body" sz="quarter" idx="11" hasCustomPrompt="1"/>
          </p:nvPr>
        </p:nvSpPr>
        <p:spPr>
          <a:xfrm>
            <a:off x="215999" y="2180815"/>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a:t>Click to add speaker title</a:t>
            </a:r>
          </a:p>
        </p:txBody>
      </p:sp>
      <p:sp>
        <p:nvSpPr>
          <p:cNvPr id="24" name="Text Placeholder 29">
            <a:extLst>
              <a:ext uri="{FF2B5EF4-FFF2-40B4-BE49-F238E27FC236}">
                <a16:creationId xmlns:a16="http://schemas.microsoft.com/office/drawing/2014/main" xmlns="" id="{A04291AB-A2D2-475D-81F7-586F75828522}"/>
              </a:ext>
            </a:extLst>
          </p:cNvPr>
          <p:cNvSpPr>
            <a:spLocks noGrp="1"/>
          </p:cNvSpPr>
          <p:nvPr>
            <p:ph type="body" sz="quarter" idx="12" hasCustomPrompt="1"/>
          </p:nvPr>
        </p:nvSpPr>
        <p:spPr>
          <a:xfrm>
            <a:off x="215999" y="2387065"/>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lick to add event title</a:t>
            </a:r>
          </a:p>
        </p:txBody>
      </p:sp>
      <p:sp>
        <p:nvSpPr>
          <p:cNvPr id="25" name="Text Placeholder 29">
            <a:extLst>
              <a:ext uri="{FF2B5EF4-FFF2-40B4-BE49-F238E27FC236}">
                <a16:creationId xmlns:a16="http://schemas.microsoft.com/office/drawing/2014/main" xmlns="" id="{BF0B68C4-008D-4D58-906B-31A6CAFA3C8D}"/>
              </a:ext>
            </a:extLst>
          </p:cNvPr>
          <p:cNvSpPr>
            <a:spLocks noGrp="1"/>
          </p:cNvSpPr>
          <p:nvPr>
            <p:ph type="body" sz="quarter" idx="15" hasCustomPrompt="1"/>
          </p:nvPr>
        </p:nvSpPr>
        <p:spPr>
          <a:xfrm>
            <a:off x="7128000" y="2180815"/>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a:t>00 Month Year</a:t>
            </a:r>
          </a:p>
        </p:txBody>
      </p:sp>
      <p:sp>
        <p:nvSpPr>
          <p:cNvPr id="26" name="Text Placeholder 29">
            <a:extLst>
              <a:ext uri="{FF2B5EF4-FFF2-40B4-BE49-F238E27FC236}">
                <a16:creationId xmlns:a16="http://schemas.microsoft.com/office/drawing/2014/main" xmlns="" id="{F2ADC474-7F03-4AEC-84C0-20F83E60D0F3}"/>
              </a:ext>
            </a:extLst>
          </p:cNvPr>
          <p:cNvSpPr>
            <a:spLocks noGrp="1"/>
          </p:cNvSpPr>
          <p:nvPr>
            <p:ph type="body" sz="quarter" idx="13" hasCustomPrompt="1"/>
          </p:nvPr>
        </p:nvSpPr>
        <p:spPr>
          <a:xfrm>
            <a:off x="7128000" y="2387065"/>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a:t>Confidential statement</a:t>
            </a:r>
          </a:p>
        </p:txBody>
      </p:sp>
      <p:sp>
        <p:nvSpPr>
          <p:cNvPr id="27" name="Rectangle 26">
            <a:extLst>
              <a:ext uri="{FF2B5EF4-FFF2-40B4-BE49-F238E27FC236}">
                <a16:creationId xmlns:a16="http://schemas.microsoft.com/office/drawing/2014/main" xmlns="" id="{8683E9E4-CEB9-49BB-85E9-5A47AC9CDC6E}"/>
              </a:ext>
            </a:extLst>
          </p:cNvPr>
          <p:cNvSpPr/>
          <p:nvPr userDrawn="1"/>
        </p:nvSpPr>
        <p:spPr>
          <a:xfrm>
            <a:off x="0" y="2690276"/>
            <a:ext cx="9144000" cy="18288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2" name="Rectangle 31">
            <a:extLst>
              <a:ext uri="{FF2B5EF4-FFF2-40B4-BE49-F238E27FC236}">
                <a16:creationId xmlns:a16="http://schemas.microsoft.com/office/drawing/2014/main" xmlns="" id="{D3685537-4301-4F2C-8337-9D115D3DA386}"/>
              </a:ext>
            </a:extLst>
          </p:cNvPr>
          <p:cNvSpPr/>
          <p:nvPr userDrawn="1"/>
        </p:nvSpPr>
        <p:spPr>
          <a:xfrm>
            <a:off x="6065522" y="1304"/>
            <a:ext cx="3078479"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5" name="Picture 14" descr="DSI-AZ-hor-COLOR.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261390687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DS AZ Divider Slide_option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8B494F9C-51D7-4F7B-A1D3-D4A6CAEC4D4F}"/>
              </a:ext>
            </a:extLst>
          </p:cNvPr>
          <p:cNvSpPr/>
          <p:nvPr userDrawn="1"/>
        </p:nvSpPr>
        <p:spPr>
          <a:xfrm>
            <a:off x="0" y="0"/>
            <a:ext cx="4572000" cy="514350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21" name="Rectangle 20">
            <a:extLst>
              <a:ext uri="{FF2B5EF4-FFF2-40B4-BE49-F238E27FC236}">
                <a16:creationId xmlns:a16="http://schemas.microsoft.com/office/drawing/2014/main" xmlns="" id="{9F455802-C6CB-4528-A810-863C9B97482D}"/>
              </a:ext>
            </a:extLst>
          </p:cNvPr>
          <p:cNvSpPr/>
          <p:nvPr userDrawn="1"/>
        </p:nvSpPr>
        <p:spPr>
          <a:xfrm>
            <a:off x="0" y="1508760"/>
            <a:ext cx="7530360" cy="210312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419861754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DS AZ Divider Slide_option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8B494F9C-51D7-4F7B-A1D3-D4A6CAEC4D4F}"/>
              </a:ext>
            </a:extLst>
          </p:cNvPr>
          <p:cNvSpPr/>
          <p:nvPr userDrawn="1"/>
        </p:nvSpPr>
        <p:spPr>
          <a:xfrm>
            <a:off x="0" y="0"/>
            <a:ext cx="4572000" cy="514350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21" name="Rectangle 20">
            <a:extLst>
              <a:ext uri="{FF2B5EF4-FFF2-40B4-BE49-F238E27FC236}">
                <a16:creationId xmlns:a16="http://schemas.microsoft.com/office/drawing/2014/main" xmlns="" id="{9F455802-C6CB-4528-A810-863C9B97482D}"/>
              </a:ext>
            </a:extLst>
          </p:cNvPr>
          <p:cNvSpPr/>
          <p:nvPr userDrawn="1"/>
        </p:nvSpPr>
        <p:spPr>
          <a:xfrm>
            <a:off x="0" y="1508760"/>
            <a:ext cx="7530360" cy="210312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solidFill>
                <a:schemeClr val="bg1"/>
              </a:solidFill>
            </a:endParaRPr>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
        <p:nvSpPr>
          <p:cNvPr id="2" name="Slide Number Placeholder 1">
            <a:extLst>
              <a:ext uri="{FF2B5EF4-FFF2-40B4-BE49-F238E27FC236}">
                <a16:creationId xmlns:a16="http://schemas.microsoft.com/office/drawing/2014/main" xmlns="" id="{282857AD-776B-4C28-AC19-4C54AE45732E}"/>
              </a:ext>
            </a:extLst>
          </p:cNvPr>
          <p:cNvSpPr>
            <a:spLocks noGrp="1"/>
          </p:cNvSpPr>
          <p:nvPr>
            <p:ph type="sldNum" sz="quarter" idx="10"/>
          </p:nvPr>
        </p:nvSpPr>
        <p:spPr>
          <a:xfrm>
            <a:off x="8433675" y="4880611"/>
            <a:ext cx="396000" cy="151004"/>
          </a:xfrm>
          <a:prstGeom prst="rect">
            <a:avLst/>
          </a:prstGeom>
        </p:spPr>
        <p:txBody>
          <a:bodyPr/>
          <a:lstStyle/>
          <a:p>
            <a:fld id="{3C4F54F3-C349-4609-AFEE-01462D5C7942}" type="slidenum">
              <a:rPr lang="en-GB" smtClean="0"/>
              <a:pPr/>
              <a:t>‹#›</a:t>
            </a:fld>
            <a:endParaRPr lang="en-GB"/>
          </a:p>
        </p:txBody>
      </p:sp>
    </p:spTree>
    <p:extLst>
      <p:ext uri="{BB962C8B-B14F-4D97-AF65-F5344CB8AC3E}">
        <p14:creationId xmlns:p14="http://schemas.microsoft.com/office/powerpoint/2010/main" val="197560793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DS AZ Sub divider Slide_option 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xmlns="" id="{9F455802-C6CB-4528-A810-863C9B97482D}"/>
              </a:ext>
            </a:extLst>
          </p:cNvPr>
          <p:cNvSpPr/>
          <p:nvPr userDrawn="1"/>
        </p:nvSpPr>
        <p:spPr>
          <a:xfrm>
            <a:off x="0" y="3248457"/>
            <a:ext cx="7530360" cy="182880"/>
          </a:xfrm>
          <a:prstGeom prst="rect">
            <a:avLst/>
          </a:prstGeom>
          <a:solidFill>
            <a:schemeClr val="accent6">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solidFill>
                <a:schemeClr val="bg1"/>
              </a:solidFill>
            </a:endParaRPr>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Sub 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39374596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master title</a:t>
            </a:r>
          </a:p>
        </p:txBody>
      </p:sp>
      <p:sp>
        <p:nvSpPr>
          <p:cNvPr id="6" name="Text Placeholder 3"/>
          <p:cNvSpPr>
            <a:spLocks noGrp="1"/>
          </p:cNvSpPr>
          <p:nvPr>
            <p:ph type="body" sz="quarter" idx="11" hasCustomPrompt="1"/>
          </p:nvPr>
        </p:nvSpPr>
        <p:spPr>
          <a:xfrm>
            <a:off x="237062" y="1164513"/>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89" indent="0">
              <a:buNone/>
              <a:defRPr sz="2400"/>
            </a:lvl2pPr>
            <a:lvl3pPr marL="914378" indent="0">
              <a:buNone/>
              <a:defRPr sz="2400"/>
            </a:lvl3pPr>
            <a:lvl4pPr marL="1371566" indent="0">
              <a:buNone/>
              <a:defRPr sz="2400"/>
            </a:lvl4pPr>
            <a:lvl5pPr marL="1828754"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75714269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DS AZ Sub divider Slide_option 2">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xmlns="" id="{9F455802-C6CB-4528-A810-863C9B97482D}"/>
              </a:ext>
            </a:extLst>
          </p:cNvPr>
          <p:cNvSpPr/>
          <p:nvPr userDrawn="1"/>
        </p:nvSpPr>
        <p:spPr>
          <a:xfrm>
            <a:off x="0" y="3248457"/>
            <a:ext cx="7530360" cy="18288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solidFill>
                <a:schemeClr val="bg1"/>
              </a:solidFill>
            </a:endParaRPr>
          </a:p>
        </p:txBody>
      </p:sp>
      <p:sp>
        <p:nvSpPr>
          <p:cNvPr id="9" name="Title 8"/>
          <p:cNvSpPr>
            <a:spLocks noGrp="1"/>
          </p:cNvSpPr>
          <p:nvPr>
            <p:ph type="title" hasCustomPrompt="1"/>
          </p:nvPr>
        </p:nvSpPr>
        <p:spPr>
          <a:xfrm>
            <a:off x="198120" y="2631919"/>
            <a:ext cx="6840640" cy="504000"/>
          </a:xfrm>
          <a:prstGeom prst="rect">
            <a:avLst/>
          </a:prstGeom>
        </p:spPr>
        <p:txBody>
          <a:bodyPr vert="horz" anchor="b"/>
          <a:lstStyle>
            <a:lvl1pPr algn="l">
              <a:lnSpc>
                <a:spcPct val="90000"/>
              </a:lnSpc>
              <a:defRPr sz="2800" b="1" baseline="0">
                <a:solidFill>
                  <a:schemeClr val="tx1"/>
                </a:solidFill>
                <a:latin typeface="Arial" pitchFamily="34" charset="0"/>
                <a:cs typeface="Arial" pitchFamily="34" charset="0"/>
              </a:defRPr>
            </a:lvl1pPr>
          </a:lstStyle>
          <a:p>
            <a:r>
              <a:rPr lang="en-GB" noProof="0"/>
              <a:t>Sub divider slide title</a:t>
            </a:r>
          </a:p>
        </p:txBody>
      </p:sp>
      <p:sp>
        <p:nvSpPr>
          <p:cNvPr id="5" name="Rectangle 4">
            <a:extLst>
              <a:ext uri="{FF2B5EF4-FFF2-40B4-BE49-F238E27FC236}">
                <a16:creationId xmlns:a16="http://schemas.microsoft.com/office/drawing/2014/main" xmlns="" id="{B52D8C08-746B-4FF2-918C-6890489BC1A6}"/>
              </a:ext>
            </a:extLst>
          </p:cNvPr>
          <p:cNvSpPr/>
          <p:nvPr userDrawn="1"/>
        </p:nvSpPr>
        <p:spPr>
          <a:xfrm>
            <a:off x="0" y="3157018"/>
            <a:ext cx="9144000" cy="9144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49733" y="92746"/>
            <a:ext cx="3294269" cy="655193"/>
          </a:xfrm>
          <a:prstGeom prst="rect">
            <a:avLst/>
          </a:prstGeom>
        </p:spPr>
      </p:pic>
    </p:spTree>
    <p:extLst>
      <p:ext uri="{BB962C8B-B14F-4D97-AF65-F5344CB8AC3E}">
        <p14:creationId xmlns:p14="http://schemas.microsoft.com/office/powerpoint/2010/main" val="83092193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DS AZ_Title and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endParaRPr lang="en-GB"/>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10" name="Content Placeholder 9">
            <a:extLst>
              <a:ext uri="{FF2B5EF4-FFF2-40B4-BE49-F238E27FC236}">
                <a16:creationId xmlns:a16="http://schemas.microsoft.com/office/drawing/2014/main" xmlns="" id="{B3FB1982-363B-AB4A-9EB5-44272D4947B3}"/>
              </a:ext>
            </a:extLst>
          </p:cNvPr>
          <p:cNvSpPr>
            <a:spLocks noGrp="1"/>
          </p:cNvSpPr>
          <p:nvPr>
            <p:ph sz="quarter" idx="14"/>
          </p:nvPr>
        </p:nvSpPr>
        <p:spPr>
          <a:xfrm>
            <a:off x="304800" y="922714"/>
            <a:ext cx="8534400" cy="3433151"/>
          </a:xfrm>
          <a:prstGeom prst="rect">
            <a:avLst/>
          </a:prstGeom>
        </p:spPr>
        <p:txBody>
          <a:bodyPr lIns="0" rIns="0"/>
          <a:lstStyle>
            <a:lvl1pPr marL="342884" indent="-342884">
              <a:defRPr kumimoji="1" lang="en-US" sz="2000" kern="1200" dirty="0" smtClean="0">
                <a:solidFill>
                  <a:schemeClr val="tx2"/>
                </a:solidFill>
                <a:latin typeface="+mn-lt"/>
                <a:ea typeface="+mn-ea"/>
                <a:cs typeface="+mn-cs"/>
              </a:defRPr>
            </a:lvl1pPr>
            <a:lvl2pPr marL="685766" indent="-457178">
              <a:defRPr/>
            </a:lvl2pPr>
            <a:lvl3pPr marL="742913" indent="-285736">
              <a:defRPr kumimoji="1" lang="en-US" sz="1800" kern="1200" dirty="0" smtClean="0">
                <a:solidFill>
                  <a:schemeClr val="tx2"/>
                </a:solidFill>
                <a:latin typeface="+mn-lt"/>
                <a:ea typeface="+mn-ea"/>
                <a:cs typeface="+mn-cs"/>
              </a:defRPr>
            </a:lvl3pPr>
            <a:lvl4pPr marL="971502" indent="-285736">
              <a:defRPr kumimoji="1" lang="en-US" sz="1400" kern="1200" dirty="0" smtClean="0">
                <a:solidFill>
                  <a:schemeClr val="tx2"/>
                </a:solidFill>
                <a:latin typeface="+mn-lt"/>
                <a:ea typeface="+mn-ea"/>
                <a:cs typeface="+mn-cs"/>
              </a:defRPr>
            </a:lvl4pPr>
            <a:lvl5pPr>
              <a:defRPr kumimoji="1" lang="en-US" sz="1400" kern="1200" dirty="0" smtClean="0">
                <a:solidFill>
                  <a:schemeClr val="tx2"/>
                </a:solidFill>
                <a:latin typeface="+mn-lt"/>
                <a:ea typeface="+mn-ea"/>
                <a:cs typeface="+mn-cs"/>
              </a:defRPr>
            </a:lvl5pPr>
          </a:lstStyle>
          <a:p>
            <a:pPr marL="342884" lvl="0" indent="-342884" algn="l" defTabSz="457178" rtl="0" eaLnBrk="1" latinLnBrk="0" hangingPunct="1">
              <a:spcBef>
                <a:spcPct val="20000"/>
              </a:spcBef>
              <a:spcAft>
                <a:spcPts val="600"/>
              </a:spcAft>
              <a:buClr>
                <a:schemeClr val="accent3"/>
              </a:buClr>
              <a:buFont typeface="Arial" panose="020B0604020202020204" pitchFamily="34" charset="0"/>
              <a:buChar char="•"/>
            </a:pPr>
            <a:r>
              <a:rPr lang="en-US"/>
              <a:t>Click to edit Master text styles</a:t>
            </a:r>
          </a:p>
          <a:p>
            <a:pPr marL="457178" lvl="2"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Second level</a:t>
            </a:r>
          </a:p>
          <a:p>
            <a:pPr marL="685766" lvl="3"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Third level</a:t>
            </a:r>
          </a:p>
          <a:p>
            <a:pPr marL="914355" lvl="4"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Fourth level</a:t>
            </a:r>
          </a:p>
        </p:txBody>
      </p:sp>
      <p:sp>
        <p:nvSpPr>
          <p:cNvPr id="6" name="Text Placeholder 5">
            <a:extLst>
              <a:ext uri="{FF2B5EF4-FFF2-40B4-BE49-F238E27FC236}">
                <a16:creationId xmlns:a16="http://schemas.microsoft.com/office/drawing/2014/main" xmlns="" id="{3AE93CBC-F69F-0748-A4F6-0B2237F889B4}"/>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Tree>
    <p:extLst>
      <p:ext uri="{BB962C8B-B14F-4D97-AF65-F5344CB8AC3E}">
        <p14:creationId xmlns:p14="http://schemas.microsoft.com/office/powerpoint/2010/main" val="4104981461"/>
      </p:ext>
    </p:extLst>
  </p:cSld>
  <p:clrMapOvr>
    <a:masterClrMapping/>
  </p:clrMapOvr>
  <p:extLst>
    <p:ext uri="{DCECCB84-F9BA-43D5-87BE-67443E8EF086}">
      <p15:sldGuideLst xmlns:p15="http://schemas.microsoft.com/office/powerpoint/2012/main" xmlns="">
        <p15:guide id="1" orient="horz" pos="1007">
          <p15:clr>
            <a:srgbClr val="FBAE40"/>
          </p15:clr>
        </p15:guide>
        <p15:guide id="2" orient="horz" pos="3691">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DS AZ_Title and Tex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xmlns="" id="{361B27C1-87E1-3641-AE3C-3D5D4A126ADF}"/>
              </a:ext>
            </a:extLst>
          </p:cNvPr>
          <p:cNvSpPr>
            <a:spLocks noGrp="1"/>
          </p:cNvSpPr>
          <p:nvPr>
            <p:ph sz="quarter" idx="14"/>
          </p:nvPr>
        </p:nvSpPr>
        <p:spPr>
          <a:xfrm>
            <a:off x="304800" y="1445840"/>
            <a:ext cx="8534400" cy="2910025"/>
          </a:xfrm>
          <a:prstGeom prst="rect">
            <a:avLst/>
          </a:prstGeom>
        </p:spPr>
        <p:txBody>
          <a:bodyPr lIns="0" rIns="0"/>
          <a:lstStyle>
            <a:lvl1pPr marL="342884" indent="-342884">
              <a:defRPr kumimoji="1" lang="en-US" sz="1600" kern="1200" dirty="0" smtClean="0">
                <a:solidFill>
                  <a:schemeClr val="tx2"/>
                </a:solidFill>
                <a:latin typeface="+mn-lt"/>
                <a:ea typeface="+mn-ea"/>
                <a:cs typeface="+mn-cs"/>
              </a:defRPr>
            </a:lvl1pPr>
            <a:lvl2pPr marL="685766" indent="-457178">
              <a:defRPr/>
            </a:lvl2pPr>
            <a:lvl3pPr marL="742913" indent="-285736">
              <a:defRPr kumimoji="1" lang="en-US" sz="1400" kern="1200" dirty="0" smtClean="0">
                <a:solidFill>
                  <a:schemeClr val="tx2"/>
                </a:solidFill>
                <a:latin typeface="+mn-lt"/>
                <a:ea typeface="+mn-ea"/>
                <a:cs typeface="+mn-cs"/>
              </a:defRPr>
            </a:lvl3pPr>
            <a:lvl4pPr marL="971502" indent="-285736">
              <a:defRPr kumimoji="1" lang="en-US" sz="1100" kern="1200" dirty="0" smtClean="0">
                <a:solidFill>
                  <a:schemeClr val="tx2"/>
                </a:solidFill>
                <a:latin typeface="+mn-lt"/>
                <a:ea typeface="+mn-ea"/>
                <a:cs typeface="+mn-cs"/>
              </a:defRPr>
            </a:lvl4pPr>
            <a:lvl5pPr>
              <a:defRPr kumimoji="1" lang="en-US" sz="1100" kern="1200" dirty="0" smtClean="0">
                <a:solidFill>
                  <a:schemeClr val="tx2"/>
                </a:solidFill>
                <a:latin typeface="+mn-lt"/>
                <a:ea typeface="+mn-ea"/>
                <a:cs typeface="+mn-cs"/>
              </a:defRPr>
            </a:lvl5pPr>
          </a:lstStyle>
          <a:p>
            <a:pPr marL="342884" lvl="0" indent="-342884" algn="l" defTabSz="457178" rtl="0" eaLnBrk="1" latinLnBrk="0" hangingPunct="1">
              <a:spcBef>
                <a:spcPct val="20000"/>
              </a:spcBef>
              <a:spcAft>
                <a:spcPts val="600"/>
              </a:spcAft>
              <a:buClr>
                <a:schemeClr val="accent3"/>
              </a:buClr>
              <a:buFont typeface="Arial" panose="020B0604020202020204" pitchFamily="34" charset="0"/>
              <a:buChar char="•"/>
            </a:pPr>
            <a:r>
              <a:rPr lang="en-US"/>
              <a:t>Click to edit Master text styles</a:t>
            </a:r>
          </a:p>
          <a:p>
            <a:pPr marL="457178" lvl="2"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Second level</a:t>
            </a:r>
          </a:p>
          <a:p>
            <a:pPr marL="685766" lvl="3"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Third level</a:t>
            </a:r>
          </a:p>
          <a:p>
            <a:pPr marL="914355" lvl="4" indent="-228588" algn="l" defTabSz="457178" rtl="0" eaLnBrk="1" latinLnBrk="0" hangingPunct="1">
              <a:spcBef>
                <a:spcPct val="20000"/>
              </a:spcBef>
              <a:spcAft>
                <a:spcPts val="600"/>
              </a:spcAft>
              <a:buClr>
                <a:schemeClr val="accent3"/>
              </a:buClr>
              <a:buFont typeface="Arial" panose="020B0604020202020204" pitchFamily="34" charset="0"/>
              <a:buChar char="–"/>
            </a:pPr>
            <a:r>
              <a:rPr lang="en-US"/>
              <a:t>Fourth level</a:t>
            </a:r>
          </a:p>
        </p:txBody>
      </p:sp>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endParaRPr lang="en-GB"/>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xmlns="" id="{C07DEA39-19CC-7F4C-A2DD-C08A6993CE94}"/>
              </a:ext>
            </a:extLst>
          </p:cNvPr>
          <p:cNvSpPr>
            <a:spLocks noGrp="1"/>
          </p:cNvSpPr>
          <p:nvPr>
            <p:ph type="body" sz="quarter" idx="13"/>
          </p:nvPr>
        </p:nvSpPr>
        <p:spPr>
          <a:xfrm>
            <a:off x="304802" y="900431"/>
            <a:ext cx="8534399" cy="476250"/>
          </a:xfrm>
          <a:prstGeom prst="rect">
            <a:avLst/>
          </a:prstGeom>
          <a:noFill/>
        </p:spPr>
        <p:txBody>
          <a:bodyPr vert="horz" lIns="0" anchor="t"/>
          <a:lstStyle>
            <a:lvl1pPr marL="0" indent="0">
              <a:buNone/>
              <a:defRPr lang="en-US" sz="1600" b="0" baseline="0" dirty="0" smtClean="0">
                <a:solidFill>
                  <a:schemeClr val="tx1">
                    <a:lumMod val="50000"/>
                    <a:lumOff val="50000"/>
                  </a:schemeClr>
                </a:solidFill>
                <a:latin typeface="Arial" pitchFamily="34" charset="0"/>
                <a:ea typeface="+mj-ea"/>
                <a:cs typeface="Arial" pitchFamily="34" charset="0"/>
              </a:defRPr>
            </a:lvl1pPr>
          </a:lstStyle>
          <a:p>
            <a:pPr marL="342884" lvl="0" indent="-342884">
              <a:spcBef>
                <a:spcPct val="0"/>
              </a:spcBef>
            </a:pPr>
            <a:r>
              <a:rPr lang="en-US"/>
              <a:t>Click to edit Master text styles</a:t>
            </a:r>
          </a:p>
        </p:txBody>
      </p:sp>
      <p:sp>
        <p:nvSpPr>
          <p:cNvPr id="12" name="Text Placeholder 5">
            <a:extLst>
              <a:ext uri="{FF2B5EF4-FFF2-40B4-BE49-F238E27FC236}">
                <a16:creationId xmlns:a16="http://schemas.microsoft.com/office/drawing/2014/main" xmlns="" id="{37724930-67A2-9240-AD7F-2E23804ADCCA}"/>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Tree>
    <p:extLst>
      <p:ext uri="{BB962C8B-B14F-4D97-AF65-F5344CB8AC3E}">
        <p14:creationId xmlns:p14="http://schemas.microsoft.com/office/powerpoint/2010/main" val="1608214278"/>
      </p:ext>
    </p:extLst>
  </p:cSld>
  <p:clrMapOvr>
    <a:masterClrMapping/>
  </p:clrMapOvr>
  <p:extLst>
    <p:ext uri="{DCECCB84-F9BA-43D5-87BE-67443E8EF086}">
      <p15:sldGuideLst xmlns:p15="http://schemas.microsoft.com/office/powerpoint/2012/main" xmlns="">
        <p15:guide id="1" orient="horz" pos="1407">
          <p15:clr>
            <a:srgbClr val="FBAE40"/>
          </p15:clr>
        </p15:guide>
        <p15:guide id="2" orient="horz" pos="947">
          <p15:clr>
            <a:srgbClr val="FBAE40"/>
          </p15:clr>
        </p15:guide>
        <p15:guide id="3" orient="horz" pos="3696">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_DS AZ_Title and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endParaRPr lang="en-GB"/>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9" name="Text Placeholder 5">
            <a:extLst>
              <a:ext uri="{FF2B5EF4-FFF2-40B4-BE49-F238E27FC236}">
                <a16:creationId xmlns:a16="http://schemas.microsoft.com/office/drawing/2014/main" xmlns="" id="{D2939CFA-5B69-1A4E-81FF-174D69169028}"/>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Tree>
    <p:extLst>
      <p:ext uri="{BB962C8B-B14F-4D97-AF65-F5344CB8AC3E}">
        <p14:creationId xmlns:p14="http://schemas.microsoft.com/office/powerpoint/2010/main" val="724394383"/>
      </p:ext>
    </p:extLst>
  </p:cSld>
  <p:clrMapOvr>
    <a:masterClrMapping/>
  </p:clrMapOvr>
  <p:extLst>
    <p:ext uri="{DCECCB84-F9BA-43D5-87BE-67443E8EF086}">
      <p15:sldGuideLst xmlns:p15="http://schemas.microsoft.com/office/powerpoint/2012/main" xmlns="">
        <p15:guide id="1" orient="horz" pos="369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5_DS AZ_Title and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descr="DSI-AZ-hor-COLOR.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4630500"/>
            <a:ext cx="2579330" cy="513000"/>
          </a:xfrm>
          <a:prstGeom prst="rect">
            <a:avLst/>
          </a:prstGeom>
        </p:spPr>
      </p:pic>
      <p:sp>
        <p:nvSpPr>
          <p:cNvPr id="3" name="Footer Placeholder 2">
            <a:extLst>
              <a:ext uri="{FF2B5EF4-FFF2-40B4-BE49-F238E27FC236}">
                <a16:creationId xmlns:a16="http://schemas.microsoft.com/office/drawing/2014/main" xmlns="" id="{1ED913EE-7D5A-41D8-87E1-4C2FFB32D9A8}"/>
              </a:ext>
            </a:extLst>
          </p:cNvPr>
          <p:cNvSpPr>
            <a:spLocks noGrp="1"/>
          </p:cNvSpPr>
          <p:nvPr>
            <p:ph type="ftr" sz="quarter" idx="12"/>
          </p:nvPr>
        </p:nvSpPr>
        <p:spPr/>
        <p:txBody>
          <a:bodyPr/>
          <a:lstStyle/>
          <a:p>
            <a:endParaRPr lang="en-GB"/>
          </a:p>
        </p:txBody>
      </p:sp>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a:lstStyle>
            <a:lvl1pPr algn="l">
              <a:defRPr/>
            </a:lvl1pPr>
          </a:lstStyle>
          <a:p>
            <a:r>
              <a:rPr lang="en-US"/>
              <a:t>Click to edit Master title style</a:t>
            </a:r>
          </a:p>
        </p:txBody>
      </p:sp>
      <p:sp>
        <p:nvSpPr>
          <p:cNvPr id="6" name="Text Placeholder 5">
            <a:extLst>
              <a:ext uri="{FF2B5EF4-FFF2-40B4-BE49-F238E27FC236}">
                <a16:creationId xmlns:a16="http://schemas.microsoft.com/office/drawing/2014/main" xmlns="" id="{C07DEA39-19CC-7F4C-A2DD-C08A6993CE94}"/>
              </a:ext>
            </a:extLst>
          </p:cNvPr>
          <p:cNvSpPr>
            <a:spLocks noGrp="1"/>
          </p:cNvSpPr>
          <p:nvPr>
            <p:ph type="body" sz="quarter" idx="13"/>
          </p:nvPr>
        </p:nvSpPr>
        <p:spPr>
          <a:xfrm>
            <a:off x="304802" y="900431"/>
            <a:ext cx="8585201" cy="476250"/>
          </a:xfrm>
          <a:prstGeom prst="rect">
            <a:avLst/>
          </a:prstGeom>
          <a:noFill/>
        </p:spPr>
        <p:txBody>
          <a:bodyPr vert="horz" lIns="0" anchor="t"/>
          <a:lstStyle>
            <a:lvl1pPr marL="0" indent="0">
              <a:buNone/>
              <a:defRPr lang="en-US" sz="1600" b="0" baseline="0" dirty="0" smtClean="0">
                <a:solidFill>
                  <a:schemeClr val="tx1">
                    <a:lumMod val="50000"/>
                    <a:lumOff val="50000"/>
                  </a:schemeClr>
                </a:solidFill>
                <a:latin typeface="Arial" pitchFamily="34" charset="0"/>
                <a:ea typeface="+mj-ea"/>
                <a:cs typeface="Arial" pitchFamily="34" charset="0"/>
              </a:defRPr>
            </a:lvl1pPr>
          </a:lstStyle>
          <a:p>
            <a:pPr marL="342884" lvl="0" indent="-342884">
              <a:spcBef>
                <a:spcPct val="0"/>
              </a:spcBef>
            </a:pPr>
            <a:r>
              <a:rPr lang="en-US"/>
              <a:t>Click to edit Master text styles</a:t>
            </a:r>
          </a:p>
        </p:txBody>
      </p:sp>
      <p:sp>
        <p:nvSpPr>
          <p:cNvPr id="9" name="Text Placeholder 5">
            <a:extLst>
              <a:ext uri="{FF2B5EF4-FFF2-40B4-BE49-F238E27FC236}">
                <a16:creationId xmlns:a16="http://schemas.microsoft.com/office/drawing/2014/main" xmlns="" id="{D310C113-4C59-E248-9691-4D9AF8F3A23B}"/>
              </a:ext>
            </a:extLst>
          </p:cNvPr>
          <p:cNvSpPr>
            <a:spLocks noGrp="1"/>
          </p:cNvSpPr>
          <p:nvPr>
            <p:ph type="body" sz="quarter" idx="15" hasCustomPrompt="1"/>
          </p:nvPr>
        </p:nvSpPr>
        <p:spPr>
          <a:xfrm>
            <a:off x="314327" y="4405978"/>
            <a:ext cx="8829675" cy="274638"/>
          </a:xfrm>
          <a:prstGeom prst="rect">
            <a:avLst/>
          </a:prstGeom>
        </p:spPr>
        <p:txBody>
          <a:bodyPr lIns="0" rIns="0" anchor="b"/>
          <a:lstStyle>
            <a:lvl1pPr marL="0" indent="0">
              <a:buFont typeface="Arial" panose="020B0604020202020204" pitchFamily="34" charset="0"/>
              <a:buNone/>
              <a:defRPr sz="600">
                <a:solidFill>
                  <a:schemeClr val="tx1"/>
                </a:solidFill>
              </a:defRPr>
            </a:lvl1pPr>
          </a:lstStyle>
          <a:p>
            <a:pPr lvl="0"/>
            <a:r>
              <a:rPr lang="en-US"/>
              <a:t>Footnotes, acronyms</a:t>
            </a:r>
          </a:p>
        </p:txBody>
      </p:sp>
    </p:spTree>
    <p:extLst>
      <p:ext uri="{BB962C8B-B14F-4D97-AF65-F5344CB8AC3E}">
        <p14:creationId xmlns:p14="http://schemas.microsoft.com/office/powerpoint/2010/main" val="4150557354"/>
      </p:ext>
    </p:extLst>
  </p:cSld>
  <p:clrMapOvr>
    <a:masterClrMapping/>
  </p:clrMapOvr>
  <p:extLst>
    <p:ext uri="{DCECCB84-F9BA-43D5-87BE-67443E8EF086}">
      <p15:sldGuideLst xmlns:p15="http://schemas.microsoft.com/office/powerpoint/2012/main" xmlns="">
        <p15:guide id="1" orient="horz" pos="952">
          <p15:clr>
            <a:srgbClr val="FBAE40"/>
          </p15:clr>
        </p15:guide>
        <p15:guide id="2" orient="horz" pos="3691">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685800">
              <a:defRPr/>
            </a:pPr>
            <a:fld id="{1406B112-3E27-DC4F-9D27-AE798D967621}" type="datetimeFigureOut">
              <a:rPr lang="en-US" sz="1350" smtClean="0">
                <a:solidFill>
                  <a:srgbClr val="000000"/>
                </a:solidFill>
              </a:rPr>
              <a:pPr defTabSz="685800">
                <a:defRPr/>
              </a:pPr>
              <a:t>6/29/2023</a:t>
            </a:fld>
            <a:endParaRPr lang="en-US" sz="1350">
              <a:solidFill>
                <a:srgbClr val="000000"/>
              </a:solidFill>
            </a:endParaRPr>
          </a:p>
        </p:txBody>
      </p:sp>
      <p:sp>
        <p:nvSpPr>
          <p:cNvPr id="4" name="Footer Placeholder 3"/>
          <p:cNvSpPr>
            <a:spLocks noGrp="1"/>
          </p:cNvSpPr>
          <p:nvPr>
            <p:ph type="ftr" sz="quarter" idx="11"/>
          </p:nvPr>
        </p:nvSpPr>
        <p:spPr/>
        <p:txBody>
          <a:bodyPr/>
          <a:lstStyle/>
          <a:p>
            <a:pPr defTabSz="685800">
              <a:defRPr/>
            </a:pPr>
            <a:endParaRPr lang="en-US">
              <a:solidFill>
                <a:srgbClr val="3F4444"/>
              </a:solidFill>
            </a:endParaRPr>
          </a:p>
        </p:txBody>
      </p:sp>
      <p:sp>
        <p:nvSpPr>
          <p:cNvPr id="5" name="Slide Number Placeholder 4"/>
          <p:cNvSpPr>
            <a:spLocks noGrp="1"/>
          </p:cNvSpPr>
          <p:nvPr>
            <p:ph type="sldNum" sz="quarter" idx="12"/>
          </p:nvPr>
        </p:nvSpPr>
        <p:spPr/>
        <p:txBody>
          <a:bodyPr/>
          <a:lstStyle/>
          <a:p>
            <a:pPr defTabSz="685800">
              <a:defRPr/>
            </a:pPr>
            <a:fld id="{B5A550AC-4A1D-894E-AF68-3FBE16371444}" type="slidenum">
              <a:rPr lang="en-US" sz="1350" smtClean="0">
                <a:solidFill>
                  <a:srgbClr val="000000"/>
                </a:solidFill>
              </a:rPr>
              <a:pPr defTabSz="685800">
                <a:defRPr/>
              </a:pPr>
              <a:t>‹#›</a:t>
            </a:fld>
            <a:endParaRPr lang="en-US" sz="1350">
              <a:solidFill>
                <a:srgbClr val="000000"/>
              </a:solidFill>
            </a:endParaRPr>
          </a:p>
        </p:txBody>
      </p:sp>
    </p:spTree>
    <p:extLst>
      <p:ext uri="{BB962C8B-B14F-4D97-AF65-F5344CB8AC3E}">
        <p14:creationId xmlns:p14="http://schemas.microsoft.com/office/powerpoint/2010/main" val="84547806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85800">
              <a:defRPr/>
            </a:pPr>
            <a:fld id="{1406B112-3E27-DC4F-9D27-AE798D967621}" type="datetimeFigureOut">
              <a:rPr lang="en-US" sz="1350" smtClean="0">
                <a:solidFill>
                  <a:srgbClr val="000000"/>
                </a:solidFill>
              </a:rPr>
              <a:pPr defTabSz="685800">
                <a:defRPr/>
              </a:pPr>
              <a:t>6/29/2023</a:t>
            </a:fld>
            <a:endParaRPr lang="en-US" sz="1350">
              <a:solidFill>
                <a:srgbClr val="000000"/>
              </a:solidFill>
            </a:endParaRPr>
          </a:p>
        </p:txBody>
      </p:sp>
      <p:sp>
        <p:nvSpPr>
          <p:cNvPr id="5" name="Footer Placeholder 4"/>
          <p:cNvSpPr>
            <a:spLocks noGrp="1"/>
          </p:cNvSpPr>
          <p:nvPr>
            <p:ph type="ftr" sz="quarter" idx="11"/>
          </p:nvPr>
        </p:nvSpPr>
        <p:spPr/>
        <p:txBody>
          <a:bodyPr/>
          <a:lstStyle/>
          <a:p>
            <a:pPr defTabSz="685800">
              <a:defRPr/>
            </a:pPr>
            <a:endParaRPr lang="en-US">
              <a:solidFill>
                <a:srgbClr val="3F4444"/>
              </a:solidFill>
            </a:endParaRPr>
          </a:p>
        </p:txBody>
      </p:sp>
      <p:sp>
        <p:nvSpPr>
          <p:cNvPr id="6" name="Slide Number Placeholder 5"/>
          <p:cNvSpPr>
            <a:spLocks noGrp="1"/>
          </p:cNvSpPr>
          <p:nvPr>
            <p:ph type="sldNum" sz="quarter" idx="12"/>
          </p:nvPr>
        </p:nvSpPr>
        <p:spPr/>
        <p:txBody>
          <a:bodyPr/>
          <a:lstStyle/>
          <a:p>
            <a:pPr defTabSz="685800">
              <a:defRPr/>
            </a:pPr>
            <a:fld id="{B5A550AC-4A1D-894E-AF68-3FBE16371444}" type="slidenum">
              <a:rPr lang="en-US" sz="1350" smtClean="0">
                <a:solidFill>
                  <a:srgbClr val="000000"/>
                </a:solidFill>
              </a:rPr>
              <a:pPr defTabSz="685800">
                <a:defRPr/>
              </a:pPr>
              <a:t>‹#›</a:t>
            </a:fld>
            <a:endParaRPr lang="en-US" sz="1350">
              <a:solidFill>
                <a:srgbClr val="000000"/>
              </a:solidFill>
            </a:endParaRPr>
          </a:p>
        </p:txBody>
      </p:sp>
    </p:spTree>
    <p:extLst>
      <p:ext uri="{BB962C8B-B14F-4D97-AF65-F5344CB8AC3E}">
        <p14:creationId xmlns:p14="http://schemas.microsoft.com/office/powerpoint/2010/main" val="295795192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685800">
              <a:defRPr/>
            </a:pPr>
            <a:fld id="{1406B112-3E27-DC4F-9D27-AE798D967621}" type="datetimeFigureOut">
              <a:rPr lang="en-US" sz="1350" smtClean="0">
                <a:solidFill>
                  <a:srgbClr val="000000"/>
                </a:solidFill>
              </a:rPr>
              <a:pPr defTabSz="685800">
                <a:defRPr/>
              </a:pPr>
              <a:t>6/29/2023</a:t>
            </a:fld>
            <a:endParaRPr lang="en-US" sz="1350">
              <a:solidFill>
                <a:srgbClr val="000000"/>
              </a:solidFill>
            </a:endParaRPr>
          </a:p>
        </p:txBody>
      </p:sp>
      <p:sp>
        <p:nvSpPr>
          <p:cNvPr id="8" name="Footer Placeholder 7"/>
          <p:cNvSpPr>
            <a:spLocks noGrp="1"/>
          </p:cNvSpPr>
          <p:nvPr>
            <p:ph type="ftr" sz="quarter" idx="11"/>
          </p:nvPr>
        </p:nvSpPr>
        <p:spPr/>
        <p:txBody>
          <a:bodyPr/>
          <a:lstStyle/>
          <a:p>
            <a:pPr defTabSz="685800">
              <a:defRPr/>
            </a:pPr>
            <a:endParaRPr lang="en-US">
              <a:solidFill>
                <a:srgbClr val="3F4444"/>
              </a:solidFill>
            </a:endParaRPr>
          </a:p>
        </p:txBody>
      </p:sp>
      <p:sp>
        <p:nvSpPr>
          <p:cNvPr id="9" name="Slide Number Placeholder 8"/>
          <p:cNvSpPr>
            <a:spLocks noGrp="1"/>
          </p:cNvSpPr>
          <p:nvPr>
            <p:ph type="sldNum" sz="quarter" idx="12"/>
          </p:nvPr>
        </p:nvSpPr>
        <p:spPr/>
        <p:txBody>
          <a:bodyPr/>
          <a:lstStyle/>
          <a:p>
            <a:pPr defTabSz="685800">
              <a:defRPr/>
            </a:pPr>
            <a:fld id="{B5A550AC-4A1D-894E-AF68-3FBE16371444}" type="slidenum">
              <a:rPr lang="en-US" sz="1350" smtClean="0">
                <a:solidFill>
                  <a:srgbClr val="000000"/>
                </a:solidFill>
              </a:rPr>
              <a:pPr defTabSz="685800">
                <a:defRPr/>
              </a:pPr>
              <a:t>‹#›</a:t>
            </a:fld>
            <a:endParaRPr lang="en-US" sz="1350">
              <a:solidFill>
                <a:srgbClr val="000000"/>
              </a:solidFill>
            </a:endParaRPr>
          </a:p>
        </p:txBody>
      </p:sp>
    </p:spTree>
    <p:extLst>
      <p:ext uri="{BB962C8B-B14F-4D97-AF65-F5344CB8AC3E}">
        <p14:creationId xmlns:p14="http://schemas.microsoft.com/office/powerpoint/2010/main" val="358366088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52A3FE2-5D38-4ADE-958F-14E470FAB5CA}"/>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xmlns="" id="{EBBC1183-B22E-49C3-A16E-3C515340C9A6}"/>
              </a:ext>
            </a:extLst>
          </p:cNvPr>
          <p:cNvSpPr>
            <a:spLocks noGrp="1"/>
          </p:cNvSpPr>
          <p:nvPr>
            <p:ph type="ftr" sz="quarter" idx="10"/>
          </p:nvPr>
        </p:nvSpPr>
        <p:spPr/>
        <p:txBody>
          <a:bodyPr/>
          <a:lstStyle/>
          <a:p>
            <a:pPr defTabSz="685800">
              <a:defRPr/>
            </a:pPr>
            <a:r>
              <a:rPr lang="en-GB">
                <a:solidFill>
                  <a:srgbClr val="3F4444"/>
                </a:solidFill>
              </a:rPr>
              <a:t>References</a:t>
            </a:r>
          </a:p>
        </p:txBody>
      </p:sp>
    </p:spTree>
    <p:extLst>
      <p:ext uri="{BB962C8B-B14F-4D97-AF65-F5344CB8AC3E}">
        <p14:creationId xmlns:p14="http://schemas.microsoft.com/office/powerpoint/2010/main" val="190580755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sp>
        <p:nvSpPr>
          <p:cNvPr id="2" name="Заголовок 1"/>
          <p:cNvSpPr>
            <a:spLocks noGrp="1"/>
          </p:cNvSpPr>
          <p:nvPr>
            <p:ph type="ctrTitle" hasCustomPrompt="1"/>
          </p:nvPr>
        </p:nvSpPr>
        <p:spPr>
          <a:xfrm>
            <a:off x="4498041" y="1095935"/>
            <a:ext cx="4390185" cy="2030507"/>
          </a:xfrm>
        </p:spPr>
        <p:txBody>
          <a:bodyPr anchor="ctr">
            <a:normAutofit/>
          </a:bodyPr>
          <a:lstStyle>
            <a:lvl1pPr algn="r">
              <a:defRPr sz="2099" b="1" baseline="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Заголовок презентации</a:t>
            </a:r>
          </a:p>
        </p:txBody>
      </p:sp>
      <p:sp>
        <p:nvSpPr>
          <p:cNvPr id="3" name="Подзаголовок 2"/>
          <p:cNvSpPr>
            <a:spLocks noGrp="1"/>
          </p:cNvSpPr>
          <p:nvPr>
            <p:ph type="subTitle" idx="1"/>
          </p:nvPr>
        </p:nvSpPr>
        <p:spPr>
          <a:xfrm>
            <a:off x="4498041" y="3186952"/>
            <a:ext cx="4390185" cy="753036"/>
          </a:xfrm>
        </p:spPr>
        <p:txBody>
          <a:bodyPr anchor="ctr">
            <a:normAutofit/>
          </a:bodyPr>
          <a:lstStyle>
            <a:lvl1pPr marL="0" indent="0" algn="r">
              <a:buNone/>
              <a:defRPr sz="1350" b="1">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342774" indent="0" algn="ctr">
              <a:buNone/>
              <a:defRPr sz="1500"/>
            </a:lvl2pPr>
            <a:lvl3pPr marL="685549" indent="0" algn="ctr">
              <a:buNone/>
              <a:defRPr sz="1350"/>
            </a:lvl3pPr>
            <a:lvl4pPr marL="1028323" indent="0" algn="ctr">
              <a:buNone/>
              <a:defRPr sz="1200"/>
            </a:lvl4pPr>
            <a:lvl5pPr marL="1371097" indent="0" algn="ctr">
              <a:buNone/>
              <a:defRPr sz="1200"/>
            </a:lvl5pPr>
            <a:lvl6pPr marL="1713871" indent="0" algn="ctr">
              <a:buNone/>
              <a:defRPr sz="1200"/>
            </a:lvl6pPr>
            <a:lvl7pPr marL="2056646" indent="0" algn="ctr">
              <a:buNone/>
              <a:defRPr sz="1200"/>
            </a:lvl7pPr>
            <a:lvl8pPr marL="2399420" indent="0" algn="ctr">
              <a:buNone/>
              <a:defRPr sz="1200"/>
            </a:lvl8pPr>
            <a:lvl9pPr marL="2742194" indent="0" algn="ctr">
              <a:buNone/>
              <a:defRPr sz="1200"/>
            </a:lvl9pPr>
          </a:lstStyle>
          <a:p>
            <a:r>
              <a:rPr lang="ru-RU" dirty="0"/>
              <a:t>Образец подзаголовка</a:t>
            </a:r>
          </a:p>
        </p:txBody>
      </p:sp>
      <p:grpSp>
        <p:nvGrpSpPr>
          <p:cNvPr id="10" name="グループ化 4">
            <a:extLst>
              <a:ext uri="{FF2B5EF4-FFF2-40B4-BE49-F238E27FC236}">
                <a16:creationId xmlns:a16="http://schemas.microsoft.com/office/drawing/2014/main" xmlns="" id="{65D4C13C-B917-4107-A702-54B96ACE32DA}"/>
              </a:ext>
            </a:extLst>
          </p:cNvPr>
          <p:cNvGrpSpPr/>
          <p:nvPr userDrawn="1"/>
        </p:nvGrpSpPr>
        <p:grpSpPr>
          <a:xfrm>
            <a:off x="6171340" y="235324"/>
            <a:ext cx="2777399" cy="443207"/>
            <a:chOff x="5948902" y="244153"/>
            <a:chExt cx="3020520" cy="482004"/>
          </a:xfrm>
        </p:grpSpPr>
        <p:pic>
          <p:nvPicPr>
            <p:cNvPr id="11" name="図 1">
              <a:extLst>
                <a:ext uri="{FF2B5EF4-FFF2-40B4-BE49-F238E27FC236}">
                  <a16:creationId xmlns:a16="http://schemas.microsoft.com/office/drawing/2014/main" xmlns="" id="{8DEC9766-82F1-4D3E-88BF-E9EA4BFE4CC1}"/>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12" name="Picture 26">
              <a:extLst>
                <a:ext uri="{FF2B5EF4-FFF2-40B4-BE49-F238E27FC236}">
                  <a16:creationId xmlns:a16="http://schemas.microsoft.com/office/drawing/2014/main" xmlns="" id="{AA8349A1-444C-4EC7-BB04-A8517F048D58}"/>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13" name="Straight Connector 27">
              <a:extLst>
                <a:ext uri="{FF2B5EF4-FFF2-40B4-BE49-F238E27FC236}">
                  <a16:creationId xmlns:a16="http://schemas.microsoft.com/office/drawing/2014/main" xmlns="" id="{A6D13759-CFC5-48E2-9CCB-A8F3B69F04B5}"/>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22452775"/>
      </p:ext>
    </p:extLst>
  </p:cSld>
  <p:clrMapOvr>
    <a:masterClrMapping/>
  </p:clrMapOvr>
  <p:extLst>
    <p:ext uri="{DCECCB84-F9BA-43D5-87BE-67443E8EF086}">
      <p15:sldGuideLst xmlns:p15="http://schemas.microsoft.com/office/powerpoint/2012/main" xmlns=""/>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378"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marL="0" marR="0" lvl="0" indent="0" defTabSz="914378"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89700770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Разделитель 2">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03"/>
            <a:ext cx="9144538" cy="5143198"/>
          </a:xfrm>
          <a:prstGeom prst="rect">
            <a:avLst/>
          </a:prstGeom>
        </p:spPr>
      </p:pic>
      <p:sp>
        <p:nvSpPr>
          <p:cNvPr id="2" name="Заголовок 1"/>
          <p:cNvSpPr>
            <a:spLocks noGrp="1"/>
          </p:cNvSpPr>
          <p:nvPr>
            <p:ph type="ctrTitle" hasCustomPrompt="1"/>
          </p:nvPr>
        </p:nvSpPr>
        <p:spPr>
          <a:xfrm>
            <a:off x="3576918" y="948018"/>
            <a:ext cx="5280071" cy="2021269"/>
          </a:xfrm>
        </p:spPr>
        <p:txBody>
          <a:bodyPr anchor="ctr">
            <a:normAutofit/>
          </a:bodyPr>
          <a:lstStyle>
            <a:lvl1pPr algn="r">
              <a:defRPr sz="2099" b="1" baseline="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Заголовок разделителя</a:t>
            </a:r>
          </a:p>
        </p:txBody>
      </p:sp>
      <p:grpSp>
        <p:nvGrpSpPr>
          <p:cNvPr id="9" name="グループ化 4">
            <a:extLst>
              <a:ext uri="{FF2B5EF4-FFF2-40B4-BE49-F238E27FC236}">
                <a16:creationId xmlns:a16="http://schemas.microsoft.com/office/drawing/2014/main" xmlns="" id="{65D4C13C-B917-4107-A702-54B96ACE32DA}"/>
              </a:ext>
            </a:extLst>
          </p:cNvPr>
          <p:cNvGrpSpPr/>
          <p:nvPr userDrawn="1"/>
        </p:nvGrpSpPr>
        <p:grpSpPr>
          <a:xfrm>
            <a:off x="6171340" y="235324"/>
            <a:ext cx="2777399" cy="443207"/>
            <a:chOff x="5948902" y="244153"/>
            <a:chExt cx="3020520" cy="482004"/>
          </a:xfrm>
        </p:grpSpPr>
        <p:pic>
          <p:nvPicPr>
            <p:cNvPr id="10" name="図 1">
              <a:extLst>
                <a:ext uri="{FF2B5EF4-FFF2-40B4-BE49-F238E27FC236}">
                  <a16:creationId xmlns:a16="http://schemas.microsoft.com/office/drawing/2014/main" xmlns="" id="{8DEC9766-82F1-4D3E-88BF-E9EA4BFE4CC1}"/>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11" name="Picture 26">
              <a:extLst>
                <a:ext uri="{FF2B5EF4-FFF2-40B4-BE49-F238E27FC236}">
                  <a16:creationId xmlns:a16="http://schemas.microsoft.com/office/drawing/2014/main" xmlns="" id="{AA8349A1-444C-4EC7-BB04-A8517F048D58}"/>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12" name="Straight Connector 27">
              <a:extLst>
                <a:ext uri="{FF2B5EF4-FFF2-40B4-BE49-F238E27FC236}">
                  <a16:creationId xmlns:a16="http://schemas.microsoft.com/office/drawing/2014/main" xmlns="" id="{A6D13759-CFC5-48E2-9CCB-A8F3B69F04B5}"/>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13" name="Подзаголовок 2"/>
          <p:cNvSpPr>
            <a:spLocks noGrp="1"/>
          </p:cNvSpPr>
          <p:nvPr>
            <p:ph type="subTitle" idx="1"/>
          </p:nvPr>
        </p:nvSpPr>
        <p:spPr>
          <a:xfrm>
            <a:off x="4168589" y="3013230"/>
            <a:ext cx="4688400" cy="701760"/>
          </a:xfrm>
        </p:spPr>
        <p:txBody>
          <a:bodyPr anchor="t">
            <a:normAutofit/>
          </a:bodyPr>
          <a:lstStyle>
            <a:lvl1pPr marL="0" indent="0" algn="r">
              <a:buNone/>
              <a:defRPr sz="1350" b="0">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342774" indent="0" algn="ctr">
              <a:buNone/>
              <a:defRPr sz="1500"/>
            </a:lvl2pPr>
            <a:lvl3pPr marL="685549" indent="0" algn="ctr">
              <a:buNone/>
              <a:defRPr sz="1350"/>
            </a:lvl3pPr>
            <a:lvl4pPr marL="1028323" indent="0" algn="ctr">
              <a:buNone/>
              <a:defRPr sz="1200"/>
            </a:lvl4pPr>
            <a:lvl5pPr marL="1371097" indent="0" algn="ctr">
              <a:buNone/>
              <a:defRPr sz="1200"/>
            </a:lvl5pPr>
            <a:lvl6pPr marL="1713871" indent="0" algn="ctr">
              <a:buNone/>
              <a:defRPr sz="1200"/>
            </a:lvl6pPr>
            <a:lvl7pPr marL="2056646" indent="0" algn="ctr">
              <a:buNone/>
              <a:defRPr sz="1200"/>
            </a:lvl7pPr>
            <a:lvl8pPr marL="2399420" indent="0" algn="ctr">
              <a:buNone/>
              <a:defRPr sz="1200"/>
            </a:lvl8pPr>
            <a:lvl9pPr marL="2742194" indent="0" algn="ctr">
              <a:buNone/>
              <a:defRPr sz="1200"/>
            </a:lvl9pPr>
          </a:lstStyle>
          <a:p>
            <a:r>
              <a:rPr lang="ru-RU" dirty="0"/>
              <a:t>Образец подзаголовка</a:t>
            </a:r>
          </a:p>
        </p:txBody>
      </p:sp>
    </p:spTree>
    <p:extLst>
      <p:ext uri="{BB962C8B-B14F-4D97-AF65-F5344CB8AC3E}">
        <p14:creationId xmlns:p14="http://schemas.microsoft.com/office/powerpoint/2010/main" val="4117243379"/>
      </p:ext>
    </p:extLst>
  </p:cSld>
  <p:clrMapOvr>
    <a:masterClrMapping/>
  </p:clrMapOvr>
  <p:extLst>
    <p:ext uri="{DCECCB84-F9BA-43D5-87BE-67443E8EF086}">
      <p15:sldGuideLst xmlns:p15="http://schemas.microsoft.com/office/powerpoint/2012/main" xmlns=""/>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reserve="1">
  <p:cSld name="2_Разделитель 2">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sp>
        <p:nvSpPr>
          <p:cNvPr id="2" name="Заголовок 1"/>
          <p:cNvSpPr>
            <a:spLocks noGrp="1"/>
          </p:cNvSpPr>
          <p:nvPr>
            <p:ph type="ctrTitle" hasCustomPrompt="1"/>
          </p:nvPr>
        </p:nvSpPr>
        <p:spPr>
          <a:xfrm>
            <a:off x="1885950" y="554969"/>
            <a:ext cx="5372100" cy="1831884"/>
          </a:xfrm>
        </p:spPr>
        <p:txBody>
          <a:bodyPr anchor="ctr">
            <a:normAutofit/>
          </a:bodyPr>
          <a:lstStyle>
            <a:lvl1pPr algn="ctr">
              <a:defRPr sz="2399" b="1" baseline="0">
                <a:solidFill>
                  <a:schemeClr val="tx2"/>
                </a:solidFill>
                <a:latin typeface="+mn-lt"/>
                <a:ea typeface="Verdana" panose="020B0604030504040204" pitchFamily="34" charset="0"/>
                <a:cs typeface="Arial" panose="020B0604020202020204" pitchFamily="34" charset="0"/>
              </a:defRPr>
            </a:lvl1pPr>
          </a:lstStyle>
          <a:p>
            <a:r>
              <a:rPr lang="ru-RU" dirty="0"/>
              <a:t>Заголовок разделителя</a:t>
            </a:r>
          </a:p>
        </p:txBody>
      </p:sp>
      <p:sp>
        <p:nvSpPr>
          <p:cNvPr id="3" name="Подзаголовок 2"/>
          <p:cNvSpPr>
            <a:spLocks noGrp="1"/>
          </p:cNvSpPr>
          <p:nvPr>
            <p:ph type="subTitle" idx="1"/>
          </p:nvPr>
        </p:nvSpPr>
        <p:spPr>
          <a:xfrm>
            <a:off x="2382052" y="2384996"/>
            <a:ext cx="4363571" cy="556828"/>
          </a:xfrm>
        </p:spPr>
        <p:txBody>
          <a:bodyPr anchor="t">
            <a:normAutofit/>
          </a:bodyPr>
          <a:lstStyle>
            <a:lvl1pPr marL="0" indent="0" algn="ctr">
              <a:buNone/>
              <a:defRPr sz="1350" b="0">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342774" indent="0" algn="ctr">
              <a:buNone/>
              <a:defRPr sz="1500"/>
            </a:lvl2pPr>
            <a:lvl3pPr marL="685549" indent="0" algn="ctr">
              <a:buNone/>
              <a:defRPr sz="1350"/>
            </a:lvl3pPr>
            <a:lvl4pPr marL="1028323" indent="0" algn="ctr">
              <a:buNone/>
              <a:defRPr sz="1200"/>
            </a:lvl4pPr>
            <a:lvl5pPr marL="1371097" indent="0" algn="ctr">
              <a:buNone/>
              <a:defRPr sz="1200"/>
            </a:lvl5pPr>
            <a:lvl6pPr marL="1713871" indent="0" algn="ctr">
              <a:buNone/>
              <a:defRPr sz="1200"/>
            </a:lvl6pPr>
            <a:lvl7pPr marL="2056646" indent="0" algn="ctr">
              <a:buNone/>
              <a:defRPr sz="1200"/>
            </a:lvl7pPr>
            <a:lvl8pPr marL="2399420" indent="0" algn="ctr">
              <a:buNone/>
              <a:defRPr sz="1200"/>
            </a:lvl8pPr>
            <a:lvl9pPr marL="2742194" indent="0" algn="ctr">
              <a:buNone/>
              <a:defRPr sz="1200"/>
            </a:lvl9pPr>
          </a:lstStyle>
          <a:p>
            <a:r>
              <a:rPr lang="ru-RU" dirty="0"/>
              <a:t>Образец подзаголовка</a:t>
            </a:r>
          </a:p>
        </p:txBody>
      </p:sp>
      <p:sp>
        <p:nvSpPr>
          <p:cNvPr id="8" name="Номер слайда 6"/>
          <p:cNvSpPr txBox="1">
            <a:spLocks/>
          </p:cNvSpPr>
          <p:nvPr userDrawn="1"/>
        </p:nvSpPr>
        <p:spPr>
          <a:xfrm>
            <a:off x="8542664" y="149896"/>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1050" dirty="0">
              <a:solidFill>
                <a:schemeClr val="bg1"/>
              </a:solidFill>
              <a:latin typeface="Arial" panose="020B0604020202020204" pitchFamily="34" charset="0"/>
              <a:cs typeface="Arial" panose="020B0604020202020204" pitchFamily="34" charset="0"/>
            </a:endParaRPr>
          </a:p>
        </p:txBody>
      </p:sp>
      <p:grpSp>
        <p:nvGrpSpPr>
          <p:cNvPr id="7" name="グループ化 4">
            <a:extLst>
              <a:ext uri="{FF2B5EF4-FFF2-40B4-BE49-F238E27FC236}">
                <a16:creationId xmlns:a16="http://schemas.microsoft.com/office/drawing/2014/main" xmlns="" id="{65D4C13C-B917-4107-A702-54B96ACE32DA}"/>
              </a:ext>
            </a:extLst>
          </p:cNvPr>
          <p:cNvGrpSpPr/>
          <p:nvPr userDrawn="1"/>
        </p:nvGrpSpPr>
        <p:grpSpPr>
          <a:xfrm>
            <a:off x="1008531" y="3555863"/>
            <a:ext cx="2623368" cy="418627"/>
            <a:chOff x="5948902" y="244153"/>
            <a:chExt cx="3020520" cy="482004"/>
          </a:xfrm>
        </p:grpSpPr>
        <p:pic>
          <p:nvPicPr>
            <p:cNvPr id="10" name="図 1">
              <a:extLst>
                <a:ext uri="{FF2B5EF4-FFF2-40B4-BE49-F238E27FC236}">
                  <a16:creationId xmlns:a16="http://schemas.microsoft.com/office/drawing/2014/main" xmlns="" id="{8DEC9766-82F1-4D3E-88BF-E9EA4BFE4CC1}"/>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11" name="Picture 26">
              <a:extLst>
                <a:ext uri="{FF2B5EF4-FFF2-40B4-BE49-F238E27FC236}">
                  <a16:creationId xmlns:a16="http://schemas.microsoft.com/office/drawing/2014/main" xmlns="" id="{AA8349A1-444C-4EC7-BB04-A8517F048D58}"/>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12" name="Straight Connector 27">
              <a:extLst>
                <a:ext uri="{FF2B5EF4-FFF2-40B4-BE49-F238E27FC236}">
                  <a16:creationId xmlns:a16="http://schemas.microsoft.com/office/drawing/2014/main" xmlns="" id="{A6D13759-CFC5-48E2-9CCB-A8F3B69F04B5}"/>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3928758"/>
      </p:ext>
    </p:extLst>
  </p:cSld>
  <p:clrMapOvr>
    <a:masterClrMapping/>
  </p:clrMapOvr>
  <p:extLst>
    <p:ext uri="{DCECCB84-F9BA-43D5-87BE-67443E8EF086}">
      <p15:sldGuideLst xmlns:p15="http://schemas.microsoft.com/office/powerpoint/2012/main" xmlns=""/>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Текст 2">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sp>
        <p:nvSpPr>
          <p:cNvPr id="2" name="Заголовок 1"/>
          <p:cNvSpPr>
            <a:spLocks noGrp="1"/>
          </p:cNvSpPr>
          <p:nvPr>
            <p:ph type="title"/>
          </p:nvPr>
        </p:nvSpPr>
        <p:spPr>
          <a:xfrm>
            <a:off x="791766" y="250031"/>
            <a:ext cx="7027699"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11" name="Объект 10"/>
          <p:cNvSpPr>
            <a:spLocks noGrp="1"/>
          </p:cNvSpPr>
          <p:nvPr>
            <p:ph sz="quarter" idx="10"/>
          </p:nvPr>
        </p:nvSpPr>
        <p:spPr>
          <a:xfrm>
            <a:off x="791767" y="1146654"/>
            <a:ext cx="7560469" cy="3069000"/>
          </a:xfrm>
        </p:spPr>
        <p:txBody>
          <a:bodyPr>
            <a:normAutofit/>
          </a:bodyPr>
          <a:lstStyle>
            <a:lvl1pPr>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8"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bg1"/>
                </a:solidFill>
                <a:latin typeface="Arial" panose="020B0604020202020204" pitchFamily="34" charset="0"/>
                <a:cs typeface="Arial" panose="020B0604020202020204" pitchFamily="34" charset="0"/>
              </a:rPr>
              <a:pPr/>
              <a:t>‹#›</a:t>
            </a:fld>
            <a:endParaRPr lang="ru-RU" sz="1050" dirty="0">
              <a:solidFill>
                <a:schemeClr val="bg1"/>
              </a:solidFill>
              <a:latin typeface="Arial" panose="020B0604020202020204" pitchFamily="34" charset="0"/>
              <a:cs typeface="Arial" panose="020B0604020202020204" pitchFamily="34" charset="0"/>
            </a:endParaRPr>
          </a:p>
        </p:txBody>
      </p:sp>
      <p:grpSp>
        <p:nvGrpSpPr>
          <p:cNvPr id="6" name="グループ化 4">
            <a:extLst>
              <a:ext uri="{FF2B5EF4-FFF2-40B4-BE49-F238E27FC236}">
                <a16:creationId xmlns:a16="http://schemas.microsoft.com/office/drawing/2014/main" xmlns="" id="{65D4C13C-B917-4107-A702-54B96ACE32DA}"/>
              </a:ext>
            </a:extLst>
          </p:cNvPr>
          <p:cNvGrpSpPr/>
          <p:nvPr userDrawn="1"/>
        </p:nvGrpSpPr>
        <p:grpSpPr>
          <a:xfrm>
            <a:off x="5774896" y="4626000"/>
            <a:ext cx="2044570" cy="326265"/>
            <a:chOff x="5948902" y="244153"/>
            <a:chExt cx="3020520" cy="482004"/>
          </a:xfrm>
        </p:grpSpPr>
        <p:pic>
          <p:nvPicPr>
            <p:cNvPr id="7" name="図 1">
              <a:extLst>
                <a:ext uri="{FF2B5EF4-FFF2-40B4-BE49-F238E27FC236}">
                  <a16:creationId xmlns:a16="http://schemas.microsoft.com/office/drawing/2014/main" xmlns="" id="{8DEC9766-82F1-4D3E-88BF-E9EA4BFE4CC1}"/>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9" name="Picture 26">
              <a:extLst>
                <a:ext uri="{FF2B5EF4-FFF2-40B4-BE49-F238E27FC236}">
                  <a16:creationId xmlns:a16="http://schemas.microsoft.com/office/drawing/2014/main" xmlns="" id="{AA8349A1-444C-4EC7-BB04-A8517F048D58}"/>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10" name="Straight Connector 27">
              <a:extLst>
                <a:ext uri="{FF2B5EF4-FFF2-40B4-BE49-F238E27FC236}">
                  <a16:creationId xmlns:a16="http://schemas.microsoft.com/office/drawing/2014/main" xmlns="" id="{A6D13759-CFC5-48E2-9CCB-A8F3B69F04B5}"/>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94561589"/>
      </p:ext>
    </p:extLst>
  </p:cSld>
  <p:clrMapOvr>
    <a:masterClrMapping/>
  </p:clrMapOvr>
  <p:extLst>
    <p:ext uri="{DCECCB84-F9BA-43D5-87BE-67443E8EF086}">
      <p15:sldGuideLst xmlns:p15="http://schemas.microsoft.com/office/powerpoint/2012/main" xmlns=""/>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Текст и рисунок">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sp>
        <p:nvSpPr>
          <p:cNvPr id="2" name="Заголовок 1"/>
          <p:cNvSpPr>
            <a:spLocks noGrp="1"/>
          </p:cNvSpPr>
          <p:nvPr>
            <p:ph type="title"/>
          </p:nvPr>
        </p:nvSpPr>
        <p:spPr>
          <a:xfrm>
            <a:off x="791767" y="250032"/>
            <a:ext cx="7027698" cy="647700"/>
          </a:xfrm>
        </p:spPr>
        <p:txBody>
          <a:bodyPr>
            <a:normAutofit/>
          </a:bodyPr>
          <a:lstStyle>
            <a:lvl1pPr>
              <a:defRPr sz="18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7" name="Объект 2"/>
          <p:cNvSpPr>
            <a:spLocks noGrp="1"/>
          </p:cNvSpPr>
          <p:nvPr>
            <p:ph sz="half" idx="1"/>
          </p:nvPr>
        </p:nvSpPr>
        <p:spPr>
          <a:xfrm>
            <a:off x="791766" y="1149165"/>
            <a:ext cx="2731364" cy="3147172"/>
          </a:xfrm>
        </p:spPr>
        <p:txBody>
          <a:bodyPr/>
          <a:lstStyle>
            <a:lvl1pPr marL="214234" marR="0" indent="-214234" algn="l" defTabSz="685549" rtl="0" eaLnBrk="1" fontAlgn="auto" latinLnBrk="0" hangingPunct="1">
              <a:lnSpc>
                <a:spcPct val="90000"/>
              </a:lnSpc>
              <a:spcBef>
                <a:spcPts val="750"/>
              </a:spcBef>
              <a:spcAft>
                <a:spcPts val="0"/>
              </a:spcAft>
              <a:buClrTx/>
              <a:buSzTx/>
              <a:buFont typeface="Arial" panose="020B0604020202020204" pitchFamily="34" charset="0"/>
              <a:buChar char="•"/>
              <a:tabLst/>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marL="557008" indent="-214234">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marL="899782" indent="-214234">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marL="1156863" indent="-128540">
              <a:buFont typeface="Arial" panose="020B0604020202020204" pitchFamily="34" charset="0"/>
              <a:buChar cha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marL="1499637" indent="-128540">
              <a:buFont typeface="Arial" panose="020B0604020202020204" pitchFamily="34" charset="0"/>
              <a:buChar cha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endParaRPr lang="en-US" dirty="0"/>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4" name="Объект 2"/>
          <p:cNvSpPr>
            <a:spLocks noGrp="1"/>
          </p:cNvSpPr>
          <p:nvPr>
            <p:ph sz="half" idx="10"/>
          </p:nvPr>
        </p:nvSpPr>
        <p:spPr>
          <a:xfrm>
            <a:off x="3704665" y="1149163"/>
            <a:ext cx="4647570" cy="3147172"/>
          </a:xfrm>
        </p:spPr>
        <p:txBody>
          <a:bodyPr/>
          <a:lstStyle>
            <a:lvl1pPr marL="171387" indent="-171387">
              <a:buFont typeface="Arial" panose="020B0604020202020204" pitchFamily="34" charset="0"/>
              <a:buChar char="•"/>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marL="514161" indent="-171387">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5"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bg1"/>
                </a:solidFill>
                <a:latin typeface="Arial" panose="020B0604020202020204" pitchFamily="34" charset="0"/>
                <a:cs typeface="Arial" panose="020B0604020202020204" pitchFamily="34" charset="0"/>
              </a:rPr>
              <a:pPr/>
              <a:t>‹#›</a:t>
            </a:fld>
            <a:endParaRPr lang="ru-RU" sz="1050" dirty="0">
              <a:solidFill>
                <a:schemeClr val="bg1"/>
              </a:solidFill>
              <a:latin typeface="Arial" panose="020B0604020202020204" pitchFamily="34" charset="0"/>
              <a:cs typeface="Arial" panose="020B0604020202020204" pitchFamily="34" charset="0"/>
            </a:endParaRPr>
          </a:p>
        </p:txBody>
      </p:sp>
      <p:grpSp>
        <p:nvGrpSpPr>
          <p:cNvPr id="8" name="グループ化 4">
            <a:extLst>
              <a:ext uri="{FF2B5EF4-FFF2-40B4-BE49-F238E27FC236}">
                <a16:creationId xmlns:a16="http://schemas.microsoft.com/office/drawing/2014/main" xmlns="" id="{65D4C13C-B917-4107-A702-54B96ACE32DA}"/>
              </a:ext>
            </a:extLst>
          </p:cNvPr>
          <p:cNvGrpSpPr/>
          <p:nvPr userDrawn="1"/>
        </p:nvGrpSpPr>
        <p:grpSpPr>
          <a:xfrm>
            <a:off x="5774896" y="4626000"/>
            <a:ext cx="2044570" cy="326265"/>
            <a:chOff x="5948902" y="244153"/>
            <a:chExt cx="3020520" cy="482004"/>
          </a:xfrm>
        </p:grpSpPr>
        <p:pic>
          <p:nvPicPr>
            <p:cNvPr id="9" name="図 1">
              <a:extLst>
                <a:ext uri="{FF2B5EF4-FFF2-40B4-BE49-F238E27FC236}">
                  <a16:creationId xmlns:a16="http://schemas.microsoft.com/office/drawing/2014/main" xmlns="" id="{8DEC9766-82F1-4D3E-88BF-E9EA4BFE4CC1}"/>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10" name="Picture 26">
              <a:extLst>
                <a:ext uri="{FF2B5EF4-FFF2-40B4-BE49-F238E27FC236}">
                  <a16:creationId xmlns:a16="http://schemas.microsoft.com/office/drawing/2014/main" xmlns="" id="{AA8349A1-444C-4EC7-BB04-A8517F048D58}"/>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11" name="Straight Connector 27">
              <a:extLst>
                <a:ext uri="{FF2B5EF4-FFF2-40B4-BE49-F238E27FC236}">
                  <a16:creationId xmlns:a16="http://schemas.microsoft.com/office/drawing/2014/main" xmlns="" id="{A6D13759-CFC5-48E2-9CCB-A8F3B69F04B5}"/>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186274382"/>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Текст и рисун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91766" y="270203"/>
            <a:ext cx="7027699" cy="647700"/>
          </a:xfrm>
        </p:spPr>
        <p:txBody>
          <a:bodyPr>
            <a:normAutofit/>
          </a:bodyPr>
          <a:lstStyle>
            <a:lvl1pPr>
              <a:defRPr sz="180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7" name="Объект 2"/>
          <p:cNvSpPr>
            <a:spLocks noGrp="1"/>
          </p:cNvSpPr>
          <p:nvPr>
            <p:ph sz="half" idx="1"/>
          </p:nvPr>
        </p:nvSpPr>
        <p:spPr>
          <a:xfrm>
            <a:off x="791766" y="1149166"/>
            <a:ext cx="3509963" cy="3147172"/>
          </a:xfrm>
        </p:spPr>
        <p:txBody>
          <a:bodyPr/>
          <a:lstStyle>
            <a:lvl1pPr marL="214234" marR="0" indent="-214234" algn="l" defTabSz="685549" rtl="0" eaLnBrk="1" fontAlgn="auto" latinLnBrk="0" hangingPunct="1">
              <a:lnSpc>
                <a:spcPct val="90000"/>
              </a:lnSpc>
              <a:spcBef>
                <a:spcPts val="750"/>
              </a:spcBef>
              <a:spcAft>
                <a:spcPts val="0"/>
              </a:spcAft>
              <a:buClrTx/>
              <a:buSzTx/>
              <a:buFont typeface="Arial" panose="020B0604020202020204" pitchFamily="34" charset="0"/>
              <a:buChar char="•"/>
              <a:tabLst/>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marL="557008" indent="-214234">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marL="899782" indent="-214234">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marL="1156863" indent="-128540">
              <a:buFont typeface="Arial" panose="020B0604020202020204" pitchFamily="34" charset="0"/>
              <a:buChar cha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marL="1499637" indent="-128540">
              <a:buFont typeface="Arial" panose="020B0604020202020204" pitchFamily="34" charset="0"/>
              <a:buChar cha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endParaRPr lang="en-US" dirty="0"/>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4" name="Объект 2"/>
          <p:cNvSpPr>
            <a:spLocks noGrp="1"/>
          </p:cNvSpPr>
          <p:nvPr>
            <p:ph sz="half" idx="10"/>
          </p:nvPr>
        </p:nvSpPr>
        <p:spPr>
          <a:xfrm>
            <a:off x="4629150" y="1149164"/>
            <a:ext cx="3723084" cy="3147172"/>
          </a:xfrm>
        </p:spPr>
        <p:txBody>
          <a:bodyPr/>
          <a:lstStyle>
            <a:lvl1pPr marL="171387" indent="-171387">
              <a:buFont typeface="Arial" panose="020B0604020202020204" pitchFamily="34" charset="0"/>
              <a:buChar char="•"/>
              <a:defRPr sz="1200">
                <a:solidFill>
                  <a:schemeClr val="tx1"/>
                </a:solidFill>
                <a:latin typeface="Arial" panose="020B0604020202020204" pitchFamily="34" charset="0"/>
                <a:ea typeface="Verdana" panose="020B0604030504040204" pitchFamily="34" charset="0"/>
                <a:cs typeface="Arial" panose="020B0604020202020204" pitchFamily="34" charset="0"/>
              </a:defRPr>
            </a:lvl1pPr>
            <a:lvl2pPr marL="514161" indent="-171387">
              <a:buFont typeface="Arial" panose="020B0604020202020204" pitchFamily="34" charset="0"/>
              <a:buChar char="•"/>
              <a:defRPr sz="1050">
                <a:solidFill>
                  <a:schemeClr val="tx1"/>
                </a:solidFill>
                <a:latin typeface="Arial" panose="020B0604020202020204" pitchFamily="34" charset="0"/>
                <a:ea typeface="Verdana" panose="020B0604030504040204" pitchFamily="34" charset="0"/>
                <a:cs typeface="Arial" panose="020B0604020202020204" pitchFamily="34" charset="0"/>
              </a:defRPr>
            </a:lvl2pPr>
            <a:lvl3pPr>
              <a:defRPr sz="1050">
                <a:solidFill>
                  <a:schemeClr val="tx1"/>
                </a:solidFill>
                <a:latin typeface="Arial" panose="020B0604020202020204" pitchFamily="34" charset="0"/>
                <a:ea typeface="Verdana" panose="020B0604030504040204" pitchFamily="34" charset="0"/>
                <a:cs typeface="Arial" panose="020B0604020202020204" pitchFamily="34" charset="0"/>
              </a:defRPr>
            </a:lvl3pPr>
            <a:lvl4pPr>
              <a:defRPr sz="900">
                <a:solidFill>
                  <a:schemeClr val="tx1"/>
                </a:solidFill>
                <a:latin typeface="Arial" panose="020B0604020202020204" pitchFamily="34" charset="0"/>
                <a:ea typeface="Verdana" panose="020B0604030504040204" pitchFamily="34" charset="0"/>
                <a:cs typeface="Arial" panose="020B0604020202020204" pitchFamily="34" charset="0"/>
              </a:defRPr>
            </a:lvl4pPr>
            <a:lvl5pPr>
              <a:defRPr sz="900">
                <a:solidFill>
                  <a:schemeClr val="tx1"/>
                </a:solidFill>
                <a:latin typeface="Arial" panose="020B0604020202020204" pitchFamily="34" charset="0"/>
                <a:ea typeface="Verdana" panose="020B060403050404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6"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accent1"/>
                </a:solidFill>
                <a:latin typeface="Arial" panose="020B0604020202020204" pitchFamily="34" charset="0"/>
                <a:cs typeface="Arial" panose="020B0604020202020204" pitchFamily="34" charset="0"/>
              </a:rPr>
              <a:pPr/>
              <a:t>‹#›</a:t>
            </a:fld>
            <a:endParaRPr lang="ru-RU" sz="1050" dirty="0">
              <a:solidFill>
                <a:schemeClr val="accent1"/>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xmlns="" id="{E4836E80-9C3B-4FD9-937E-B6568290EF7D}"/>
              </a:ext>
            </a:extLst>
          </p:cNvPr>
          <p:cNvPicPr>
            <a:picLocks noChangeAspect="1"/>
          </p:cNvPicPr>
          <p:nvPr userDrawn="1"/>
        </p:nvPicPr>
        <p:blipFill>
          <a:blip r:embed="rId2"/>
          <a:stretch>
            <a:fillRect/>
          </a:stretch>
        </p:blipFill>
        <p:spPr>
          <a:xfrm>
            <a:off x="15331" y="0"/>
            <a:ext cx="9113338" cy="5143500"/>
          </a:xfrm>
          <a:prstGeom prst="rect">
            <a:avLst/>
          </a:prstGeom>
        </p:spPr>
      </p:pic>
    </p:spTree>
    <p:extLst>
      <p:ext uri="{BB962C8B-B14F-4D97-AF65-F5344CB8AC3E}">
        <p14:creationId xmlns:p14="http://schemas.microsoft.com/office/powerpoint/2010/main" val="1923817712"/>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Разделитель 1">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sp>
        <p:nvSpPr>
          <p:cNvPr id="2" name="Заголовок 1"/>
          <p:cNvSpPr>
            <a:spLocks noGrp="1"/>
          </p:cNvSpPr>
          <p:nvPr>
            <p:ph type="ctrTitle" hasCustomPrompt="1"/>
          </p:nvPr>
        </p:nvSpPr>
        <p:spPr>
          <a:xfrm>
            <a:off x="2030506" y="1032717"/>
            <a:ext cx="4629711" cy="1968302"/>
          </a:xfrm>
        </p:spPr>
        <p:txBody>
          <a:bodyPr anchor="ctr">
            <a:normAutofit/>
          </a:bodyPr>
          <a:lstStyle>
            <a:lvl1pPr algn="r">
              <a:defRPr sz="2999" b="1" baseline="0">
                <a:solidFill>
                  <a:schemeClr val="tx2"/>
                </a:solidFill>
                <a:latin typeface="+mn-lt"/>
                <a:ea typeface="Verdana" panose="020B0604030504040204" pitchFamily="34" charset="0"/>
                <a:cs typeface="Arial" panose="020B0604020202020204" pitchFamily="34" charset="0"/>
              </a:defRPr>
            </a:lvl1pPr>
          </a:lstStyle>
          <a:p>
            <a:r>
              <a:rPr lang="ru-RU" dirty="0"/>
              <a:t>Спасибо за внимание!</a:t>
            </a:r>
          </a:p>
        </p:txBody>
      </p:sp>
      <p:grpSp>
        <p:nvGrpSpPr>
          <p:cNvPr id="5" name="グループ化 4">
            <a:extLst>
              <a:ext uri="{FF2B5EF4-FFF2-40B4-BE49-F238E27FC236}">
                <a16:creationId xmlns:a16="http://schemas.microsoft.com/office/drawing/2014/main" xmlns="" id="{65D4C13C-B917-4107-A702-54B96ACE32DA}"/>
              </a:ext>
            </a:extLst>
          </p:cNvPr>
          <p:cNvGrpSpPr/>
          <p:nvPr userDrawn="1"/>
        </p:nvGrpSpPr>
        <p:grpSpPr>
          <a:xfrm>
            <a:off x="1150767" y="3450222"/>
            <a:ext cx="3194595" cy="509781"/>
            <a:chOff x="5948902" y="244153"/>
            <a:chExt cx="3020520" cy="482004"/>
          </a:xfrm>
        </p:grpSpPr>
        <p:pic>
          <p:nvPicPr>
            <p:cNvPr id="6" name="図 1">
              <a:extLst>
                <a:ext uri="{FF2B5EF4-FFF2-40B4-BE49-F238E27FC236}">
                  <a16:creationId xmlns:a16="http://schemas.microsoft.com/office/drawing/2014/main" xmlns="" id="{8DEC9766-82F1-4D3E-88BF-E9EA4BFE4CC1}"/>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8" name="Picture 26">
              <a:extLst>
                <a:ext uri="{FF2B5EF4-FFF2-40B4-BE49-F238E27FC236}">
                  <a16:creationId xmlns:a16="http://schemas.microsoft.com/office/drawing/2014/main" xmlns="" id="{AA8349A1-444C-4EC7-BB04-A8517F048D58}"/>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9" name="Straight Connector 27">
              <a:extLst>
                <a:ext uri="{FF2B5EF4-FFF2-40B4-BE49-F238E27FC236}">
                  <a16:creationId xmlns:a16="http://schemas.microsoft.com/office/drawing/2014/main" xmlns="" id="{A6D13759-CFC5-48E2-9CCB-A8F3B69F04B5}"/>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68776555"/>
      </p:ext>
    </p:extLst>
  </p:cSld>
  <p:clrMapOvr>
    <a:masterClrMapping/>
  </p:clrMapOvr>
  <p:extLst>
    <p:ext uri="{DCECCB84-F9BA-43D5-87BE-67443E8EF086}">
      <p15:sldGuideLst xmlns:p15="http://schemas.microsoft.com/office/powerpoint/2012/main" xmlns=""/>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userDrawn="1">
  <p:cSld name="3_DS AZ_Title and Text">
    <p:spTree>
      <p:nvGrpSpPr>
        <p:cNvPr id="1" name=""/>
        <p:cNvGrpSpPr/>
        <p:nvPr/>
      </p:nvGrpSpPr>
      <p:grpSpPr>
        <a:xfrm>
          <a:off x="0" y="0"/>
          <a:ext cx="0" cy="0"/>
          <a:chOff x="0" y="0"/>
          <a:chExt cx="0" cy="0"/>
        </a:xfrm>
      </p:grpSpPr>
      <p:pic>
        <p:nvPicPr>
          <p:cNvPr id="13" name="Picture 26">
            <a:extLst>
              <a:ext uri="{FF2B5EF4-FFF2-40B4-BE49-F238E27FC236}">
                <a16:creationId xmlns:a16="http://schemas.microsoft.com/office/drawing/2014/main" xmlns="" id="{6EC2645F-D684-497B-A967-EDFC3260BE97}"/>
              </a:ext>
            </a:extLst>
          </p:cNvPr>
          <p:cNvPicPr>
            <a:picLocks noChangeAspect="1"/>
          </p:cNvPicPr>
          <p:nvPr userDrawn="1"/>
        </p:nvPicPr>
        <p:blipFill>
          <a:blip r:embed="rId2"/>
          <a:stretch>
            <a:fillRect/>
          </a:stretch>
        </p:blipFill>
        <p:spPr>
          <a:xfrm>
            <a:off x="8214134" y="4786166"/>
            <a:ext cx="872592" cy="234000"/>
          </a:xfrm>
          <a:prstGeom prst="rect">
            <a:avLst/>
          </a:prstGeom>
        </p:spPr>
      </p:pic>
    </p:spTree>
    <p:extLst>
      <p:ext uri="{BB962C8B-B14F-4D97-AF65-F5344CB8AC3E}">
        <p14:creationId xmlns:p14="http://schemas.microsoft.com/office/powerpoint/2010/main" val="3132918759"/>
      </p:ext>
    </p:extLst>
  </p:cSld>
  <p:clrMapOvr>
    <a:masterClrMapping/>
  </p:clrMapOvr>
  <p:extLst>
    <p:ext uri="{DCECCB84-F9BA-43D5-87BE-67443E8EF086}">
      <p15:sldGuideLst xmlns:p15="http://schemas.microsoft.com/office/powerpoint/2012/main" xmlns="">
        <p15:guide id="1" orient="horz" pos="3696">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pic>
        <p:nvPicPr>
          <p:cNvPr id="5" name="Picture 4">
            <a:extLst>
              <a:ext uri="{FF2B5EF4-FFF2-40B4-BE49-F238E27FC236}">
                <a16:creationId xmlns:a16="http://schemas.microsoft.com/office/drawing/2014/main" xmlns="" id="{28ECB46A-3A95-462B-977F-71B26D25A6CB}"/>
              </a:ext>
            </a:extLst>
          </p:cNvPr>
          <p:cNvPicPr>
            <a:picLocks noChangeAspect="1"/>
          </p:cNvPicPr>
          <p:nvPr userDrawn="1"/>
        </p:nvPicPr>
        <p:blipFill>
          <a:blip r:embed="rId2"/>
          <a:stretch>
            <a:fillRect/>
          </a:stretch>
        </p:blipFill>
        <p:spPr>
          <a:xfrm>
            <a:off x="15331" y="0"/>
            <a:ext cx="9113338" cy="5143500"/>
          </a:xfrm>
          <a:prstGeom prst="rect">
            <a:avLst/>
          </a:prstGeom>
        </p:spPr>
      </p:pic>
    </p:spTree>
    <p:extLst>
      <p:ext uri="{BB962C8B-B14F-4D97-AF65-F5344CB8AC3E}">
        <p14:creationId xmlns:p14="http://schemas.microsoft.com/office/powerpoint/2010/main" val="560474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userDrawn="1">
  <p:cSld name="1_DS AZ_Title, Subtitle and Text">
    <p:spTree>
      <p:nvGrpSpPr>
        <p:cNvPr id="1" name=""/>
        <p:cNvGrpSpPr/>
        <p:nvPr/>
      </p:nvGrpSpPr>
      <p:grpSpPr>
        <a:xfrm>
          <a:off x="0" y="0"/>
          <a:ext cx="0" cy="0"/>
          <a:chOff x="0" y="0"/>
          <a:chExt cx="0" cy="0"/>
        </a:xfrm>
      </p:grpSpPr>
      <p:pic>
        <p:nvPicPr>
          <p:cNvPr id="12" name="Picture 26">
            <a:extLst>
              <a:ext uri="{FF2B5EF4-FFF2-40B4-BE49-F238E27FC236}">
                <a16:creationId xmlns:a16="http://schemas.microsoft.com/office/drawing/2014/main" xmlns="" id="{AF81F4B8-DF86-439D-9080-0E104CEC2B7E}"/>
              </a:ext>
            </a:extLst>
          </p:cNvPr>
          <p:cNvPicPr>
            <a:picLocks noChangeAspect="1"/>
          </p:cNvPicPr>
          <p:nvPr userDrawn="1"/>
        </p:nvPicPr>
        <p:blipFill>
          <a:blip r:embed="rId2"/>
          <a:stretch>
            <a:fillRect/>
          </a:stretch>
        </p:blipFill>
        <p:spPr>
          <a:xfrm>
            <a:off x="8214134" y="4786166"/>
            <a:ext cx="872592" cy="234000"/>
          </a:xfrm>
          <a:prstGeom prst="rect">
            <a:avLst/>
          </a:prstGeom>
        </p:spPr>
      </p:pic>
    </p:spTree>
    <p:extLst>
      <p:ext uri="{BB962C8B-B14F-4D97-AF65-F5344CB8AC3E}">
        <p14:creationId xmlns:p14="http://schemas.microsoft.com/office/powerpoint/2010/main" val="1141198842"/>
      </p:ext>
    </p:extLst>
  </p:cSld>
  <p:clrMapOvr>
    <a:masterClrMapping/>
  </p:clrMapOvr>
  <p:extLst>
    <p:ext uri="{DCECCB84-F9BA-43D5-87BE-67443E8EF086}">
      <p15:sldGuideLst xmlns:p15="http://schemas.microsoft.com/office/powerpoint/2012/main" xmlns="">
        <p15:guide id="1" orient="horz" pos="756">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lIns="89293" tIns="44645" rIns="89293" bIns="44645"/>
          <a:lstStyle/>
          <a:p>
            <a:pPr defTabSz="906254"/>
            <a:fld id="{31E57A97-DDC1-479E-B9B6-7CAB349FAE0F}" type="datetimeFigureOut">
              <a:rPr lang="ru-RU" smtClean="0">
                <a:solidFill>
                  <a:prstClr val="black"/>
                </a:solidFill>
              </a:rPr>
              <a:pPr defTabSz="906254"/>
              <a:t>29.06.2023</a:t>
            </a:fld>
            <a:endParaRPr lang="ru-RU">
              <a:solidFill>
                <a:prstClr val="black"/>
              </a:solidFill>
            </a:endParaRPr>
          </a:p>
        </p:txBody>
      </p:sp>
      <p:pic>
        <p:nvPicPr>
          <p:cNvPr id="6" name="Picture 5">
            <a:extLst>
              <a:ext uri="{FF2B5EF4-FFF2-40B4-BE49-F238E27FC236}">
                <a16:creationId xmlns:a16="http://schemas.microsoft.com/office/drawing/2014/main" xmlns="" id="{B37C744D-B8D2-40CA-A2E7-270607B400CF}"/>
              </a:ext>
            </a:extLst>
          </p:cNvPr>
          <p:cNvPicPr>
            <a:picLocks noChangeAspect="1"/>
          </p:cNvPicPr>
          <p:nvPr userDrawn="1"/>
        </p:nvPicPr>
        <p:blipFill>
          <a:blip r:embed="rId2"/>
          <a:stretch>
            <a:fillRect/>
          </a:stretch>
        </p:blipFill>
        <p:spPr>
          <a:xfrm>
            <a:off x="15331" y="0"/>
            <a:ext cx="9113338" cy="5143500"/>
          </a:xfrm>
          <a:prstGeom prst="rect">
            <a:avLst/>
          </a:prstGeom>
        </p:spPr>
      </p:pic>
    </p:spTree>
    <p:extLst>
      <p:ext uri="{BB962C8B-B14F-4D97-AF65-F5344CB8AC3E}">
        <p14:creationId xmlns:p14="http://schemas.microsoft.com/office/powerpoint/2010/main" val="2152729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chemeClr val="tx2"/>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74646834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2_Текст и рисунок">
    <p:spTree>
      <p:nvGrpSpPr>
        <p:cNvPr id="1" name=""/>
        <p:cNvGrpSpPr/>
        <p:nvPr/>
      </p:nvGrpSpPr>
      <p:grpSpPr>
        <a:xfrm>
          <a:off x="0" y="0"/>
          <a:ext cx="0" cy="0"/>
          <a:chOff x="0" y="0"/>
          <a:chExt cx="0" cy="0"/>
        </a:xfrm>
      </p:grpSpPr>
      <p:sp>
        <p:nvSpPr>
          <p:cNvPr id="16"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accent1"/>
                </a:solidFill>
                <a:latin typeface="Arial" panose="020B0604020202020204" pitchFamily="34" charset="0"/>
                <a:cs typeface="Arial" panose="020B0604020202020204" pitchFamily="34" charset="0"/>
              </a:rPr>
              <a:pPr/>
              <a:t>‹#›</a:t>
            </a:fld>
            <a:endParaRPr lang="ru-RU" sz="1050" dirty="0">
              <a:solidFill>
                <a:schemeClr val="accent1"/>
              </a:solidFill>
              <a:latin typeface="Arial" panose="020B0604020202020204" pitchFamily="34" charset="0"/>
              <a:cs typeface="Arial" panose="020B0604020202020204" pitchFamily="34" charset="0"/>
            </a:endParaRPr>
          </a:p>
        </p:txBody>
      </p:sp>
      <p:sp>
        <p:nvSpPr>
          <p:cNvPr id="12" name="Заголовок 1">
            <a:extLst>
              <a:ext uri="{FF2B5EF4-FFF2-40B4-BE49-F238E27FC236}">
                <a16:creationId xmlns:a16="http://schemas.microsoft.com/office/drawing/2014/main" xmlns="" id="{41EAA694-9EA7-1303-06B9-929E5B0C02AE}"/>
              </a:ext>
            </a:extLst>
          </p:cNvPr>
          <p:cNvSpPr>
            <a:spLocks noGrp="1"/>
          </p:cNvSpPr>
          <p:nvPr>
            <p:ph type="title"/>
          </p:nvPr>
        </p:nvSpPr>
        <p:spPr>
          <a:xfrm>
            <a:off x="587484" y="140591"/>
            <a:ext cx="7027699"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pic>
        <p:nvPicPr>
          <p:cNvPr id="4" name="Picture 3">
            <a:extLst>
              <a:ext uri="{FF2B5EF4-FFF2-40B4-BE49-F238E27FC236}">
                <a16:creationId xmlns:a16="http://schemas.microsoft.com/office/drawing/2014/main" xmlns="" id="{11034835-10CF-4EDC-90BE-9E63B8EBB897}"/>
              </a:ext>
            </a:extLst>
          </p:cNvPr>
          <p:cNvPicPr>
            <a:picLocks noChangeAspect="1"/>
          </p:cNvPicPr>
          <p:nvPr userDrawn="1"/>
        </p:nvPicPr>
        <p:blipFill>
          <a:blip r:embed="rId2"/>
          <a:stretch>
            <a:fillRect/>
          </a:stretch>
        </p:blipFill>
        <p:spPr>
          <a:xfrm>
            <a:off x="7658342" y="67963"/>
            <a:ext cx="1443038" cy="792956"/>
          </a:xfrm>
          <a:prstGeom prst="rect">
            <a:avLst/>
          </a:prstGeom>
        </p:spPr>
      </p:pic>
      <p:pic>
        <p:nvPicPr>
          <p:cNvPr id="3" name="Picture 2">
            <a:extLst>
              <a:ext uri="{FF2B5EF4-FFF2-40B4-BE49-F238E27FC236}">
                <a16:creationId xmlns:a16="http://schemas.microsoft.com/office/drawing/2014/main" xmlns="" id="{1F67F4B2-B0F9-4B81-8566-15A08C22AC56}"/>
              </a:ext>
            </a:extLst>
          </p:cNvPr>
          <p:cNvPicPr>
            <a:picLocks noChangeAspect="1"/>
          </p:cNvPicPr>
          <p:nvPr userDrawn="1"/>
        </p:nvPicPr>
        <p:blipFill>
          <a:blip r:embed="rId3"/>
          <a:stretch>
            <a:fillRect/>
          </a:stretch>
        </p:blipFill>
        <p:spPr>
          <a:xfrm>
            <a:off x="15331" y="0"/>
            <a:ext cx="9113338" cy="5143500"/>
          </a:xfrm>
          <a:prstGeom prst="rect">
            <a:avLst/>
          </a:prstGeom>
        </p:spPr>
      </p:pic>
    </p:spTree>
    <p:extLst>
      <p:ext uri="{BB962C8B-B14F-4D97-AF65-F5344CB8AC3E}">
        <p14:creationId xmlns:p14="http://schemas.microsoft.com/office/powerpoint/2010/main" val="302445442"/>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userDrawn="1">
  <p:cSld name="2_DS AZ_Title, Subtitle and Tex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304800" y="144000"/>
            <a:ext cx="8524875" cy="504000"/>
          </a:xfrm>
          <a:prstGeom prst="rect">
            <a:avLst/>
          </a:prstGeom>
        </p:spPr>
        <p:txBody>
          <a:bodyPr vert="horz" lIns="0" rtlCol="0"/>
          <a:lstStyle>
            <a:lvl1pPr algn="l">
              <a:defRPr sz="2399" b="1" baseline="0">
                <a:solidFill>
                  <a:schemeClr val="tx2"/>
                </a:solidFill>
                <a:latin typeface="Arial" pitchFamily="34" charset="0"/>
                <a:cs typeface="Arial" pitchFamily="34" charset="0"/>
              </a:defRPr>
            </a:lvl1pPr>
          </a:lstStyle>
          <a:p>
            <a:pPr rtl="0"/>
            <a:r>
              <a:rPr lang="ru" noProof="0"/>
              <a:t>Click to add slide title</a:t>
            </a:r>
          </a:p>
        </p:txBody>
      </p:sp>
      <p:sp>
        <p:nvSpPr>
          <p:cNvPr id="8" name="Text Placeholder 7">
            <a:extLst>
              <a:ext uri="{FF2B5EF4-FFF2-40B4-BE49-F238E27FC236}">
                <a16:creationId xmlns:a16="http://schemas.microsoft.com/office/drawing/2014/main" xmlns="" id="{B12EC8AA-523E-4C27-980C-E290647A9431}"/>
              </a:ext>
            </a:extLst>
          </p:cNvPr>
          <p:cNvSpPr>
            <a:spLocks noGrp="1"/>
          </p:cNvSpPr>
          <p:nvPr>
            <p:ph type="body" sz="quarter" idx="11" hasCustomPrompt="1"/>
          </p:nvPr>
        </p:nvSpPr>
        <p:spPr>
          <a:xfrm>
            <a:off x="304801" y="1200152"/>
            <a:ext cx="8524875" cy="3319200"/>
          </a:xfrm>
          <a:prstGeom prst="rect">
            <a:avLst/>
          </a:prstGeom>
        </p:spPr>
        <p:txBody>
          <a:bodyPr lIns="0" rtlCol="0"/>
          <a:lstStyle>
            <a:lvl1pPr marL="0" indent="0">
              <a:buNone/>
              <a:defRPr sz="2399">
                <a:solidFill>
                  <a:schemeClr val="tx2"/>
                </a:solidFill>
              </a:defRPr>
            </a:lvl1pPr>
            <a:lvl2pPr marL="228517" indent="-228517">
              <a:buClr>
                <a:schemeClr val="accent3"/>
              </a:buClr>
              <a:buFont typeface="Arial" panose="020B0604020202020204" pitchFamily="34" charset="0"/>
              <a:buChar char="•"/>
              <a:defRPr sz="1999">
                <a:solidFill>
                  <a:schemeClr val="tx2"/>
                </a:solidFill>
              </a:defRPr>
            </a:lvl2pPr>
            <a:lvl3pPr marL="457032" indent="-228517">
              <a:buClr>
                <a:schemeClr val="accent3"/>
              </a:buClr>
              <a:buFont typeface="Arial" panose="020B0604020202020204" pitchFamily="34" charset="0"/>
              <a:buChar char="–"/>
              <a:defRPr sz="1800">
                <a:solidFill>
                  <a:schemeClr val="tx2"/>
                </a:solidFill>
              </a:defRPr>
            </a:lvl3pPr>
            <a:lvl4pPr marL="685549" indent="-228517">
              <a:buClr>
                <a:schemeClr val="accent3"/>
              </a:buClr>
              <a:buFont typeface="Arial" panose="020B0604020202020204" pitchFamily="34" charset="0"/>
              <a:buChar char="•"/>
              <a:defRPr sz="1599">
                <a:solidFill>
                  <a:schemeClr val="tx2"/>
                </a:solidFill>
              </a:defRPr>
            </a:lvl4pPr>
            <a:lvl5pPr marL="914065" indent="-228517">
              <a:buClr>
                <a:schemeClr val="accent3"/>
              </a:buClr>
              <a:buFont typeface="Arial" panose="020B0604020202020204" pitchFamily="34" charset="0"/>
              <a:buChar char="–"/>
              <a:defRPr sz="1599">
                <a:solidFill>
                  <a:schemeClr val="tx2"/>
                </a:solidFill>
              </a:defRPr>
            </a:lvl5pPr>
          </a:lstStyle>
          <a:p>
            <a:pPr lvl="0" rtl="0"/>
            <a:r>
              <a:rPr lang="ru"/>
              <a:t>First level</a:t>
            </a:r>
          </a:p>
          <a:p>
            <a:pPr lvl="1" rtl="0"/>
            <a:r>
              <a:rPr lang="ru"/>
              <a:t>Second level</a:t>
            </a:r>
          </a:p>
          <a:p>
            <a:pPr lvl="2" rtl="0"/>
            <a:r>
              <a:rPr lang="ru"/>
              <a:t>Third level</a:t>
            </a:r>
          </a:p>
          <a:p>
            <a:pPr lvl="3" rtl="0"/>
            <a:r>
              <a:rPr lang="ru"/>
              <a:t>Fourth level</a:t>
            </a:r>
          </a:p>
          <a:p>
            <a:pPr lvl="4" rtl="0"/>
            <a:r>
              <a:rPr lang="ru"/>
              <a:t>Fifth level</a:t>
            </a:r>
          </a:p>
        </p:txBody>
      </p:sp>
      <p:sp>
        <p:nvSpPr>
          <p:cNvPr id="11" name="Subtitle 2">
            <a:extLst>
              <a:ext uri="{FF2B5EF4-FFF2-40B4-BE49-F238E27FC236}">
                <a16:creationId xmlns:a16="http://schemas.microsoft.com/office/drawing/2014/main" xmlns="" id="{5573EA1D-36B3-4FBF-A4F4-714A441EDA4F}"/>
              </a:ext>
            </a:extLst>
          </p:cNvPr>
          <p:cNvSpPr>
            <a:spLocks noGrp="1"/>
          </p:cNvSpPr>
          <p:nvPr>
            <p:ph type="subTitle" idx="12" hasCustomPrompt="1"/>
          </p:nvPr>
        </p:nvSpPr>
        <p:spPr>
          <a:xfrm>
            <a:off x="304800" y="672063"/>
            <a:ext cx="8524874" cy="212704"/>
          </a:xfrm>
          <a:prstGeom prst="rect">
            <a:avLst/>
          </a:prstGeom>
        </p:spPr>
        <p:txBody>
          <a:bodyPr lIns="0" rtlCol="0" anchor="ctr"/>
          <a:lstStyle>
            <a:lvl1pPr marL="0" indent="0" algn="l">
              <a:lnSpc>
                <a:spcPct val="100000"/>
              </a:lnSpc>
              <a:spcBef>
                <a:spcPts val="0"/>
              </a:spcBef>
              <a:buNone/>
              <a:defRPr sz="1999">
                <a:solidFill>
                  <a:schemeClr val="tx1">
                    <a:lumMod val="50000"/>
                    <a:lumOff val="50000"/>
                  </a:schemeClr>
                </a:solidFill>
                <a:latin typeface="Arial" pitchFamily="34" charset="0"/>
                <a:cs typeface="Arial" pitchFamily="34" charset="0"/>
              </a:defRPr>
            </a:lvl1pPr>
            <a:lvl2pPr marL="342774" indent="0" algn="ctr">
              <a:buNone/>
              <a:defRPr>
                <a:solidFill>
                  <a:schemeClr val="tx1">
                    <a:tint val="75000"/>
                  </a:schemeClr>
                </a:solidFill>
              </a:defRPr>
            </a:lvl2pPr>
            <a:lvl3pPr marL="685549" indent="0" algn="ctr">
              <a:buNone/>
              <a:defRPr>
                <a:solidFill>
                  <a:schemeClr val="tx1">
                    <a:tint val="75000"/>
                  </a:schemeClr>
                </a:solidFill>
              </a:defRPr>
            </a:lvl3pPr>
            <a:lvl4pPr marL="1028323" indent="0" algn="ctr">
              <a:buNone/>
              <a:defRPr>
                <a:solidFill>
                  <a:schemeClr val="tx1">
                    <a:tint val="75000"/>
                  </a:schemeClr>
                </a:solidFill>
              </a:defRPr>
            </a:lvl4pPr>
            <a:lvl5pPr marL="1371097" indent="0" algn="ctr">
              <a:buNone/>
              <a:defRPr>
                <a:solidFill>
                  <a:schemeClr val="tx1">
                    <a:tint val="75000"/>
                  </a:schemeClr>
                </a:solidFill>
              </a:defRPr>
            </a:lvl5pPr>
            <a:lvl6pPr marL="1713871" indent="0" algn="ctr">
              <a:buNone/>
              <a:defRPr>
                <a:solidFill>
                  <a:schemeClr val="tx1">
                    <a:tint val="75000"/>
                  </a:schemeClr>
                </a:solidFill>
              </a:defRPr>
            </a:lvl6pPr>
            <a:lvl7pPr marL="2056646" indent="0" algn="ctr">
              <a:buNone/>
              <a:defRPr>
                <a:solidFill>
                  <a:schemeClr val="tx1">
                    <a:tint val="75000"/>
                  </a:schemeClr>
                </a:solidFill>
              </a:defRPr>
            </a:lvl7pPr>
            <a:lvl8pPr marL="2399420" indent="0" algn="ctr">
              <a:buNone/>
              <a:defRPr>
                <a:solidFill>
                  <a:schemeClr val="tx1">
                    <a:tint val="75000"/>
                  </a:schemeClr>
                </a:solidFill>
              </a:defRPr>
            </a:lvl8pPr>
            <a:lvl9pPr marL="2742194" indent="0" algn="ctr">
              <a:buNone/>
              <a:defRPr>
                <a:solidFill>
                  <a:schemeClr val="tx1">
                    <a:tint val="75000"/>
                  </a:schemeClr>
                </a:solidFill>
              </a:defRPr>
            </a:lvl9pPr>
          </a:lstStyle>
          <a:p>
            <a:pPr rtl="0"/>
            <a:r>
              <a:rPr lang="ru" noProof="0"/>
              <a:t>Click to add subtitle</a:t>
            </a:r>
          </a:p>
        </p:txBody>
      </p:sp>
      <p:pic>
        <p:nvPicPr>
          <p:cNvPr id="3" name="Picture 2">
            <a:extLst>
              <a:ext uri="{FF2B5EF4-FFF2-40B4-BE49-F238E27FC236}">
                <a16:creationId xmlns:a16="http://schemas.microsoft.com/office/drawing/2014/main" xmlns="" id="{644325C4-B72B-4C3E-8A80-011789714281}"/>
              </a:ext>
            </a:extLst>
          </p:cNvPr>
          <p:cNvPicPr>
            <a:picLocks noChangeAspect="1"/>
          </p:cNvPicPr>
          <p:nvPr userDrawn="1"/>
        </p:nvPicPr>
        <p:blipFill>
          <a:blip r:embed="rId2"/>
          <a:stretch>
            <a:fillRect/>
          </a:stretch>
        </p:blipFill>
        <p:spPr>
          <a:xfrm>
            <a:off x="15331" y="0"/>
            <a:ext cx="9113338" cy="5143500"/>
          </a:xfrm>
          <a:prstGeom prst="rect">
            <a:avLst/>
          </a:prstGeom>
        </p:spPr>
      </p:pic>
    </p:spTree>
    <p:extLst>
      <p:ext uri="{BB962C8B-B14F-4D97-AF65-F5344CB8AC3E}">
        <p14:creationId xmlns:p14="http://schemas.microsoft.com/office/powerpoint/2010/main" val="2067210058"/>
      </p:ext>
    </p:extLst>
  </p:cSld>
  <p:clrMapOvr>
    <a:masterClrMapping/>
  </p:clrMapOvr>
  <p:extLst>
    <p:ext uri="{DCECCB84-F9BA-43D5-87BE-67443E8EF086}">
      <p15:sldGuideLst xmlns:p15="http://schemas.microsoft.com/office/powerpoint/2012/main" xmlns="">
        <p15:guide id="1" orient="horz" pos="307">
          <p15:clr>
            <a:srgbClr val="FBAE40"/>
          </p15:clr>
        </p15:guide>
        <p15:guide id="2" orient="horz" pos="549">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userDrawn="1">
  <p:cSld name="1_DS AZ_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E752D9-1185-1E4B-9AB3-342AFC1DD269}"/>
              </a:ext>
            </a:extLst>
          </p:cNvPr>
          <p:cNvSpPr>
            <a:spLocks noGrp="1"/>
          </p:cNvSpPr>
          <p:nvPr>
            <p:ph type="title"/>
          </p:nvPr>
        </p:nvSpPr>
        <p:spPr/>
        <p:txBody>
          <a:bodyPr rtlCol="0"/>
          <a:lstStyle>
            <a:lvl1pPr algn="l">
              <a:defRPr/>
            </a:lvl1pPr>
          </a:lstStyle>
          <a:p>
            <a:pPr rtl="0"/>
            <a:r>
              <a:rPr lang="ru"/>
              <a:t>Click to edit Master title style</a:t>
            </a:r>
          </a:p>
        </p:txBody>
      </p:sp>
      <p:sp>
        <p:nvSpPr>
          <p:cNvPr id="10" name="Content Placeholder 9">
            <a:extLst>
              <a:ext uri="{FF2B5EF4-FFF2-40B4-BE49-F238E27FC236}">
                <a16:creationId xmlns:a16="http://schemas.microsoft.com/office/drawing/2014/main" xmlns="" id="{B3FB1982-363B-AB4A-9EB5-44272D4947B3}"/>
              </a:ext>
            </a:extLst>
          </p:cNvPr>
          <p:cNvSpPr>
            <a:spLocks noGrp="1"/>
          </p:cNvSpPr>
          <p:nvPr>
            <p:ph sz="quarter" idx="14"/>
          </p:nvPr>
        </p:nvSpPr>
        <p:spPr>
          <a:xfrm>
            <a:off x="304800" y="922714"/>
            <a:ext cx="8534400" cy="3433151"/>
          </a:xfrm>
          <a:prstGeom prst="rect">
            <a:avLst/>
          </a:prstGeom>
        </p:spPr>
        <p:txBody>
          <a:bodyPr lIns="0" rIns="0" rtlCol="0"/>
          <a:lstStyle>
            <a:lvl1pPr marL="342767" indent="-342767">
              <a:defRPr kumimoji="1" lang="en-US" sz="1999" kern="1200" dirty="0" smtClean="0">
                <a:solidFill>
                  <a:schemeClr val="tx2"/>
                </a:solidFill>
                <a:latin typeface="+mn-lt"/>
                <a:ea typeface="+mn-ea"/>
                <a:cs typeface="+mn-cs"/>
              </a:defRPr>
            </a:lvl1pPr>
            <a:lvl2pPr marL="685532" indent="-457021">
              <a:defRPr/>
            </a:lvl2pPr>
            <a:lvl3pPr marL="742659" indent="-285639">
              <a:defRPr kumimoji="1" lang="en-US" sz="1800" kern="1200" dirty="0" smtClean="0">
                <a:solidFill>
                  <a:schemeClr val="tx2"/>
                </a:solidFill>
                <a:latin typeface="+mn-lt"/>
                <a:ea typeface="+mn-ea"/>
                <a:cs typeface="+mn-cs"/>
              </a:defRPr>
            </a:lvl3pPr>
            <a:lvl4pPr marL="971169" indent="-285639">
              <a:defRPr kumimoji="1" lang="en-US" sz="1399" kern="1200" dirty="0" smtClean="0">
                <a:solidFill>
                  <a:schemeClr val="tx2"/>
                </a:solidFill>
                <a:latin typeface="+mn-lt"/>
                <a:ea typeface="+mn-ea"/>
                <a:cs typeface="+mn-cs"/>
              </a:defRPr>
            </a:lvl4pPr>
            <a:lvl5pPr>
              <a:defRPr kumimoji="1" lang="en-US" sz="1399" kern="1200" dirty="0" smtClean="0">
                <a:solidFill>
                  <a:schemeClr val="tx2"/>
                </a:solidFill>
                <a:latin typeface="+mn-lt"/>
                <a:ea typeface="+mn-ea"/>
                <a:cs typeface="+mn-cs"/>
              </a:defRPr>
            </a:lvl5pPr>
          </a:lstStyle>
          <a:p>
            <a:pPr marL="342767" lvl="0" indent="-342767" algn="l" defTabSz="457021" rtl="0" eaLnBrk="1" latinLnBrk="0" hangingPunct="1">
              <a:spcBef>
                <a:spcPct val="20000"/>
              </a:spcBef>
              <a:spcAft>
                <a:spcPts val="600"/>
              </a:spcAft>
              <a:buClr>
                <a:schemeClr val="accent3"/>
              </a:buClr>
              <a:buFont typeface="Arial" panose="020B0604020202020204" pitchFamily="34" charset="0"/>
              <a:buChar char="•"/>
            </a:pPr>
            <a:r>
              <a:rPr lang="ru"/>
              <a:t>Click to edit Master text styles</a:t>
            </a:r>
          </a:p>
          <a:p>
            <a:pPr marL="457021" lvl="2" indent="-228511" algn="l" defTabSz="457021" rtl="0" eaLnBrk="1" latinLnBrk="0" hangingPunct="1">
              <a:spcBef>
                <a:spcPct val="20000"/>
              </a:spcBef>
              <a:spcAft>
                <a:spcPts val="600"/>
              </a:spcAft>
              <a:buClr>
                <a:schemeClr val="accent3"/>
              </a:buClr>
              <a:buFont typeface="Arial" panose="020B0604020202020204" pitchFamily="34" charset="0"/>
              <a:buChar char="–"/>
            </a:pPr>
            <a:r>
              <a:rPr lang="ru"/>
              <a:t>Second level</a:t>
            </a:r>
          </a:p>
          <a:p>
            <a:pPr marL="685532" lvl="3" indent="-228511" algn="l" defTabSz="457021" rtl="0" eaLnBrk="1" latinLnBrk="0" hangingPunct="1">
              <a:spcBef>
                <a:spcPct val="20000"/>
              </a:spcBef>
              <a:spcAft>
                <a:spcPts val="600"/>
              </a:spcAft>
              <a:buClr>
                <a:schemeClr val="accent3"/>
              </a:buClr>
              <a:buFont typeface="Arial" panose="020B0604020202020204" pitchFamily="34" charset="0"/>
              <a:buChar char="•"/>
            </a:pPr>
            <a:r>
              <a:rPr lang="ru"/>
              <a:t>Third level</a:t>
            </a:r>
          </a:p>
          <a:p>
            <a:pPr marL="914043" lvl="4" indent="-228511" algn="l" defTabSz="457021" rtl="0" eaLnBrk="1" latinLnBrk="0" hangingPunct="1">
              <a:spcBef>
                <a:spcPct val="20000"/>
              </a:spcBef>
              <a:spcAft>
                <a:spcPts val="600"/>
              </a:spcAft>
              <a:buClr>
                <a:schemeClr val="accent3"/>
              </a:buClr>
              <a:buFont typeface="Arial" panose="020B0604020202020204" pitchFamily="34" charset="0"/>
              <a:buChar char="–"/>
            </a:pPr>
            <a:r>
              <a:rPr lang="ru"/>
              <a:t>Fourth level</a:t>
            </a:r>
          </a:p>
        </p:txBody>
      </p:sp>
      <p:sp>
        <p:nvSpPr>
          <p:cNvPr id="6" name="Text Placeholder 5">
            <a:extLst>
              <a:ext uri="{FF2B5EF4-FFF2-40B4-BE49-F238E27FC236}">
                <a16:creationId xmlns:a16="http://schemas.microsoft.com/office/drawing/2014/main" xmlns="" id="{3AE93CBC-F69F-0748-A4F6-0B2237F889B4}"/>
              </a:ext>
            </a:extLst>
          </p:cNvPr>
          <p:cNvSpPr>
            <a:spLocks noGrp="1"/>
          </p:cNvSpPr>
          <p:nvPr>
            <p:ph type="body" sz="quarter" idx="15" hasCustomPrompt="1"/>
          </p:nvPr>
        </p:nvSpPr>
        <p:spPr>
          <a:xfrm>
            <a:off x="314326" y="4405979"/>
            <a:ext cx="8829675" cy="274638"/>
          </a:xfrm>
          <a:prstGeom prst="rect">
            <a:avLst/>
          </a:prstGeom>
        </p:spPr>
        <p:txBody>
          <a:bodyPr lIns="0" rIns="0" rtlCol="0" anchor="b"/>
          <a:lstStyle>
            <a:lvl1pPr marL="0" indent="0">
              <a:buFont typeface="Arial" panose="020B0604020202020204" pitchFamily="34" charset="0"/>
              <a:buNone/>
              <a:defRPr sz="600">
                <a:solidFill>
                  <a:schemeClr val="tx1"/>
                </a:solidFill>
              </a:defRPr>
            </a:lvl1pPr>
          </a:lstStyle>
          <a:p>
            <a:pPr lvl="0" rtl="0"/>
            <a:r>
              <a:rPr lang="ru"/>
              <a:t>Footnotes, acronyms</a:t>
            </a:r>
          </a:p>
        </p:txBody>
      </p:sp>
      <p:sp>
        <p:nvSpPr>
          <p:cNvPr id="13" name="Slide Number Placeholder 1">
            <a:extLst>
              <a:ext uri="{FF2B5EF4-FFF2-40B4-BE49-F238E27FC236}">
                <a16:creationId xmlns:a16="http://schemas.microsoft.com/office/drawing/2014/main" xmlns="" id="{3B01ED6B-594D-BC4C-AF53-EC8178B835AE}"/>
              </a:ext>
            </a:extLst>
          </p:cNvPr>
          <p:cNvSpPr>
            <a:spLocks noGrp="1"/>
          </p:cNvSpPr>
          <p:nvPr>
            <p:ph type="sldNum" sz="quarter" idx="11"/>
          </p:nvPr>
        </p:nvSpPr>
        <p:spPr>
          <a:xfrm>
            <a:off x="8433675" y="4880610"/>
            <a:ext cx="396000" cy="151004"/>
          </a:xfrm>
          <a:prstGeom prst="rect">
            <a:avLst/>
          </a:prstGeom>
        </p:spPr>
        <p:txBody>
          <a:bodyPr rtlCol="0" anchor="ctr"/>
          <a:lstStyle>
            <a:lvl1pPr algn="r">
              <a:defRPr sz="999">
                <a:solidFill>
                  <a:schemeClr val="accent6">
                    <a:lumMod val="50000"/>
                  </a:schemeClr>
                </a:solidFill>
              </a:defRPr>
            </a:lvl1pPr>
          </a:lstStyle>
          <a:p>
            <a:pPr rtl="0"/>
            <a:fld id="{3C4F54F3-C349-4609-AFEE-01462D5C7942}" type="slidenum">
              <a:rPr lang="en-GB" smtClean="0"/>
              <a:pPr rtl="0"/>
              <a:t>‹#›</a:t>
            </a:fld>
            <a:endParaRPr lang="en-GB" dirty="0"/>
          </a:p>
        </p:txBody>
      </p:sp>
      <p:pic>
        <p:nvPicPr>
          <p:cNvPr id="4" name="Picture 3">
            <a:extLst>
              <a:ext uri="{FF2B5EF4-FFF2-40B4-BE49-F238E27FC236}">
                <a16:creationId xmlns:a16="http://schemas.microsoft.com/office/drawing/2014/main" xmlns="" id="{8B87B9F8-F1A8-4B1D-A18C-917780CE8087}"/>
              </a:ext>
            </a:extLst>
          </p:cNvPr>
          <p:cNvPicPr>
            <a:picLocks noChangeAspect="1"/>
          </p:cNvPicPr>
          <p:nvPr userDrawn="1"/>
        </p:nvPicPr>
        <p:blipFill>
          <a:blip r:embed="rId2"/>
          <a:stretch>
            <a:fillRect/>
          </a:stretch>
        </p:blipFill>
        <p:spPr>
          <a:xfrm>
            <a:off x="15331" y="0"/>
            <a:ext cx="9113338" cy="5143500"/>
          </a:xfrm>
          <a:prstGeom prst="rect">
            <a:avLst/>
          </a:prstGeom>
        </p:spPr>
      </p:pic>
    </p:spTree>
    <p:extLst>
      <p:ext uri="{BB962C8B-B14F-4D97-AF65-F5344CB8AC3E}">
        <p14:creationId xmlns:p14="http://schemas.microsoft.com/office/powerpoint/2010/main" val="1884490751"/>
      </p:ext>
    </p:extLst>
  </p:cSld>
  <p:clrMapOvr>
    <a:masterClrMapping/>
  </p:clrMapOvr>
  <p:extLst>
    <p:ext uri="{DCECCB84-F9BA-43D5-87BE-67443E8EF086}">
      <p15:sldGuideLst xmlns:p15="http://schemas.microsoft.com/office/powerpoint/2012/main" xmlns="">
        <p15:guide id="1" orient="horz" pos="1007">
          <p15:clr>
            <a:srgbClr val="FBAE40"/>
          </p15:clr>
        </p15:guide>
        <p15:guide id="2" orient="horz" pos="3691">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3_Текст и рисунок">
    <p:spTree>
      <p:nvGrpSpPr>
        <p:cNvPr id="1" name=""/>
        <p:cNvGrpSpPr/>
        <p:nvPr/>
      </p:nvGrpSpPr>
      <p:grpSpPr>
        <a:xfrm>
          <a:off x="0" y="0"/>
          <a:ext cx="0" cy="0"/>
          <a:chOff x="0" y="0"/>
          <a:chExt cx="0" cy="0"/>
        </a:xfrm>
      </p:grpSpPr>
      <p:sp>
        <p:nvSpPr>
          <p:cNvPr id="16"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accent1"/>
                </a:solidFill>
                <a:latin typeface="Arial" panose="020B0604020202020204" pitchFamily="34" charset="0"/>
                <a:cs typeface="Arial" panose="020B0604020202020204" pitchFamily="34" charset="0"/>
              </a:rPr>
              <a:pPr/>
              <a:t>‹#›</a:t>
            </a:fld>
            <a:endParaRPr lang="ru-RU" sz="1050" dirty="0">
              <a:solidFill>
                <a:schemeClr val="accent1"/>
              </a:solidFill>
              <a:latin typeface="Arial" panose="020B0604020202020204" pitchFamily="34" charset="0"/>
              <a:cs typeface="Arial" panose="020B0604020202020204" pitchFamily="34" charset="0"/>
            </a:endParaRPr>
          </a:p>
        </p:txBody>
      </p:sp>
      <p:pic>
        <p:nvPicPr>
          <p:cNvPr id="14" name="Рисунок 11">
            <a:extLst>
              <a:ext uri="{FF2B5EF4-FFF2-40B4-BE49-F238E27FC236}">
                <a16:creationId xmlns:a16="http://schemas.microsoft.com/office/drawing/2014/main" xmlns="" id="{F390D758-03DE-4AF7-9149-846D447EDB19}"/>
              </a:ext>
            </a:extLst>
          </p:cNvPr>
          <p:cNvPicPr>
            <a:picLocks noChangeAspect="1"/>
          </p:cNvPicPr>
          <p:nvPr userDrawn="1"/>
        </p:nvPicPr>
        <p:blipFill>
          <a:blip r:embed="rId2"/>
          <a:stretch>
            <a:fillRect/>
          </a:stretch>
        </p:blipFill>
        <p:spPr>
          <a:xfrm>
            <a:off x="6976921" y="209456"/>
            <a:ext cx="1045510" cy="257706"/>
          </a:xfrm>
          <a:prstGeom prst="rect">
            <a:avLst/>
          </a:prstGeom>
        </p:spPr>
      </p:pic>
      <p:pic>
        <p:nvPicPr>
          <p:cNvPr id="3" name="Picture 2">
            <a:extLst>
              <a:ext uri="{FF2B5EF4-FFF2-40B4-BE49-F238E27FC236}">
                <a16:creationId xmlns:a16="http://schemas.microsoft.com/office/drawing/2014/main" xmlns="" id="{172FDC55-1168-4A9D-BA71-431E8C940E21}"/>
              </a:ext>
            </a:extLst>
          </p:cNvPr>
          <p:cNvPicPr>
            <a:picLocks noChangeAspect="1"/>
          </p:cNvPicPr>
          <p:nvPr userDrawn="1"/>
        </p:nvPicPr>
        <p:blipFill>
          <a:blip r:embed="rId3"/>
          <a:stretch>
            <a:fillRect/>
          </a:stretch>
        </p:blipFill>
        <p:spPr>
          <a:xfrm>
            <a:off x="30067" y="0"/>
            <a:ext cx="9083865" cy="5143500"/>
          </a:xfrm>
          <a:prstGeom prst="rect">
            <a:avLst/>
          </a:prstGeom>
        </p:spPr>
      </p:pic>
    </p:spTree>
    <p:extLst>
      <p:ext uri="{BB962C8B-B14F-4D97-AF65-F5344CB8AC3E}">
        <p14:creationId xmlns:p14="http://schemas.microsoft.com/office/powerpoint/2010/main" val="3933856179"/>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4_Текст и рисунок">
    <p:spTree>
      <p:nvGrpSpPr>
        <p:cNvPr id="1" name=""/>
        <p:cNvGrpSpPr/>
        <p:nvPr/>
      </p:nvGrpSpPr>
      <p:grpSpPr>
        <a:xfrm>
          <a:off x="0" y="0"/>
          <a:ext cx="0" cy="0"/>
          <a:chOff x="0" y="0"/>
          <a:chExt cx="0" cy="0"/>
        </a:xfrm>
      </p:grpSpPr>
      <p:sp>
        <p:nvSpPr>
          <p:cNvPr id="16"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accent1"/>
                </a:solidFill>
                <a:latin typeface="Arial" panose="020B0604020202020204" pitchFamily="34" charset="0"/>
                <a:cs typeface="Arial" panose="020B0604020202020204" pitchFamily="34" charset="0"/>
              </a:rPr>
              <a:pPr/>
              <a:t>‹#›</a:t>
            </a:fld>
            <a:endParaRPr lang="ru-RU" sz="1050" dirty="0">
              <a:solidFill>
                <a:schemeClr val="accent1"/>
              </a:solidFill>
              <a:latin typeface="Arial" panose="020B0604020202020204" pitchFamily="34" charset="0"/>
              <a:cs typeface="Arial" panose="020B0604020202020204" pitchFamily="34" charset="0"/>
            </a:endParaRPr>
          </a:p>
        </p:txBody>
      </p:sp>
      <p:sp>
        <p:nvSpPr>
          <p:cNvPr id="12" name="Заголовок 1">
            <a:extLst>
              <a:ext uri="{FF2B5EF4-FFF2-40B4-BE49-F238E27FC236}">
                <a16:creationId xmlns:a16="http://schemas.microsoft.com/office/drawing/2014/main" xmlns="" id="{41EAA694-9EA7-1303-06B9-929E5B0C02AE}"/>
              </a:ext>
            </a:extLst>
          </p:cNvPr>
          <p:cNvSpPr>
            <a:spLocks noGrp="1"/>
          </p:cNvSpPr>
          <p:nvPr>
            <p:ph type="title"/>
          </p:nvPr>
        </p:nvSpPr>
        <p:spPr>
          <a:xfrm>
            <a:off x="587484" y="140591"/>
            <a:ext cx="7027699"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pic>
        <p:nvPicPr>
          <p:cNvPr id="13" name="Рисунок 2">
            <a:extLst>
              <a:ext uri="{FF2B5EF4-FFF2-40B4-BE49-F238E27FC236}">
                <a16:creationId xmlns:a16="http://schemas.microsoft.com/office/drawing/2014/main" xmlns="" id="{51E1403F-FBCF-4EFD-8895-70C4C801D7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pic>
        <p:nvPicPr>
          <p:cNvPr id="14" name="Рисунок 11">
            <a:extLst>
              <a:ext uri="{FF2B5EF4-FFF2-40B4-BE49-F238E27FC236}">
                <a16:creationId xmlns:a16="http://schemas.microsoft.com/office/drawing/2014/main" xmlns="" id="{F390D758-03DE-4AF7-9149-846D447EDB19}"/>
              </a:ext>
            </a:extLst>
          </p:cNvPr>
          <p:cNvPicPr>
            <a:picLocks noChangeAspect="1"/>
          </p:cNvPicPr>
          <p:nvPr userDrawn="1"/>
        </p:nvPicPr>
        <p:blipFill>
          <a:blip r:embed="rId3"/>
          <a:stretch>
            <a:fillRect/>
          </a:stretch>
        </p:blipFill>
        <p:spPr>
          <a:xfrm>
            <a:off x="6976921" y="209456"/>
            <a:ext cx="1045510" cy="257706"/>
          </a:xfrm>
          <a:prstGeom prst="rect">
            <a:avLst/>
          </a:prstGeom>
        </p:spPr>
      </p:pic>
      <p:pic>
        <p:nvPicPr>
          <p:cNvPr id="3" name="Picture 2">
            <a:extLst>
              <a:ext uri="{FF2B5EF4-FFF2-40B4-BE49-F238E27FC236}">
                <a16:creationId xmlns:a16="http://schemas.microsoft.com/office/drawing/2014/main" xmlns="" id="{5F4B0B34-8E5A-444C-8A6B-CF9B053EE1F3}"/>
              </a:ext>
            </a:extLst>
          </p:cNvPr>
          <p:cNvPicPr>
            <a:picLocks noChangeAspect="1"/>
          </p:cNvPicPr>
          <p:nvPr userDrawn="1"/>
        </p:nvPicPr>
        <p:blipFill>
          <a:blip r:embed="rId4"/>
          <a:stretch>
            <a:fillRect/>
          </a:stretch>
        </p:blipFill>
        <p:spPr>
          <a:xfrm>
            <a:off x="30067" y="0"/>
            <a:ext cx="9083865" cy="5143500"/>
          </a:xfrm>
          <a:prstGeom prst="rect">
            <a:avLst/>
          </a:prstGeom>
        </p:spPr>
      </p:pic>
    </p:spTree>
    <p:extLst>
      <p:ext uri="{BB962C8B-B14F-4D97-AF65-F5344CB8AC3E}">
        <p14:creationId xmlns:p14="http://schemas.microsoft.com/office/powerpoint/2010/main" val="3103429071"/>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5_Текст и рисунок">
    <p:spTree>
      <p:nvGrpSpPr>
        <p:cNvPr id="1" name=""/>
        <p:cNvGrpSpPr/>
        <p:nvPr/>
      </p:nvGrpSpPr>
      <p:grpSpPr>
        <a:xfrm>
          <a:off x="0" y="0"/>
          <a:ext cx="0" cy="0"/>
          <a:chOff x="0" y="0"/>
          <a:chExt cx="0" cy="0"/>
        </a:xfrm>
      </p:grpSpPr>
      <p:sp>
        <p:nvSpPr>
          <p:cNvPr id="16"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accent1"/>
                </a:solidFill>
                <a:latin typeface="Arial" panose="020B0604020202020204" pitchFamily="34" charset="0"/>
                <a:cs typeface="Arial" panose="020B0604020202020204" pitchFamily="34" charset="0"/>
              </a:rPr>
              <a:pPr/>
              <a:t>‹#›</a:t>
            </a:fld>
            <a:endParaRPr lang="ru-RU" sz="1050" dirty="0">
              <a:solidFill>
                <a:schemeClr val="accent1"/>
              </a:solidFill>
              <a:latin typeface="Arial" panose="020B0604020202020204" pitchFamily="34" charset="0"/>
              <a:cs typeface="Arial" panose="020B0604020202020204" pitchFamily="34" charset="0"/>
            </a:endParaRPr>
          </a:p>
        </p:txBody>
      </p:sp>
      <p:sp>
        <p:nvSpPr>
          <p:cNvPr id="12" name="Заголовок 1">
            <a:extLst>
              <a:ext uri="{FF2B5EF4-FFF2-40B4-BE49-F238E27FC236}">
                <a16:creationId xmlns:a16="http://schemas.microsoft.com/office/drawing/2014/main" xmlns="" id="{41EAA694-9EA7-1303-06B9-929E5B0C02AE}"/>
              </a:ext>
            </a:extLst>
          </p:cNvPr>
          <p:cNvSpPr>
            <a:spLocks noGrp="1"/>
          </p:cNvSpPr>
          <p:nvPr>
            <p:ph type="title"/>
          </p:nvPr>
        </p:nvSpPr>
        <p:spPr>
          <a:xfrm>
            <a:off x="587484" y="140591"/>
            <a:ext cx="7027699"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pic>
        <p:nvPicPr>
          <p:cNvPr id="13" name="Рисунок 2">
            <a:extLst>
              <a:ext uri="{FF2B5EF4-FFF2-40B4-BE49-F238E27FC236}">
                <a16:creationId xmlns:a16="http://schemas.microsoft.com/office/drawing/2014/main" xmlns="" id="{51E1403F-FBCF-4EFD-8895-70C4C801D7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pic>
        <p:nvPicPr>
          <p:cNvPr id="14" name="Рисунок 11">
            <a:extLst>
              <a:ext uri="{FF2B5EF4-FFF2-40B4-BE49-F238E27FC236}">
                <a16:creationId xmlns:a16="http://schemas.microsoft.com/office/drawing/2014/main" xmlns="" id="{F390D758-03DE-4AF7-9149-846D447EDB19}"/>
              </a:ext>
            </a:extLst>
          </p:cNvPr>
          <p:cNvPicPr>
            <a:picLocks noChangeAspect="1"/>
          </p:cNvPicPr>
          <p:nvPr userDrawn="1"/>
        </p:nvPicPr>
        <p:blipFill>
          <a:blip r:embed="rId3"/>
          <a:stretch>
            <a:fillRect/>
          </a:stretch>
        </p:blipFill>
        <p:spPr>
          <a:xfrm>
            <a:off x="6976921" y="209456"/>
            <a:ext cx="1045510" cy="257706"/>
          </a:xfrm>
          <a:prstGeom prst="rect">
            <a:avLst/>
          </a:prstGeom>
        </p:spPr>
      </p:pic>
      <p:pic>
        <p:nvPicPr>
          <p:cNvPr id="3" name="Picture 2">
            <a:extLst>
              <a:ext uri="{FF2B5EF4-FFF2-40B4-BE49-F238E27FC236}">
                <a16:creationId xmlns:a16="http://schemas.microsoft.com/office/drawing/2014/main" xmlns="" id="{10D33949-BA60-4504-9DF6-4F63E73B36C5}"/>
              </a:ext>
            </a:extLst>
          </p:cNvPr>
          <p:cNvPicPr>
            <a:picLocks noChangeAspect="1"/>
          </p:cNvPicPr>
          <p:nvPr userDrawn="1"/>
        </p:nvPicPr>
        <p:blipFill>
          <a:blip r:embed="rId4"/>
          <a:stretch>
            <a:fillRect/>
          </a:stretch>
        </p:blipFill>
        <p:spPr>
          <a:xfrm>
            <a:off x="30067" y="0"/>
            <a:ext cx="9083865" cy="5143500"/>
          </a:xfrm>
          <a:prstGeom prst="rect">
            <a:avLst/>
          </a:prstGeom>
        </p:spPr>
      </p:pic>
    </p:spTree>
    <p:extLst>
      <p:ext uri="{BB962C8B-B14F-4D97-AF65-F5344CB8AC3E}">
        <p14:creationId xmlns:p14="http://schemas.microsoft.com/office/powerpoint/2010/main" val="3837537446"/>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6_Текст и рисунок">
    <p:spTree>
      <p:nvGrpSpPr>
        <p:cNvPr id="1" name=""/>
        <p:cNvGrpSpPr/>
        <p:nvPr/>
      </p:nvGrpSpPr>
      <p:grpSpPr>
        <a:xfrm>
          <a:off x="0" y="0"/>
          <a:ext cx="0" cy="0"/>
          <a:chOff x="0" y="0"/>
          <a:chExt cx="0" cy="0"/>
        </a:xfrm>
      </p:grpSpPr>
      <p:sp>
        <p:nvSpPr>
          <p:cNvPr id="16"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accent1"/>
                </a:solidFill>
                <a:latin typeface="Arial" panose="020B0604020202020204" pitchFamily="34" charset="0"/>
                <a:cs typeface="Arial" panose="020B0604020202020204" pitchFamily="34" charset="0"/>
              </a:rPr>
              <a:pPr/>
              <a:t>‹#›</a:t>
            </a:fld>
            <a:endParaRPr lang="ru-RU" sz="1050" dirty="0">
              <a:solidFill>
                <a:schemeClr val="accent1"/>
              </a:solidFill>
              <a:latin typeface="Arial" panose="020B0604020202020204" pitchFamily="34" charset="0"/>
              <a:cs typeface="Arial" panose="020B0604020202020204" pitchFamily="34" charset="0"/>
            </a:endParaRPr>
          </a:p>
        </p:txBody>
      </p:sp>
      <p:sp>
        <p:nvSpPr>
          <p:cNvPr id="12" name="Заголовок 1">
            <a:extLst>
              <a:ext uri="{FF2B5EF4-FFF2-40B4-BE49-F238E27FC236}">
                <a16:creationId xmlns:a16="http://schemas.microsoft.com/office/drawing/2014/main" xmlns="" id="{41EAA694-9EA7-1303-06B9-929E5B0C02AE}"/>
              </a:ext>
            </a:extLst>
          </p:cNvPr>
          <p:cNvSpPr>
            <a:spLocks noGrp="1"/>
          </p:cNvSpPr>
          <p:nvPr>
            <p:ph type="title"/>
          </p:nvPr>
        </p:nvSpPr>
        <p:spPr>
          <a:xfrm>
            <a:off x="587484" y="140591"/>
            <a:ext cx="7027699"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pic>
        <p:nvPicPr>
          <p:cNvPr id="13" name="Рисунок 2">
            <a:extLst>
              <a:ext uri="{FF2B5EF4-FFF2-40B4-BE49-F238E27FC236}">
                <a16:creationId xmlns:a16="http://schemas.microsoft.com/office/drawing/2014/main" xmlns="" id="{51E1403F-FBCF-4EFD-8895-70C4C801D7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pic>
        <p:nvPicPr>
          <p:cNvPr id="14" name="Рисунок 11">
            <a:extLst>
              <a:ext uri="{FF2B5EF4-FFF2-40B4-BE49-F238E27FC236}">
                <a16:creationId xmlns:a16="http://schemas.microsoft.com/office/drawing/2014/main" xmlns="" id="{F390D758-03DE-4AF7-9149-846D447EDB19}"/>
              </a:ext>
            </a:extLst>
          </p:cNvPr>
          <p:cNvPicPr>
            <a:picLocks noChangeAspect="1"/>
          </p:cNvPicPr>
          <p:nvPr userDrawn="1"/>
        </p:nvPicPr>
        <p:blipFill>
          <a:blip r:embed="rId3"/>
          <a:stretch>
            <a:fillRect/>
          </a:stretch>
        </p:blipFill>
        <p:spPr>
          <a:xfrm>
            <a:off x="6976921" y="209456"/>
            <a:ext cx="1045510" cy="257706"/>
          </a:xfrm>
          <a:prstGeom prst="rect">
            <a:avLst/>
          </a:prstGeom>
        </p:spPr>
      </p:pic>
      <p:pic>
        <p:nvPicPr>
          <p:cNvPr id="3" name="Picture 2">
            <a:extLst>
              <a:ext uri="{FF2B5EF4-FFF2-40B4-BE49-F238E27FC236}">
                <a16:creationId xmlns:a16="http://schemas.microsoft.com/office/drawing/2014/main" xmlns="" id="{01A35D84-B98A-408C-8F7C-7B185ACAE1C7}"/>
              </a:ext>
            </a:extLst>
          </p:cNvPr>
          <p:cNvPicPr>
            <a:picLocks noChangeAspect="1"/>
          </p:cNvPicPr>
          <p:nvPr userDrawn="1"/>
        </p:nvPicPr>
        <p:blipFill>
          <a:blip r:embed="rId4"/>
          <a:stretch>
            <a:fillRect/>
          </a:stretch>
        </p:blipFill>
        <p:spPr>
          <a:xfrm>
            <a:off x="30067" y="0"/>
            <a:ext cx="9083865" cy="5143500"/>
          </a:xfrm>
          <a:prstGeom prst="rect">
            <a:avLst/>
          </a:prstGeom>
        </p:spPr>
      </p:pic>
    </p:spTree>
    <p:extLst>
      <p:ext uri="{BB962C8B-B14F-4D97-AF65-F5344CB8AC3E}">
        <p14:creationId xmlns:p14="http://schemas.microsoft.com/office/powerpoint/2010/main" val="3412903643"/>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7_Текст и рисунок">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sp>
        <p:nvSpPr>
          <p:cNvPr id="16" name="Номер слайда 6"/>
          <p:cNvSpPr txBox="1">
            <a:spLocks/>
          </p:cNvSpPr>
          <p:nvPr userDrawn="1"/>
        </p:nvSpPr>
        <p:spPr>
          <a:xfrm>
            <a:off x="4205989" y="4762237"/>
            <a:ext cx="480733" cy="273844"/>
          </a:xfrm>
          <a:prstGeom prst="rect">
            <a:avLst/>
          </a:prstGeom>
        </p:spPr>
        <p:txBody>
          <a:bodyPr vert="horz" lIns="68555" tIns="34278" rIns="68555" bIns="34278" rtlCol="0" anchor="ctr"/>
          <a:lstStyle>
            <a:defPPr>
              <a:defRPr lang="ru-RU"/>
            </a:defPPr>
            <a:lvl1pPr marL="0" algn="r" defTabSz="914400" rtl="0" eaLnBrk="1" latinLnBrk="0" hangingPunct="1">
              <a:defRPr sz="1100" kern="1200">
                <a:solidFill>
                  <a:schemeClr val="accent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37724E-FDF7-4443-A4C3-9F9F013CE1DE}" type="slidenum">
              <a:rPr lang="ru-RU" sz="1050" smtClean="0">
                <a:solidFill>
                  <a:schemeClr val="accent1"/>
                </a:solidFill>
                <a:latin typeface="Arial" panose="020B0604020202020204" pitchFamily="34" charset="0"/>
                <a:cs typeface="Arial" panose="020B0604020202020204" pitchFamily="34" charset="0"/>
              </a:rPr>
              <a:pPr/>
              <a:t>‹#›</a:t>
            </a:fld>
            <a:endParaRPr lang="ru-RU" sz="1050" dirty="0">
              <a:solidFill>
                <a:schemeClr val="accent1"/>
              </a:solidFill>
              <a:latin typeface="Arial" panose="020B0604020202020204" pitchFamily="34" charset="0"/>
              <a:cs typeface="Arial" panose="020B0604020202020204" pitchFamily="34" charset="0"/>
            </a:endParaRPr>
          </a:p>
        </p:txBody>
      </p:sp>
      <p:grpSp>
        <p:nvGrpSpPr>
          <p:cNvPr id="8" name="グループ化 4">
            <a:extLst>
              <a:ext uri="{FF2B5EF4-FFF2-40B4-BE49-F238E27FC236}">
                <a16:creationId xmlns:a16="http://schemas.microsoft.com/office/drawing/2014/main" xmlns="" id="{65D4C13C-B917-4107-A702-54B96ACE32DA}"/>
              </a:ext>
            </a:extLst>
          </p:cNvPr>
          <p:cNvGrpSpPr/>
          <p:nvPr userDrawn="1"/>
        </p:nvGrpSpPr>
        <p:grpSpPr>
          <a:xfrm>
            <a:off x="5774896" y="4713549"/>
            <a:ext cx="2044570" cy="326265"/>
            <a:chOff x="5948902" y="244153"/>
            <a:chExt cx="3020520" cy="482004"/>
          </a:xfrm>
        </p:grpSpPr>
        <p:pic>
          <p:nvPicPr>
            <p:cNvPr id="9" name="図 1">
              <a:extLst>
                <a:ext uri="{FF2B5EF4-FFF2-40B4-BE49-F238E27FC236}">
                  <a16:creationId xmlns:a16="http://schemas.microsoft.com/office/drawing/2014/main" xmlns="" id="{8DEC9766-82F1-4D3E-88BF-E9EA4BFE4CC1}"/>
                </a:ext>
              </a:extLst>
            </p:cNvPr>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10" name="Picture 26">
              <a:extLst>
                <a:ext uri="{FF2B5EF4-FFF2-40B4-BE49-F238E27FC236}">
                  <a16:creationId xmlns:a16="http://schemas.microsoft.com/office/drawing/2014/main" xmlns="" id="{AA8349A1-444C-4EC7-BB04-A8517F048D58}"/>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11" name="Straight Connector 27">
              <a:extLst>
                <a:ext uri="{FF2B5EF4-FFF2-40B4-BE49-F238E27FC236}">
                  <a16:creationId xmlns:a16="http://schemas.microsoft.com/office/drawing/2014/main" xmlns="" id="{A6D13759-CFC5-48E2-9CCB-A8F3B69F04B5}"/>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12" name="Заголовок 1">
            <a:extLst>
              <a:ext uri="{FF2B5EF4-FFF2-40B4-BE49-F238E27FC236}">
                <a16:creationId xmlns:a16="http://schemas.microsoft.com/office/drawing/2014/main" xmlns="" id="{41EAA694-9EA7-1303-06B9-929E5B0C02AE}"/>
              </a:ext>
            </a:extLst>
          </p:cNvPr>
          <p:cNvSpPr>
            <a:spLocks noGrp="1"/>
          </p:cNvSpPr>
          <p:nvPr>
            <p:ph type="title"/>
          </p:nvPr>
        </p:nvSpPr>
        <p:spPr>
          <a:xfrm>
            <a:off x="587484" y="140591"/>
            <a:ext cx="7027699"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pic>
        <p:nvPicPr>
          <p:cNvPr id="4" name="Picture 3">
            <a:extLst>
              <a:ext uri="{FF2B5EF4-FFF2-40B4-BE49-F238E27FC236}">
                <a16:creationId xmlns:a16="http://schemas.microsoft.com/office/drawing/2014/main" xmlns="" id="{BD0A8DDB-3A57-4B9D-B3F7-2E4A1F81DD70}"/>
              </a:ext>
            </a:extLst>
          </p:cNvPr>
          <p:cNvPicPr>
            <a:picLocks noChangeAspect="1"/>
          </p:cNvPicPr>
          <p:nvPr userDrawn="1"/>
        </p:nvPicPr>
        <p:blipFill>
          <a:blip r:embed="rId5"/>
          <a:stretch>
            <a:fillRect/>
          </a:stretch>
        </p:blipFill>
        <p:spPr>
          <a:xfrm>
            <a:off x="-538" y="0"/>
            <a:ext cx="9083865" cy="5143500"/>
          </a:xfrm>
          <a:prstGeom prst="rect">
            <a:avLst/>
          </a:prstGeom>
        </p:spPr>
      </p:pic>
    </p:spTree>
    <p:extLst>
      <p:ext uri="{BB962C8B-B14F-4D97-AF65-F5344CB8AC3E}">
        <p14:creationId xmlns:p14="http://schemas.microsoft.com/office/powerpoint/2010/main" val="491614973"/>
      </p:ext>
    </p:extLst>
  </p:cSld>
  <p:clrMapOvr>
    <a:masterClrMapping/>
  </p:clrMapOvr>
  <p:extLst>
    <p:ext uri="{DCECCB84-F9BA-43D5-87BE-67443E8EF086}">
      <p15:sldGuideLst xmlns:p15="http://schemas.microsoft.com/office/powerpoint/2012/main" xmlns="">
        <p15:guide id="4" pos="755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9282043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0542243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6600848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359999" y="917244"/>
            <a:ext cx="8409900" cy="45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xmlns="" id="{D1D0B917-7AEC-4D84-A351-D9D66AC4FB77}"/>
              </a:ext>
            </a:extLst>
          </p:cNvPr>
          <p:cNvSpPr txBox="1"/>
          <p:nvPr userDrawn="1"/>
        </p:nvSpPr>
        <p:spPr>
          <a:xfrm>
            <a:off x="4383715" y="4802038"/>
            <a:ext cx="4503870" cy="138499"/>
          </a:xfrm>
          <a:prstGeom prst="rect">
            <a:avLst/>
          </a:prstGeom>
          <a:noFill/>
        </p:spPr>
        <p:txBody>
          <a:bodyPr wrap="square" lIns="0" tIns="0" rIns="9000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dirty="0">
                <a:solidFill>
                  <a:srgbClr val="D79D41"/>
                </a:solidFill>
                <a:effectLst/>
                <a:latin typeface="Arial Narrow" panose="020B0606020202030204" pitchFamily="34" charset="0"/>
              </a:rPr>
              <a:t>Content of this presentation is copyright</a:t>
            </a:r>
            <a:r>
              <a:rPr lang="x-none" sz="900" b="0" i="0" dirty="0">
                <a:solidFill>
                  <a:srgbClr val="D79D41"/>
                </a:solidFill>
                <a:effectLst/>
                <a:latin typeface="Arial Narrow" panose="020B0606020202030204" pitchFamily="34" charset="0"/>
              </a:rPr>
              <a:t> </a:t>
            </a:r>
            <a:r>
              <a:rPr lang="en-US" sz="900" b="0" i="0" dirty="0">
                <a:solidFill>
                  <a:srgbClr val="D79D41"/>
                </a:solidFill>
                <a:effectLst/>
                <a:latin typeface="Arial Narrow" panose="020B0606020202030204" pitchFamily="34" charset="0"/>
              </a:rPr>
              <a:t>and responsibility of the author. Permission is required for re-use</a:t>
            </a:r>
            <a:r>
              <a:rPr lang="x-none" sz="900" b="0" i="0" dirty="0">
                <a:solidFill>
                  <a:srgbClr val="D79D41"/>
                </a:solidFill>
                <a:effectLst/>
                <a:latin typeface="Arial Narrow" panose="020B0606020202030204" pitchFamily="34" charset="0"/>
              </a:rPr>
              <a:t>.</a:t>
            </a:r>
            <a:endParaRPr lang="en-US" sz="9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xmlns="" id="{329DFE97-3C37-2843-919B-76136B9C9557}"/>
              </a:ext>
            </a:extLst>
          </p:cNvPr>
          <p:cNvSpPr txBox="1">
            <a:spLocks noGrp="1"/>
          </p:cNvSpPr>
          <p:nvPr>
            <p:ph type="ctrTitle"/>
          </p:nvPr>
        </p:nvSpPr>
        <p:spPr>
          <a:xfrm>
            <a:off x="358775" y="231775"/>
            <a:ext cx="8410989" cy="685469"/>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300" b="0" i="0" u="none" strike="noStrike" cap="all" baseline="0" dirty="0">
                <a:solidFill>
                  <a:srgbClr val="05416B"/>
                </a:solidFill>
                <a:latin typeface="Arial Narrow" panose="020B0604020202020204" pitchFamily="34" charset="0"/>
                <a:ea typeface="Arial"/>
                <a:cs typeface="Arial Narrow" panose="020B0604020202020204" pitchFamily="34" charset="0"/>
                <a:sym typeface="Arial"/>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a:extLst>
              <a:ext uri="{FF2B5EF4-FFF2-40B4-BE49-F238E27FC236}">
                <a16:creationId xmlns:a16="http://schemas.microsoft.com/office/drawing/2014/main" xmlns="" id="{57D9B4DA-E208-4D4F-A1E1-2BB4BA0AFEC8}"/>
              </a:ext>
            </a:extLst>
          </p:cNvPr>
          <p:cNvSpPr txBox="1">
            <a:spLocks noGrp="1"/>
          </p:cNvSpPr>
          <p:nvPr>
            <p:ph type="body" idx="1"/>
          </p:nvPr>
        </p:nvSpPr>
        <p:spPr>
          <a:xfrm>
            <a:off x="367250" y="1614325"/>
            <a:ext cx="8409900" cy="2700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rgbClr val="05416B"/>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xmlns="" id="{32714771-AEB2-FE40-AD3E-E93DB8F4ADCD}"/>
              </a:ext>
            </a:extLst>
          </p:cNvPr>
          <p:cNvSpPr txBox="1">
            <a:spLocks noGrp="1"/>
          </p:cNvSpPr>
          <p:nvPr>
            <p:ph type="body" idx="12" hasCustomPrompt="1"/>
          </p:nvPr>
        </p:nvSpPr>
        <p:spPr>
          <a:xfrm>
            <a:off x="1770291" y="4755036"/>
            <a:ext cx="2400778" cy="180625"/>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D79D41"/>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xmlns="" id="{E5447CB9-6489-4CA7-B0F4-BE2F567B79F6}"/>
              </a:ext>
            </a:extLst>
          </p:cNvPr>
          <p:cNvPicPr>
            <a:picLocks noChangeAspect="1"/>
          </p:cNvPicPr>
          <p:nvPr userDrawn="1"/>
        </p:nvPicPr>
        <p:blipFill>
          <a:blip r:embed="rId2"/>
          <a:stretch>
            <a:fillRect/>
          </a:stretch>
        </p:blipFill>
        <p:spPr>
          <a:xfrm>
            <a:off x="358775" y="4669286"/>
            <a:ext cx="1244319" cy="250336"/>
          </a:xfrm>
          <a:prstGeom prst="rect">
            <a:avLst/>
          </a:prstGeom>
        </p:spPr>
      </p:pic>
    </p:spTree>
    <p:extLst>
      <p:ext uri="{BB962C8B-B14F-4D97-AF65-F5344CB8AC3E}">
        <p14:creationId xmlns:p14="http://schemas.microsoft.com/office/powerpoint/2010/main" val="3136520473"/>
      </p:ext>
    </p:extLst>
  </p:cSld>
  <p:clrMapOvr>
    <a:masterClrMapping/>
  </p:clrMapOvr>
  <p:extLst>
    <p:ext uri="{DCECCB84-F9BA-43D5-87BE-67443E8EF086}">
      <p15:sldGuideLst xmlns:p15="http://schemas.microsoft.com/office/powerpoint/2012/main" xmlns="">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046700" y="140991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046700" y="1914182"/>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046700" y="2423238"/>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700" y="2933946"/>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046700" y="3442223"/>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046700" y="3958440"/>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189" indent="0">
              <a:buNone/>
              <a:defRPr sz="1800" b="1"/>
            </a:lvl2pPr>
            <a:lvl3pPr marL="914378" indent="0">
              <a:buNone/>
              <a:defRPr sz="1800" b="1"/>
            </a:lvl3pPr>
            <a:lvl4pPr marL="1371566" indent="0">
              <a:buNone/>
              <a:defRPr sz="1800" b="1"/>
            </a:lvl4pPr>
            <a:lvl5pPr marL="1828754"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0908661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9"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8"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3491862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5290673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26851"/>
            <a:ext cx="8765651" cy="324000"/>
          </a:xfrm>
          <a:prstGeom prst="rect">
            <a:avLst/>
          </a:prstGeom>
        </p:spPr>
        <p:txBody>
          <a:bodyPr/>
          <a:lstStyle>
            <a:lvl1pPr marL="0" indent="0" algn="l">
              <a:lnSpc>
                <a:spcPts val="2250"/>
              </a:lnSpc>
              <a:spcBef>
                <a:spcPts val="0"/>
              </a:spcBef>
              <a:buNone/>
              <a:defRPr sz="2400">
                <a:solidFill>
                  <a:schemeClr val="tx2"/>
                </a:solidFill>
                <a:latin typeface="Arial" pitchFamily="34" charset="0"/>
                <a:cs typeface="Arial"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1140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9486277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783"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5"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5" hasCustomPrompt="1"/>
          </p:nvPr>
        </p:nvSpPr>
        <p:spPr>
          <a:xfrm>
            <a:off x="237600" y="2905963"/>
            <a:ext cx="7056000" cy="1444752"/>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0454479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4990" indent="-134997">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3" hasCustomPrompt="1"/>
          </p:nvPr>
        </p:nvSpPr>
        <p:spPr>
          <a:xfrm>
            <a:off x="237062" y="2905963"/>
            <a:ext cx="4086000" cy="1444752"/>
          </a:xfrm>
          <a:prstGeom prst="rect">
            <a:avLst/>
          </a:prstGeom>
        </p:spPr>
        <p:txBody>
          <a:bodyPr/>
          <a:lstStyle>
            <a:lvl1pPr marL="179996" indent="-179996">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Content Placeholder 2"/>
          <p:cNvSpPr>
            <a:spLocks noGrp="1"/>
          </p:cNvSpPr>
          <p:nvPr>
            <p:ph idx="17" hasCustomPrompt="1"/>
          </p:nvPr>
        </p:nvSpPr>
        <p:spPr>
          <a:xfrm>
            <a:off x="4680000" y="2905963"/>
            <a:ext cx="4086000" cy="1444752"/>
          </a:xfrm>
          <a:prstGeom prst="rect">
            <a:avLst/>
          </a:prstGeom>
        </p:spPr>
        <p:txBody>
          <a:bodyPr/>
          <a:lstStyle>
            <a:lvl1pPr marL="179996" indent="-179996">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855563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2514"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4990" indent="-134997">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Content Placeholder 2"/>
          <p:cNvSpPr>
            <a:spLocks noGrp="1"/>
          </p:cNvSpPr>
          <p:nvPr>
            <p:ph idx="18" hasCustomPrompt="1"/>
          </p:nvPr>
        </p:nvSpPr>
        <p:spPr>
          <a:xfrm>
            <a:off x="237600" y="2903515"/>
            <a:ext cx="2664000" cy="1444752"/>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6" hasCustomPrompt="1"/>
          </p:nvPr>
        </p:nvSpPr>
        <p:spPr>
          <a:xfrm>
            <a:off x="3250223" y="2908267"/>
            <a:ext cx="2664000" cy="1440000"/>
          </a:xfrm>
          <a:prstGeom prst="rect">
            <a:avLst/>
          </a:prstGeom>
        </p:spPr>
        <p:txBody>
          <a:bodyPr/>
          <a:lstStyle>
            <a:lvl1pPr marL="134997" indent="-134997">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4990" indent="-134997">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5" name="Content Placeholder 2"/>
          <p:cNvSpPr>
            <a:spLocks noGrp="1"/>
          </p:cNvSpPr>
          <p:nvPr>
            <p:ph idx="17" hasCustomPrompt="1"/>
          </p:nvPr>
        </p:nvSpPr>
        <p:spPr>
          <a:xfrm>
            <a:off x="6274223" y="2908267"/>
            <a:ext cx="2664000" cy="1440000"/>
          </a:xfrm>
          <a:prstGeom prst="rect">
            <a:avLst/>
          </a:prstGeom>
        </p:spPr>
        <p:txBody>
          <a:bodyPr/>
          <a:lstStyle>
            <a:lvl1pPr marL="134997" indent="-134997">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4990" indent="-134997">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11702073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6"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4107016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6"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Content Placeholder 2"/>
          <p:cNvSpPr>
            <a:spLocks noGrp="1"/>
          </p:cNvSpPr>
          <p:nvPr>
            <p:ph idx="15" hasCustomPrompt="1"/>
          </p:nvPr>
        </p:nvSpPr>
        <p:spPr>
          <a:xfrm>
            <a:off x="4680000" y="1234440"/>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7643278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Текст 2">
    <p:spTree>
      <p:nvGrpSpPr>
        <p:cNvPr id="1" name=""/>
        <p:cNvGrpSpPr/>
        <p:nvPr/>
      </p:nvGrpSpPr>
      <p:grpSpPr>
        <a:xfrm>
          <a:off x="0" y="0"/>
          <a:ext cx="0" cy="0"/>
          <a:chOff x="0" y="0"/>
          <a:chExt cx="0" cy="0"/>
        </a:xfrm>
      </p:grpSpPr>
      <p:pic>
        <p:nvPicPr>
          <p:cNvPr id="1026" name="Picture 2" descr="C:\Grishagina Maria\Tempo\AZON 2022 2023\РЛ Москва 2-3 апреля\Темплейт\Картинки\image1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791766" y="250031"/>
            <a:ext cx="6801020" cy="647700"/>
          </a:xfrm>
        </p:spPr>
        <p:txBody>
          <a:bodyPr anchor="ctr">
            <a:normAutofit/>
          </a:bodyPr>
          <a:lstStyle>
            <a:lvl1pPr>
              <a:defRPr sz="1800" b="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Образец заголовка</a:t>
            </a:r>
          </a:p>
        </p:txBody>
      </p:sp>
      <p:sp>
        <p:nvSpPr>
          <p:cNvPr id="3" name="Rectangle 2">
            <a:extLst>
              <a:ext uri="{FF2B5EF4-FFF2-40B4-BE49-F238E27FC236}">
                <a16:creationId xmlns:a16="http://schemas.microsoft.com/office/drawing/2014/main" xmlns="" id="{7E104B2F-94FF-4DC7-9F66-9C3578FE49A4}"/>
              </a:ext>
            </a:extLst>
          </p:cNvPr>
          <p:cNvSpPr/>
          <p:nvPr userDrawn="1"/>
        </p:nvSpPr>
        <p:spPr>
          <a:xfrm>
            <a:off x="6176558" y="250031"/>
            <a:ext cx="1238639" cy="6477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Tree>
    <p:extLst>
      <p:ext uri="{BB962C8B-B14F-4D97-AF65-F5344CB8AC3E}">
        <p14:creationId xmlns:p14="http://schemas.microsoft.com/office/powerpoint/2010/main" val="4241226857"/>
      </p:ext>
    </p:extLst>
  </p:cSld>
  <p:clrMapOvr>
    <a:masterClrMapping/>
  </p:clrMapOvr>
  <p:extLst>
    <p:ext uri="{DCECCB84-F9BA-43D5-87BE-67443E8EF086}">
      <p15:sldGuideLst xmlns:p15="http://schemas.microsoft.com/office/powerpoint/2012/main" xmlns=""/>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6"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91757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Content Placeholder 2"/>
          <p:cNvSpPr>
            <a:spLocks noGrp="1"/>
          </p:cNvSpPr>
          <p:nvPr>
            <p:ph idx="16" hasCustomPrompt="1"/>
          </p:nvPr>
        </p:nvSpPr>
        <p:spPr>
          <a:xfrm>
            <a:off x="237061" y="1234440"/>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1075533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a:t>Click to edit Master text styles</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Content Placeholder 2"/>
          <p:cNvSpPr>
            <a:spLocks noGrp="1"/>
          </p:cNvSpPr>
          <p:nvPr>
            <p:ph idx="17" hasCustomPrompt="1"/>
          </p:nvPr>
        </p:nvSpPr>
        <p:spPr>
          <a:xfrm>
            <a:off x="237600" y="2072820"/>
            <a:ext cx="2664000" cy="2015968"/>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1459872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3"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6545185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892" indent="0" algn="l">
              <a:buNone/>
              <a:defRPr sz="1050"/>
            </a:lvl2pPr>
            <a:lvl3pPr marL="685783" indent="0" algn="l">
              <a:buNone/>
              <a:defRPr sz="1050"/>
            </a:lvl3pPr>
            <a:lvl4pPr marL="1028675" indent="0" algn="l">
              <a:buNone/>
              <a:defRPr sz="1050"/>
            </a:lvl4pPr>
            <a:lvl5pPr marL="1371566"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9"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7209200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783"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214234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783"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7904987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783"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0" marR="0" indent="-197639" algn="l" defTabSz="685783" rtl="0" eaLnBrk="1" fontAlgn="base" latinLnBrk="0" hangingPunct="1">
              <a:lnSpc>
                <a:spcPct val="90000"/>
              </a:lnSpc>
              <a:spcBef>
                <a:spcPct val="0"/>
              </a:spcBef>
              <a:spcAft>
                <a:spcPct val="0"/>
              </a:spcAft>
              <a:buClrTx/>
              <a:buSzTx/>
              <a:buFontTx/>
              <a:buChar char="•"/>
              <a:tabLst/>
              <a:defRPr sz="1350"/>
            </a:lvl2pPr>
            <a:lvl3pPr marL="466713" marR="0" indent="-135728" algn="l" defTabSz="685783" rtl="0" eaLnBrk="1" fontAlgn="base" latinLnBrk="0" hangingPunct="1">
              <a:lnSpc>
                <a:spcPct val="90000"/>
              </a:lnSpc>
              <a:spcBef>
                <a:spcPct val="0"/>
              </a:spcBef>
              <a:spcAft>
                <a:spcPct val="0"/>
              </a:spcAft>
              <a:buClrTx/>
              <a:buSzTx/>
              <a:buFont typeface="Arial" charset="0"/>
              <a:buChar char="-"/>
              <a:tabLst/>
              <a:defRPr sz="1350"/>
            </a:lvl3pPr>
            <a:lvl4pPr marL="1242982" indent="-214308">
              <a:buFont typeface="Arial"/>
              <a:buChar char="•"/>
              <a:defRPr sz="1350"/>
            </a:lvl4pPr>
            <a:lvl5pPr marL="1585874" indent="-214308">
              <a:buFont typeface="Arial"/>
              <a:buChar char="•"/>
              <a:defRPr sz="1350"/>
            </a:lvl5pPr>
          </a:lstStyle>
          <a:p>
            <a:pPr lvl="0"/>
            <a:r>
              <a:rPr lang="en-GB" noProof="0" dirty="0"/>
              <a:t>Click to edit Master text styles</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3116602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s title</a:t>
            </a:r>
          </a:p>
        </p:txBody>
      </p:sp>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68" indent="-269868">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488" indent="-134997">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88" indent="-134997">
              <a:defRPr sz="1050">
                <a:latin typeface="Arial" pitchFamily="34" charset="0"/>
                <a:cs typeface="Arial" pitchFamily="34" charset="0"/>
              </a:defRPr>
            </a:lvl4pPr>
            <a:lvl5pPr marL="467088">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048566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8"/>
          <p:cNvSpPr>
            <a:spLocks noGrp="1"/>
          </p:cNvSpPr>
          <p:nvPr>
            <p:ph type="title" hasCustomPrompt="1"/>
          </p:nvPr>
        </p:nvSpPr>
        <p:spPr>
          <a:xfrm>
            <a:off x="237063" y="202235"/>
            <a:ext cx="8765651" cy="310500"/>
          </a:xfrm>
          <a:prstGeom prst="rect">
            <a:avLst/>
          </a:prstGeom>
        </p:spPr>
        <p:txBody>
          <a:bodyPr vert="horz"/>
          <a:lstStyle>
            <a:lvl1pPr algn="l" defTabSz="457189" rtl="0" eaLnBrk="1" latinLnBrk="0" hangingPunct="1">
              <a:lnSpc>
                <a:spcPts val="225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462742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Разделитель 2">
    <p:spTree>
      <p:nvGrpSpPr>
        <p:cNvPr id="1" name=""/>
        <p:cNvGrpSpPr/>
        <p:nvPr/>
      </p:nvGrpSpPr>
      <p:grpSpPr>
        <a:xfrm>
          <a:off x="0" y="0"/>
          <a:ext cx="0" cy="0"/>
          <a:chOff x="0" y="0"/>
          <a:chExt cx="0" cy="0"/>
        </a:xfrm>
      </p:grpSpPr>
      <p:pic>
        <p:nvPicPr>
          <p:cNvPr id="2050" name="Picture 2" descr="C:\Grishagina Maria\Tempo\AZON 2022 2023\РЛ Москва 2-3 апреля\Темплейт\Картинки\image10.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8"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hasCustomPrompt="1"/>
          </p:nvPr>
        </p:nvSpPr>
        <p:spPr>
          <a:xfrm>
            <a:off x="2776816" y="1021976"/>
            <a:ext cx="5898635" cy="1721223"/>
          </a:xfrm>
        </p:spPr>
        <p:txBody>
          <a:bodyPr anchor="ctr">
            <a:normAutofit/>
          </a:bodyPr>
          <a:lstStyle>
            <a:lvl1pPr algn="r">
              <a:defRPr sz="2100" b="1" baseline="0">
                <a:solidFill>
                  <a:schemeClr val="tx2"/>
                </a:solidFill>
                <a:latin typeface="Arial" panose="020B0604020202020204" pitchFamily="34" charset="0"/>
                <a:ea typeface="Verdana" panose="020B0604030504040204" pitchFamily="34" charset="0"/>
                <a:cs typeface="Arial" panose="020B0604020202020204" pitchFamily="34" charset="0"/>
              </a:defRPr>
            </a:lvl1pPr>
          </a:lstStyle>
          <a:p>
            <a:r>
              <a:rPr lang="ru-RU" dirty="0"/>
              <a:t>Заголовок разделителя</a:t>
            </a:r>
          </a:p>
        </p:txBody>
      </p:sp>
      <p:sp>
        <p:nvSpPr>
          <p:cNvPr id="3" name="Подзаголовок 2"/>
          <p:cNvSpPr>
            <a:spLocks noGrp="1"/>
          </p:cNvSpPr>
          <p:nvPr>
            <p:ph type="subTitle" idx="1"/>
          </p:nvPr>
        </p:nvSpPr>
        <p:spPr>
          <a:xfrm>
            <a:off x="4854388" y="2757872"/>
            <a:ext cx="3821064" cy="959013"/>
          </a:xfrm>
        </p:spPr>
        <p:txBody>
          <a:bodyPr anchor="t">
            <a:normAutofit/>
          </a:bodyPr>
          <a:lstStyle>
            <a:lvl1pPr marL="0" indent="0" algn="r">
              <a:buNone/>
              <a:defRPr sz="1350" b="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dirty="0"/>
              <a:t>Образец подзаголовка</a:t>
            </a:r>
          </a:p>
        </p:txBody>
      </p:sp>
    </p:spTree>
    <p:extLst>
      <p:ext uri="{BB962C8B-B14F-4D97-AF65-F5344CB8AC3E}">
        <p14:creationId xmlns:p14="http://schemas.microsoft.com/office/powerpoint/2010/main" val="1782826196"/>
      </p:ext>
    </p:extLst>
  </p:cSld>
  <p:clrMapOvr>
    <a:masterClrMapping/>
  </p:clrMapOvr>
  <p:extLst>
    <p:ext uri="{DCECCB84-F9BA-43D5-87BE-67443E8EF086}">
      <p15:sldGuideLst xmlns:p15="http://schemas.microsoft.com/office/powerpoint/2012/main" xmlns=""/>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6638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9459628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4262618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6915918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1536751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7666474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0052742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7319795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26744812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601073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6054515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7533661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9879960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1881062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9660755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35130324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8126994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3356074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5800568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7535459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22175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DS AZ_Title, Subtitle and Text">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4E26D3C-57EC-4CEF-A2A8-A07986F7F862}"/>
              </a:ext>
            </a:extLst>
          </p:cNvPr>
          <p:cNvSpPr>
            <a:spLocks noGrp="1"/>
          </p:cNvSpPr>
          <p:nvPr>
            <p:ph type="sldNum" sz="quarter" idx="10"/>
          </p:nvPr>
        </p:nvSpPr>
        <p:spPr/>
        <p:txBody>
          <a:bodyPr rtlCol="0"/>
          <a:lstStyle/>
          <a:p>
            <a:pPr rtl="0"/>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xmlns="" id="{4A495E37-014D-4325-B58C-6895D9962CA8}"/>
              </a:ext>
            </a:extLst>
          </p:cNvPr>
          <p:cNvSpPr/>
          <p:nvPr userDrawn="1"/>
        </p:nvSpPr>
        <p:spPr>
          <a:xfrm>
            <a:off x="0" y="1305"/>
            <a:ext cx="658368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sp>
        <p:nvSpPr>
          <p:cNvPr id="7" name="Rectangle 6">
            <a:extLst>
              <a:ext uri="{FF2B5EF4-FFF2-40B4-BE49-F238E27FC236}">
                <a16:creationId xmlns:a16="http://schemas.microsoft.com/office/drawing/2014/main" xmlns="" id="{1E047106-60B3-4DBC-AF5B-2C0B9225BB37}"/>
              </a:ext>
            </a:extLst>
          </p:cNvPr>
          <p:cNvSpPr/>
          <p:nvPr userDrawn="1"/>
        </p:nvSpPr>
        <p:spPr>
          <a:xfrm>
            <a:off x="6583680" y="4766310"/>
            <a:ext cx="2560320" cy="9144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1800" dirty="0"/>
          </a:p>
        </p:txBody>
      </p:sp>
      <p:pic>
        <p:nvPicPr>
          <p:cNvPr id="12" name="Picture 11" descr="DSI-AZ-hor-COLOR.png"/>
          <p:cNvPicPr>
            <a:picLocks noChangeAspect="1"/>
          </p:cNvPicPr>
          <p:nvPr userDrawn="1"/>
        </p:nvPicPr>
        <p:blipFill rotWithShape="1">
          <a:blip r:embed="rId2">
            <a:extLst>
              <a:ext uri="{28A0092B-C50C-407E-A947-70E740481C1C}">
                <a14:useLocalDpi xmlns:a14="http://schemas.microsoft.com/office/drawing/2010/main" val="0"/>
              </a:ext>
            </a:extLst>
          </a:blip>
          <a:srcRect l="55567" t="1755"/>
          <a:stretch/>
        </p:blipFill>
        <p:spPr>
          <a:xfrm>
            <a:off x="1433245" y="4639499"/>
            <a:ext cx="1146086" cy="504001"/>
          </a:xfrm>
          <a:prstGeom prst="rect">
            <a:avLst/>
          </a:prstGeom>
        </p:spPr>
      </p:pic>
      <p:sp>
        <p:nvSpPr>
          <p:cNvPr id="16" name="Title 8">
            <a:extLst>
              <a:ext uri="{FF2B5EF4-FFF2-40B4-BE49-F238E27FC236}">
                <a16:creationId xmlns:a16="http://schemas.microsoft.com/office/drawing/2014/main" xmlns="" id="{DAAD880F-186C-4797-8B60-F942A0CBF0D9}"/>
              </a:ext>
            </a:extLst>
          </p:cNvPr>
          <p:cNvSpPr>
            <a:spLocks noGrp="1"/>
          </p:cNvSpPr>
          <p:nvPr>
            <p:ph type="title" hasCustomPrompt="1"/>
          </p:nvPr>
        </p:nvSpPr>
        <p:spPr>
          <a:xfrm>
            <a:off x="304799" y="357060"/>
            <a:ext cx="8524875" cy="504000"/>
          </a:xfrm>
          <a:prstGeom prst="rect">
            <a:avLst/>
          </a:prstGeom>
        </p:spPr>
        <p:txBody>
          <a:bodyPr vert="horz" lIns="0" rtlCol="0"/>
          <a:lstStyle>
            <a:lvl1pPr algn="l">
              <a:defRPr sz="2600" b="1" baseline="0">
                <a:solidFill>
                  <a:schemeClr val="tx2"/>
                </a:solidFill>
                <a:latin typeface="Arial" pitchFamily="34" charset="0"/>
                <a:cs typeface="Arial" pitchFamily="34" charset="0"/>
              </a:defRPr>
            </a:lvl1pPr>
          </a:lstStyle>
          <a:p>
            <a:pPr rtl="0"/>
            <a:r>
              <a:rPr lang="ru" noProof="0"/>
              <a:t>Click to add slide title</a:t>
            </a:r>
          </a:p>
        </p:txBody>
      </p:sp>
      <p:sp>
        <p:nvSpPr>
          <p:cNvPr id="17" name="Subtitle 2">
            <a:extLst>
              <a:ext uri="{FF2B5EF4-FFF2-40B4-BE49-F238E27FC236}">
                <a16:creationId xmlns:a16="http://schemas.microsoft.com/office/drawing/2014/main" xmlns="" id="{398572C5-B722-46A9-9CC8-4DF78C5FB7BD}"/>
              </a:ext>
            </a:extLst>
          </p:cNvPr>
          <p:cNvSpPr>
            <a:spLocks noGrp="1"/>
          </p:cNvSpPr>
          <p:nvPr>
            <p:ph type="subTitle" idx="12" hasCustomPrompt="1"/>
          </p:nvPr>
        </p:nvSpPr>
        <p:spPr>
          <a:xfrm>
            <a:off x="304801" y="141978"/>
            <a:ext cx="8524874" cy="212704"/>
          </a:xfrm>
          <a:prstGeom prst="rect">
            <a:avLst/>
          </a:prstGeom>
        </p:spPr>
        <p:txBody>
          <a:bodyPr lIns="0" rtlCol="0" anchor="ctr"/>
          <a:lstStyle>
            <a:lvl1pPr marL="0" indent="0" algn="l">
              <a:lnSpc>
                <a:spcPct val="100000"/>
              </a:lnSpc>
              <a:spcBef>
                <a:spcPts val="0"/>
              </a:spcBef>
              <a:buNone/>
              <a:defRPr sz="1800" i="1">
                <a:solidFill>
                  <a:schemeClr val="accent2"/>
                </a:solidFill>
                <a:latin typeface="Arial" pitchFamily="34" charset="0"/>
                <a:cs typeface="Arial"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pPr rtl="0"/>
            <a:r>
              <a:rPr lang="ru" noProof="0"/>
              <a:t>Click to add subtitle</a:t>
            </a:r>
          </a:p>
        </p:txBody>
      </p:sp>
    </p:spTree>
    <p:extLst>
      <p:ext uri="{BB962C8B-B14F-4D97-AF65-F5344CB8AC3E}">
        <p14:creationId xmlns:p14="http://schemas.microsoft.com/office/powerpoint/2010/main" val="2210976907"/>
      </p:ext>
    </p:extLst>
  </p:cSld>
  <p:clrMapOvr>
    <a:masterClrMapping/>
  </p:clrMapOvr>
  <p:extLst>
    <p:ext uri="{DCECCB84-F9BA-43D5-87BE-67443E8EF086}">
      <p15:sldGuideLst xmlns:p15="http://schemas.microsoft.com/office/powerpoint/2012/main" xmlns="">
        <p15:guide id="1" orient="horz" pos="75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4378782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1604617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2791853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4196388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3464356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500" indent="-135000">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20931570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9801304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767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RIA Tez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1" y="2876551"/>
            <a:ext cx="8834071" cy="2120400"/>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7557498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KD">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4196819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08338298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I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7" name="Picture 6" descr="Eosinophil_NK_Cell_10K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7447650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ncolog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page_04_AST109_TCell_Cancer_Cell_Lipid_Layer_10K_0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89998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VMD">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_Science image_f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Tree>
    <p:extLst>
      <p:ext uri="{BB962C8B-B14F-4D97-AF65-F5344CB8AC3E}">
        <p14:creationId xmlns:p14="http://schemas.microsoft.com/office/powerpoint/2010/main" val="26139300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tDN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NA_Inside_Blood_Vessel_10K_AD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37448967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abete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3" descr="Diabetes.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28275462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RIA TLR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C7AA4108-BF7C-8B47-A181-1F6A7DDCC8F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44000" y="2893812"/>
            <a:ext cx="8856000" cy="2125663"/>
          </a:xfrm>
          <a:prstGeom prst="rect">
            <a:avLst/>
          </a:prstGeom>
        </p:spPr>
      </p:pic>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1561228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scovery Sciences">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ISPR_technology_for_genome_editing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4311815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scovery Sciences_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0" y="2877962"/>
            <a:ext cx="8853082" cy="2113994"/>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30403731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arma_Science">
    <p:spTree>
      <p:nvGrpSpPr>
        <p:cNvPr id="1" name=""/>
        <p:cNvGrpSpPr/>
        <p:nvPr/>
      </p:nvGrpSpPr>
      <p:grpSpPr>
        <a:xfrm>
          <a:off x="0" y="0"/>
          <a:ext cx="0" cy="0"/>
          <a:chOff x="0" y="0"/>
          <a:chExt cx="0" cy="0"/>
        </a:xfrm>
      </p:grpSpPr>
      <p:pic>
        <p:nvPicPr>
          <p:cNvPr id="6" name="Picture 5" descr="A picture containing cake, indoor&#10;&#10;Description automatically generated">
            <a:extLst>
              <a:ext uri="{FF2B5EF4-FFF2-40B4-BE49-F238E27FC236}">
                <a16:creationId xmlns:a16="http://schemas.microsoft.com/office/drawing/2014/main" xmlns="" id="{C8911739-E2AF-3840-809D-CECCF95205E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000" y="2877963"/>
            <a:ext cx="8853081" cy="2113994"/>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918320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arma_Science_2">
    <p:spTree>
      <p:nvGrpSpPr>
        <p:cNvPr id="1" name=""/>
        <p:cNvGrpSpPr/>
        <p:nvPr/>
      </p:nvGrpSpPr>
      <p:grpSpPr>
        <a:xfrm>
          <a:off x="0" y="0"/>
          <a:ext cx="0" cy="0"/>
          <a:chOff x="0" y="0"/>
          <a:chExt cx="0" cy="0"/>
        </a:xfrm>
      </p:grpSpPr>
      <p:pic>
        <p:nvPicPr>
          <p:cNvPr id="7" name="Picture 6" descr="A picture containing cake, tree, indoor&#10;&#10;Description automatically generated">
            <a:extLst>
              <a:ext uri="{FF2B5EF4-FFF2-40B4-BE49-F238E27FC236}">
                <a16:creationId xmlns:a16="http://schemas.microsoft.com/office/drawing/2014/main" xmlns="" id="{A17D1182-E2FB-D045-B7C7-36522F049E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681" y="2877964"/>
            <a:ext cx="8852400" cy="2113994"/>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3882774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image" Target="../media/image1.jpeg"/><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image" Target="../media/image1.jpe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theme" Target="../theme/theme1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slideLayout" Target="../slideLayouts/slideLayout17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image" Target="../media/image1.jpeg"/><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slideLayout" Target="../slideLayouts/slideLayout171.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theme" Target="../theme/theme1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slideLayout" Target="../slideLayouts/slideLayout170.xml"/><Relationship Id="rId30" Type="http://schemas.openxmlformats.org/officeDocument/2006/relationships/slideLayout" Target="../slideLayouts/slideLayout17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image" Target="../media/image1.jpeg"/><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theme" Target="../theme/theme13.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image" Target="../media/image1.jpeg"/><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theme" Target="../theme/theme1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image" Target="../media/image1.jpeg"/><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theme" Target="../theme/theme16.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2" Type="http://schemas.openxmlformats.org/officeDocument/2006/relationships/slideLayout" Target="../slideLayouts/slideLayout265.xml"/><Relationship Id="rId16" Type="http://schemas.openxmlformats.org/officeDocument/2006/relationships/theme" Target="../theme/theme17.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10" Type="http://schemas.openxmlformats.org/officeDocument/2006/relationships/slideLayout" Target="../slideLayouts/slideLayout273.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theme" Target="../theme/theme18.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0" Type="http://schemas.openxmlformats.org/officeDocument/2006/relationships/slideLayout" Target="../slideLayouts/slideLayout305.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theme" Target="../theme/theme20.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2" Type="http://schemas.openxmlformats.org/officeDocument/2006/relationships/slideLayout" Target="../slideLayouts/slideLayout310.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0" Type="http://schemas.openxmlformats.org/officeDocument/2006/relationships/slideLayout" Target="../slideLayouts/slideLayout318.xml"/><Relationship Id="rId4" Type="http://schemas.openxmlformats.org/officeDocument/2006/relationships/slideLayout" Target="../slideLayouts/slideLayout312.xml"/><Relationship Id="rId9" Type="http://schemas.openxmlformats.org/officeDocument/2006/relationships/slideLayout" Target="../slideLayouts/slideLayout31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2" Type="http://schemas.openxmlformats.org/officeDocument/2006/relationships/slideLayout" Target="../slideLayouts/slideLayout322.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0" Type="http://schemas.openxmlformats.org/officeDocument/2006/relationships/slideLayout" Target="../slideLayouts/slideLayout330.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2" Type="http://schemas.openxmlformats.org/officeDocument/2006/relationships/slideLayout" Target="../slideLayouts/slideLayout335.xml"/><Relationship Id="rId16" Type="http://schemas.openxmlformats.org/officeDocument/2006/relationships/theme" Target="../theme/theme22.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10" Type="http://schemas.openxmlformats.org/officeDocument/2006/relationships/slideLayout" Target="../slideLayouts/slideLayout343.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3" Type="http://schemas.openxmlformats.org/officeDocument/2006/relationships/slideLayout" Target="../slideLayouts/slideLayout351.xml"/><Relationship Id="rId21" Type="http://schemas.openxmlformats.org/officeDocument/2006/relationships/image" Target="../media/image74.jpeg"/><Relationship Id="rId7" Type="http://schemas.openxmlformats.org/officeDocument/2006/relationships/slideLayout" Target="../slideLayouts/slideLayout355.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0" Type="http://schemas.openxmlformats.org/officeDocument/2006/relationships/theme" Target="../theme/theme23.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image" Target="../media/image76.png"/><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image" Target="../media/image75.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3.xml"/><Relationship Id="rId1" Type="http://schemas.openxmlformats.org/officeDocument/2006/relationships/slideLayout" Target="../slideLayouts/slideLayout32.xml"/><Relationship Id="rId4" Type="http://schemas.openxmlformats.org/officeDocument/2006/relationships/image" Target="../media/image12.jpeg"/></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image" Target="../media/image12.jpe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heme" Target="../theme/theme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image" Target="../media/image1.jpe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theme" Target="../theme/theme9.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211318905"/>
      </p:ext>
    </p:extLst>
  </p:cSld>
  <p:clrMap bg1="lt1" tx1="dk1" bg2="lt2" tx2="dk2" accent1="accent1" accent2="accent2" accent3="accent3" accent4="accent4" accent5="accent5" accent6="accent6" hlink="hlink" folHlink="folHlink"/>
  <p:sldLayoutIdLst>
    <p:sldLayoutId id="2147483790" r:id="rId1"/>
    <p:sldLayoutId id="2147484295" r:id="rId2"/>
    <p:sldLayoutId id="2147484329" r:id="rId3"/>
    <p:sldLayoutId id="2147484343" r:id="rId4"/>
    <p:sldLayoutId id="2147484346" r:id="rId5"/>
    <p:sldLayoutId id="2147484349" r:id="rId6"/>
    <p:sldLayoutId id="2147484381" r:id="rId7"/>
    <p:sldLayoutId id="2147484382" r:id="rId8"/>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4235415493"/>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69" r:id="rId19"/>
    <p:sldLayoutId id="2147484070" r:id="rId20"/>
    <p:sldLayoutId id="2147484071" r:id="rId21"/>
    <p:sldLayoutId id="2147484072" r:id="rId22"/>
    <p:sldLayoutId id="2147484073" r:id="rId23"/>
    <p:sldLayoutId id="2147484074" r:id="rId24"/>
    <p:sldLayoutId id="2147484075" r:id="rId25"/>
    <p:sldLayoutId id="2147484076" r:id="rId26"/>
    <p:sldLayoutId id="2147484077" r:id="rId27"/>
    <p:sldLayoutId id="2147484078" r:id="rId28"/>
    <p:sldLayoutId id="2147484079"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8440596" y="4497845"/>
            <a:ext cx="453600" cy="522161"/>
          </a:xfrm>
          <a:prstGeom prst="rect">
            <a:avLst/>
          </a:prstGeom>
        </p:spPr>
      </p:pic>
    </p:spTree>
    <p:extLst>
      <p:ext uri="{BB962C8B-B14F-4D97-AF65-F5344CB8AC3E}">
        <p14:creationId xmlns:p14="http://schemas.microsoft.com/office/powerpoint/2010/main" val="2406617273"/>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 id="2147484091" r:id="rId11"/>
    <p:sldLayoutId id="2147484092" r:id="rId12"/>
    <p:sldLayoutId id="2147484093" r:id="rId13"/>
    <p:sldLayoutId id="2147484094" r:id="rId14"/>
    <p:sldLayoutId id="2147484095" r:id="rId15"/>
    <p:sldLayoutId id="2147484096" r:id="rId16"/>
    <p:sldLayoutId id="2147484097" r:id="rId17"/>
    <p:sldLayoutId id="2147484098" r:id="rId18"/>
    <p:sldLayoutId id="2147484099" r:id="rId19"/>
    <p:sldLayoutId id="2147484100" r:id="rId20"/>
    <p:sldLayoutId id="2147484101" r:id="rId21"/>
    <p:sldLayoutId id="2147484102" r:id="rId22"/>
    <p:sldLayoutId id="2147484103" r:id="rId23"/>
    <p:sldLayoutId id="2147484104" r:id="rId24"/>
    <p:sldLayoutId id="2147484105" r:id="rId25"/>
    <p:sldLayoutId id="2147484106" r:id="rId26"/>
    <p:sldLayoutId id="2147484107" r:id="rId27"/>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3924949114"/>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 id="2147484127" r:id="rId19"/>
    <p:sldLayoutId id="2147484128" r:id="rId20"/>
    <p:sldLayoutId id="2147484129" r:id="rId21"/>
    <p:sldLayoutId id="2147484130" r:id="rId22"/>
    <p:sldLayoutId id="2147484131" r:id="rId23"/>
    <p:sldLayoutId id="2147484132" r:id="rId24"/>
    <p:sldLayoutId id="2147484133" r:id="rId25"/>
    <p:sldLayoutId id="2147484134" r:id="rId26"/>
    <p:sldLayoutId id="2147484135" r:id="rId27"/>
    <p:sldLayoutId id="2147484136" r:id="rId28"/>
    <p:sldLayoutId id="2147484137" r:id="rId29"/>
    <p:sldLayoutId id="2147484138" r:id="rId3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228011054"/>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 id="2147484159" r:id="rId20"/>
    <p:sldLayoutId id="2147484160" r:id="rId21"/>
    <p:sldLayoutId id="2147484161" r:id="rId2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8440596" y="4497847"/>
            <a:ext cx="453600" cy="522161"/>
          </a:xfrm>
          <a:prstGeom prst="rect">
            <a:avLst/>
          </a:prstGeom>
        </p:spPr>
      </p:pic>
      <p:sp>
        <p:nvSpPr>
          <p:cNvPr id="4" name="TextBox 3">
            <a:extLst>
              <a:ext uri="{FF2B5EF4-FFF2-40B4-BE49-F238E27FC236}">
                <a16:creationId xmlns:a16="http://schemas.microsoft.com/office/drawing/2014/main" xmlns="" id="{0CE82142-7358-5741-8864-C8F0A27018BB}"/>
              </a:ext>
            </a:extLst>
          </p:cNvPr>
          <p:cNvSpPr txBox="1"/>
          <p:nvPr userDrawn="1"/>
        </p:nvSpPr>
        <p:spPr>
          <a:xfrm>
            <a:off x="396000" y="4935637"/>
            <a:ext cx="7764486" cy="184666"/>
          </a:xfrm>
          <a:prstGeom prst="rect">
            <a:avLst/>
          </a:prstGeom>
          <a:noFill/>
        </p:spPr>
        <p:txBody>
          <a:bodyPr wrap="square" rtlCol="0">
            <a:spAutoFit/>
          </a:bodyPr>
          <a:lstStyle/>
          <a:p>
            <a:pPr marL="0" indent="0" algn="ctr">
              <a:buFont typeface="Arial" panose="020B0604020202020204" pitchFamily="34" charset="0"/>
              <a:buNone/>
            </a:pPr>
            <a:r>
              <a:rPr lang="en-US" sz="600" i="1" dirty="0">
                <a:solidFill>
                  <a:schemeClr val="bg1">
                    <a:lumMod val="50000"/>
                  </a:schemeClr>
                </a:solidFill>
              </a:rPr>
              <a:t>Proprietary and Confidential. © AstraZeneca 2019</a:t>
            </a:r>
            <a:r>
              <a:rPr lang="en-GB" sz="600" i="1" dirty="0">
                <a:solidFill>
                  <a:schemeClr val="bg1">
                    <a:lumMod val="50000"/>
                  </a:schemeClr>
                </a:solidFill>
              </a:rPr>
              <a:t>. FOR INTERNAL USE ONLY. This document is not to be shared or distributed outside AstraZeneca.</a:t>
            </a:r>
            <a:r>
              <a:rPr lang="en-US" sz="600" i="1" dirty="0">
                <a:solidFill>
                  <a:schemeClr val="bg1">
                    <a:lumMod val="50000"/>
                  </a:schemeClr>
                </a:solidFill>
              </a:rPr>
              <a:t> </a:t>
            </a:r>
          </a:p>
        </p:txBody>
      </p:sp>
      <p:sp>
        <p:nvSpPr>
          <p:cNvPr id="5" name="Slide Number Placeholder 5">
            <a:extLst>
              <a:ext uri="{FF2B5EF4-FFF2-40B4-BE49-F238E27FC236}">
                <a16:creationId xmlns:a16="http://schemas.microsoft.com/office/drawing/2014/main" xmlns="" id="{5B5540DB-2623-8740-9117-32220423153E}"/>
              </a:ext>
            </a:extLst>
          </p:cNvPr>
          <p:cNvSpPr>
            <a:spLocks noGrp="1"/>
          </p:cNvSpPr>
          <p:nvPr>
            <p:ph type="sldNum" sz="quarter" idx="4"/>
          </p:nvPr>
        </p:nvSpPr>
        <p:spPr>
          <a:xfrm>
            <a:off x="0" y="4981931"/>
            <a:ext cx="396000" cy="162000"/>
          </a:xfrm>
          <a:prstGeom prst="rect">
            <a:avLst/>
          </a:prstGeom>
        </p:spPr>
        <p:txBody>
          <a:bodyPr vert="horz" lIns="0" tIns="0" rIns="0" bIns="0" rtlCol="0" anchor="t" anchorCtr="0"/>
          <a:lstStyle>
            <a:lvl1pPr algn="ctr">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83665848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1" r:id="rId17"/>
    <p:sldLayoutId id="2147484182" r:id="rId18"/>
    <p:sldLayoutId id="2147484183" r:id="rId19"/>
  </p:sldLayoutIdLst>
  <p:hf hdr="0" dt="0"/>
  <p:txStyles>
    <p:titleStyle>
      <a:lvl1pPr algn="ctr" defTabSz="457166" rtl="0" eaLnBrk="1" latinLnBrk="0" hangingPunct="1">
        <a:spcBef>
          <a:spcPct val="0"/>
        </a:spcBef>
        <a:buNone/>
        <a:defRPr sz="4400" kern="1200">
          <a:solidFill>
            <a:schemeClr val="tx1"/>
          </a:solidFill>
          <a:latin typeface="+mj-lt"/>
          <a:ea typeface="+mj-ea"/>
          <a:cs typeface="+mj-cs"/>
        </a:defRPr>
      </a:lvl1pPr>
    </p:titleStyle>
    <p:bodyStyle>
      <a:lvl1pPr marL="342875" indent="-342875" algn="l" defTabSz="457166" rtl="0" eaLnBrk="1" latinLnBrk="0" hangingPunct="1">
        <a:spcBef>
          <a:spcPct val="20000"/>
        </a:spcBef>
        <a:buFont typeface="Arial"/>
        <a:buChar char="•"/>
        <a:defRPr sz="3200" kern="1200">
          <a:solidFill>
            <a:schemeClr val="tx1"/>
          </a:solidFill>
          <a:latin typeface="+mn-lt"/>
          <a:ea typeface="+mn-ea"/>
          <a:cs typeface="+mn-cs"/>
        </a:defRPr>
      </a:lvl1pPr>
      <a:lvl2pPr marL="742895" indent="-285729" algn="l" defTabSz="457166" rtl="0" eaLnBrk="1" latinLnBrk="0" hangingPunct="1">
        <a:spcBef>
          <a:spcPct val="20000"/>
        </a:spcBef>
        <a:buFont typeface="Arial"/>
        <a:buChar char="–"/>
        <a:defRPr sz="2800" kern="1200">
          <a:solidFill>
            <a:schemeClr val="tx1"/>
          </a:solidFill>
          <a:latin typeface="+mn-lt"/>
          <a:ea typeface="+mn-ea"/>
          <a:cs typeface="+mn-cs"/>
        </a:defRPr>
      </a:lvl2pPr>
      <a:lvl3pPr marL="1142915" indent="-228582" algn="l" defTabSz="457166" rtl="0" eaLnBrk="1" latinLnBrk="0" hangingPunct="1">
        <a:spcBef>
          <a:spcPct val="20000"/>
        </a:spcBef>
        <a:buFont typeface="Arial"/>
        <a:buChar char="•"/>
        <a:defRPr sz="2400" kern="1200">
          <a:solidFill>
            <a:schemeClr val="tx1"/>
          </a:solidFill>
          <a:latin typeface="+mn-lt"/>
          <a:ea typeface="+mn-ea"/>
          <a:cs typeface="+mn-cs"/>
        </a:defRPr>
      </a:lvl3pPr>
      <a:lvl4pPr marL="1600080" indent="-228582" algn="l" defTabSz="457166" rtl="0" eaLnBrk="1" latinLnBrk="0" hangingPunct="1">
        <a:spcBef>
          <a:spcPct val="20000"/>
        </a:spcBef>
        <a:buFont typeface="Arial"/>
        <a:buChar char="–"/>
        <a:defRPr sz="2000" kern="1200">
          <a:solidFill>
            <a:schemeClr val="tx1"/>
          </a:solidFill>
          <a:latin typeface="+mn-lt"/>
          <a:ea typeface="+mn-ea"/>
          <a:cs typeface="+mn-cs"/>
        </a:defRPr>
      </a:lvl4pPr>
      <a:lvl5pPr marL="2057246" indent="-228582" algn="l" defTabSz="457166" rtl="0" eaLnBrk="1" latinLnBrk="0" hangingPunct="1">
        <a:spcBef>
          <a:spcPct val="20000"/>
        </a:spcBef>
        <a:buFont typeface="Arial"/>
        <a:buChar char="»"/>
        <a:defRPr sz="2000" kern="1200">
          <a:solidFill>
            <a:schemeClr val="tx1"/>
          </a:solidFill>
          <a:latin typeface="+mn-lt"/>
          <a:ea typeface="+mn-ea"/>
          <a:cs typeface="+mn-cs"/>
        </a:defRPr>
      </a:lvl5pPr>
      <a:lvl6pPr marL="2514411" indent="-228582" algn="l" defTabSz="457166" rtl="0" eaLnBrk="1" latinLnBrk="0" hangingPunct="1">
        <a:spcBef>
          <a:spcPct val="20000"/>
        </a:spcBef>
        <a:buFont typeface="Arial"/>
        <a:buChar char="•"/>
        <a:defRPr sz="2000" kern="1200">
          <a:solidFill>
            <a:schemeClr val="tx1"/>
          </a:solidFill>
          <a:latin typeface="+mn-lt"/>
          <a:ea typeface="+mn-ea"/>
          <a:cs typeface="+mn-cs"/>
        </a:defRPr>
      </a:lvl6pPr>
      <a:lvl7pPr marL="2971578" indent="-228582" algn="l" defTabSz="457166" rtl="0" eaLnBrk="1" latinLnBrk="0" hangingPunct="1">
        <a:spcBef>
          <a:spcPct val="20000"/>
        </a:spcBef>
        <a:buFont typeface="Arial"/>
        <a:buChar char="•"/>
        <a:defRPr sz="2000" kern="1200">
          <a:solidFill>
            <a:schemeClr val="tx1"/>
          </a:solidFill>
          <a:latin typeface="+mn-lt"/>
          <a:ea typeface="+mn-ea"/>
          <a:cs typeface="+mn-cs"/>
        </a:defRPr>
      </a:lvl7pPr>
      <a:lvl8pPr marL="3428744" indent="-228582" algn="l" defTabSz="457166" rtl="0" eaLnBrk="1" latinLnBrk="0" hangingPunct="1">
        <a:spcBef>
          <a:spcPct val="20000"/>
        </a:spcBef>
        <a:buFont typeface="Arial"/>
        <a:buChar char="•"/>
        <a:defRPr sz="2000" kern="1200">
          <a:solidFill>
            <a:schemeClr val="tx1"/>
          </a:solidFill>
          <a:latin typeface="+mn-lt"/>
          <a:ea typeface="+mn-ea"/>
          <a:cs typeface="+mn-cs"/>
        </a:defRPr>
      </a:lvl8pPr>
      <a:lvl9pPr marL="3885909" indent="-228582" algn="l" defTabSz="45716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66" rtl="0" eaLnBrk="1" latinLnBrk="0" hangingPunct="1">
        <a:defRPr sz="1800" kern="1200">
          <a:solidFill>
            <a:schemeClr val="tx1"/>
          </a:solidFill>
          <a:latin typeface="+mn-lt"/>
          <a:ea typeface="+mn-ea"/>
          <a:cs typeface="+mn-cs"/>
        </a:defRPr>
      </a:lvl1pPr>
      <a:lvl2pPr marL="457166" algn="l" defTabSz="457166" rtl="0" eaLnBrk="1" latinLnBrk="0" hangingPunct="1">
        <a:defRPr sz="1800" kern="1200">
          <a:solidFill>
            <a:schemeClr val="tx1"/>
          </a:solidFill>
          <a:latin typeface="+mn-lt"/>
          <a:ea typeface="+mn-ea"/>
          <a:cs typeface="+mn-cs"/>
        </a:defRPr>
      </a:lvl2pPr>
      <a:lvl3pPr marL="914333" algn="l" defTabSz="457166" rtl="0" eaLnBrk="1" latinLnBrk="0" hangingPunct="1">
        <a:defRPr sz="1800" kern="1200">
          <a:solidFill>
            <a:schemeClr val="tx1"/>
          </a:solidFill>
          <a:latin typeface="+mn-lt"/>
          <a:ea typeface="+mn-ea"/>
          <a:cs typeface="+mn-cs"/>
        </a:defRPr>
      </a:lvl3pPr>
      <a:lvl4pPr marL="1371498" algn="l" defTabSz="457166" rtl="0" eaLnBrk="1" latinLnBrk="0" hangingPunct="1">
        <a:defRPr sz="1800" kern="1200">
          <a:solidFill>
            <a:schemeClr val="tx1"/>
          </a:solidFill>
          <a:latin typeface="+mn-lt"/>
          <a:ea typeface="+mn-ea"/>
          <a:cs typeface="+mn-cs"/>
        </a:defRPr>
      </a:lvl4pPr>
      <a:lvl5pPr marL="1828664" algn="l" defTabSz="457166" rtl="0" eaLnBrk="1" latinLnBrk="0" hangingPunct="1">
        <a:defRPr sz="1800" kern="1200">
          <a:solidFill>
            <a:schemeClr val="tx1"/>
          </a:solidFill>
          <a:latin typeface="+mn-lt"/>
          <a:ea typeface="+mn-ea"/>
          <a:cs typeface="+mn-cs"/>
        </a:defRPr>
      </a:lvl5pPr>
      <a:lvl6pPr marL="2285829" algn="l" defTabSz="457166" rtl="0" eaLnBrk="1" latinLnBrk="0" hangingPunct="1">
        <a:defRPr sz="1800" kern="1200">
          <a:solidFill>
            <a:schemeClr val="tx1"/>
          </a:solidFill>
          <a:latin typeface="+mn-lt"/>
          <a:ea typeface="+mn-ea"/>
          <a:cs typeface="+mn-cs"/>
        </a:defRPr>
      </a:lvl6pPr>
      <a:lvl7pPr marL="2742995" algn="l" defTabSz="457166" rtl="0" eaLnBrk="1" latinLnBrk="0" hangingPunct="1">
        <a:defRPr sz="1800" kern="1200">
          <a:solidFill>
            <a:schemeClr val="tx1"/>
          </a:solidFill>
          <a:latin typeface="+mn-lt"/>
          <a:ea typeface="+mn-ea"/>
          <a:cs typeface="+mn-cs"/>
        </a:defRPr>
      </a:lvl7pPr>
      <a:lvl8pPr marL="3200160" algn="l" defTabSz="457166" rtl="0" eaLnBrk="1" latinLnBrk="0" hangingPunct="1">
        <a:defRPr sz="1800" kern="1200">
          <a:solidFill>
            <a:schemeClr val="tx1"/>
          </a:solidFill>
          <a:latin typeface="+mn-lt"/>
          <a:ea typeface="+mn-ea"/>
          <a:cs typeface="+mn-cs"/>
        </a:defRPr>
      </a:lvl8pPr>
      <a:lvl9pPr marL="3657326" algn="l" defTabSz="457166"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3869085038"/>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 id="2147484209" r:id="rId25"/>
    <p:sldLayoutId id="2147484210" r:id="rId26"/>
    <p:sldLayoutId id="2147484211" r:id="rId27"/>
    <p:sldLayoutId id="2147484213" r:id="rId28"/>
    <p:sldLayoutId id="2147484221"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0" y="4943475"/>
            <a:ext cx="365760" cy="200025"/>
          </a:xfrm>
          <a:prstGeom prst="rect">
            <a:avLst/>
          </a:prstGeom>
        </p:spPr>
        <p:txBody>
          <a:bodyPr vert="horz" lIns="91440" tIns="45720" rIns="45720" bIns="45720" rtlCol="0" anchor="b" anchorCtr="0"/>
          <a:lstStyle>
            <a:lvl1pPr algn="ctr">
              <a:defRPr sz="750">
                <a:solidFill>
                  <a:schemeClr val="tx1"/>
                </a:solidFill>
              </a:defRPr>
            </a:lvl1pPr>
          </a:lstStyle>
          <a:p>
            <a:fld id="{CC7432E5-F8E0-41AE-9A6B-AD730338B005}" type="slidenum">
              <a:rPr lang="en-US" smtClean="0"/>
              <a:pPr/>
              <a:t>‹#›</a:t>
            </a:fld>
            <a:endParaRPr lang="en-US" dirty="0"/>
          </a:p>
        </p:txBody>
      </p:sp>
      <p:sp>
        <p:nvSpPr>
          <p:cNvPr id="2" name="Title Placeholder 1"/>
          <p:cNvSpPr>
            <a:spLocks noGrp="1"/>
          </p:cNvSpPr>
          <p:nvPr>
            <p:ph type="title"/>
          </p:nvPr>
        </p:nvSpPr>
        <p:spPr>
          <a:xfrm>
            <a:off x="342900" y="171452"/>
            <a:ext cx="8458200" cy="600074"/>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342900" y="942975"/>
            <a:ext cx="8458200" cy="3429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403350" y="4900613"/>
            <a:ext cx="971550" cy="242888"/>
          </a:xfrm>
          <a:prstGeom prst="rect">
            <a:avLst/>
          </a:prstGeom>
        </p:spPr>
        <p:txBody>
          <a:bodyPr vert="horz" lIns="91440" tIns="45720" rIns="91440" bIns="45720" rtlCol="0" anchor="ctr"/>
          <a:lstStyle>
            <a:lvl1pPr algn="l">
              <a:defRPr sz="900">
                <a:solidFill>
                  <a:schemeClr val="tx1">
                    <a:tint val="75000"/>
                  </a:schemeClr>
                </a:solidFill>
              </a:defRPr>
            </a:lvl1pPr>
          </a:lstStyle>
          <a:p>
            <a:fld id="{A500641C-1BFD-4E39-BE68-FA3BD8BB5F86}" type="datetime1">
              <a:rPr lang="en-US" smtClean="0"/>
              <a:t>6/29/2023</a:t>
            </a:fld>
            <a:endParaRPr lang="en-US" dirty="0"/>
          </a:p>
        </p:txBody>
      </p:sp>
      <p:sp>
        <p:nvSpPr>
          <p:cNvPr id="5" name="Footer Placeholder 4"/>
          <p:cNvSpPr>
            <a:spLocks noGrp="1"/>
          </p:cNvSpPr>
          <p:nvPr>
            <p:ph type="ftr" sz="quarter" idx="3"/>
          </p:nvPr>
        </p:nvSpPr>
        <p:spPr>
          <a:xfrm>
            <a:off x="-1403350" y="4503387"/>
            <a:ext cx="971550" cy="32075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8" name="TextBox 7"/>
          <p:cNvSpPr txBox="1"/>
          <p:nvPr userDrawn="1"/>
        </p:nvSpPr>
        <p:spPr>
          <a:xfrm>
            <a:off x="7620000" y="4958835"/>
            <a:ext cx="1524000" cy="207749"/>
          </a:xfrm>
          <a:prstGeom prst="rect">
            <a:avLst/>
          </a:prstGeom>
          <a:noFill/>
        </p:spPr>
        <p:txBody>
          <a:bodyPr wrap="square" rtlCol="0">
            <a:spAutoFit/>
          </a:bodyPr>
          <a:lstStyle/>
          <a:p>
            <a:pPr algn="r"/>
            <a:r>
              <a:rPr lang="en-US" sz="750" b="0" baseline="0" dirty="0">
                <a:solidFill>
                  <a:schemeClr val="tx1"/>
                </a:solidFill>
                <a:latin typeface="Arial" pitchFamily="34" charset="0"/>
                <a:cs typeface="Arial" pitchFamily="34" charset="0"/>
              </a:rPr>
              <a:t>© AstraZeneca 2020</a:t>
            </a:r>
          </a:p>
        </p:txBody>
      </p:sp>
      <p:sp>
        <p:nvSpPr>
          <p:cNvPr id="9" name="Rectangle 8"/>
          <p:cNvSpPr/>
          <p:nvPr userDrawn="1"/>
        </p:nvSpPr>
        <p:spPr>
          <a:xfrm>
            <a:off x="342900" y="846963"/>
            <a:ext cx="8801100" cy="13716"/>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10402876"/>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344" r:id="rId19"/>
    <p:sldLayoutId id="2147484345" r:id="rId20"/>
  </p:sldLayoutIdLst>
  <p:hf hdr="0" ftr="0" dt="0"/>
  <p:txStyles>
    <p:titleStyle>
      <a:lvl1pPr algn="l" defTabSz="685800" rtl="0" eaLnBrk="1" latinLnBrk="0" hangingPunct="1">
        <a:lnSpc>
          <a:spcPct val="90000"/>
        </a:lnSpc>
        <a:spcBef>
          <a:spcPct val="0"/>
        </a:spcBef>
        <a:buNone/>
        <a:defRPr sz="1800" b="1" kern="1200">
          <a:solidFill>
            <a:schemeClr val="accent1"/>
          </a:solidFill>
          <a:latin typeface="+mj-lt"/>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500" kern="1200">
          <a:solidFill>
            <a:schemeClr val="tx1"/>
          </a:solidFill>
          <a:latin typeface="+mn-lt"/>
          <a:ea typeface="+mn-ea"/>
          <a:cs typeface="+mn-cs"/>
        </a:defRPr>
      </a:lvl1pPr>
      <a:lvl2pPr marL="342900" indent="-171450" algn="l" defTabSz="685800" rtl="0" eaLnBrk="1" latinLnBrk="0" hangingPunct="1">
        <a:lnSpc>
          <a:spcPct val="90000"/>
        </a:lnSpc>
        <a:spcBef>
          <a:spcPts val="600"/>
        </a:spcBef>
        <a:buFont typeface="Arial" panose="020B0604020202020204" pitchFamily="34" charset="0"/>
        <a:buChar char="–"/>
        <a:defRPr sz="1350" kern="1200">
          <a:solidFill>
            <a:schemeClr val="tx1"/>
          </a:solidFill>
          <a:latin typeface="+mn-lt"/>
          <a:ea typeface="+mn-ea"/>
          <a:cs typeface="+mn-cs"/>
        </a:defRPr>
      </a:lvl2pPr>
      <a:lvl3pPr marL="514350" indent="-17145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685800" indent="-171450" algn="l" defTabSz="685800" rtl="0" eaLnBrk="1" latinLnBrk="0" hangingPunct="1">
        <a:lnSpc>
          <a:spcPct val="90000"/>
        </a:lnSpc>
        <a:spcBef>
          <a:spcPts val="450"/>
        </a:spcBef>
        <a:buFont typeface="Arial" panose="020B0604020202020204" pitchFamily="34" charset="0"/>
        <a:buChar char="–"/>
        <a:defRPr sz="1200" kern="1200">
          <a:solidFill>
            <a:schemeClr val="tx1"/>
          </a:solidFill>
          <a:latin typeface="+mn-lt"/>
          <a:ea typeface="+mn-ea"/>
          <a:cs typeface="+mn-cs"/>
        </a:defRPr>
      </a:lvl4pPr>
      <a:lvl5pPr marL="857250" indent="-171450" algn="l" defTabSz="685800" rtl="0" eaLnBrk="1" latinLnBrk="0" hangingPunct="1">
        <a:lnSpc>
          <a:spcPct val="90000"/>
        </a:lnSpc>
        <a:spcBef>
          <a:spcPts val="450"/>
        </a:spcBef>
        <a:buClr>
          <a:schemeClr val="accent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3840">
          <p15:clr>
            <a:srgbClr val="F26B43"/>
          </p15:clr>
        </p15:guide>
        <p15:guide id="2" orient="horz" pos="2160">
          <p15:clr>
            <a:srgbClr val="F26B43"/>
          </p15:clr>
        </p15:guide>
        <p15:guide id="3" pos="288">
          <p15:clr>
            <a:srgbClr val="F26B43"/>
          </p15:clr>
        </p15:guide>
        <p15:guide id="4" pos="7392">
          <p15:clr>
            <a:srgbClr val="F26B43"/>
          </p15:clr>
        </p15:guide>
        <p15:guide id="5" orient="horz" pos="144">
          <p15:clr>
            <a:srgbClr val="F26B43"/>
          </p15:clr>
        </p15:guide>
        <p15:guide id="6" orient="horz" pos="648">
          <p15:clr>
            <a:srgbClr val="F26B43"/>
          </p15:clr>
        </p15:guide>
        <p15:guide id="7" orient="horz" pos="792">
          <p15:clr>
            <a:srgbClr val="F26B43"/>
          </p15:clr>
        </p15:guide>
        <p15:guide id="8" orient="horz" pos="367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xmlns="" id="{66172457-6BD1-425A-A095-A445EC32342B}"/>
              </a:ext>
            </a:extLst>
          </p:cNvPr>
          <p:cNvSpPr/>
          <p:nvPr/>
        </p:nvSpPr>
        <p:spPr>
          <a:xfrm>
            <a:off x="8508615" y="4560954"/>
            <a:ext cx="328454" cy="398092"/>
          </a:xfrm>
          <a:custGeom>
            <a:avLst/>
            <a:gdLst>
              <a:gd name="connsiteX0" fmla="*/ 1363919 w 2695575"/>
              <a:gd name="connsiteY0" fmla="*/ 2303685 h 3267075"/>
              <a:gd name="connsiteX1" fmla="*/ 1277718 w 2695575"/>
              <a:gd name="connsiteY1" fmla="*/ 2359216 h 3267075"/>
              <a:gd name="connsiteX2" fmla="*/ 168532 w 2695575"/>
              <a:gd name="connsiteY2" fmla="*/ 1786096 h 3267075"/>
              <a:gd name="connsiteX3" fmla="*/ 1273 w 2695575"/>
              <a:gd name="connsiteY3" fmla="*/ 1595311 h 3267075"/>
              <a:gd name="connsiteX4" fmla="*/ 403513 w 2695575"/>
              <a:gd name="connsiteY4" fmla="*/ 963803 h 3267075"/>
              <a:gd name="connsiteX5" fmla="*/ 1479267 w 2695575"/>
              <a:gd name="connsiteY5" fmla="*/ 1683 h 3267075"/>
              <a:gd name="connsiteX6" fmla="*/ 1795973 w 2695575"/>
              <a:gd name="connsiteY6" fmla="*/ 1173925 h 3267075"/>
              <a:gd name="connsiteX7" fmla="*/ 1438690 w 2695575"/>
              <a:gd name="connsiteY7" fmla="*/ 1073626 h 3267075"/>
              <a:gd name="connsiteX8" fmla="*/ 1392875 w 2695575"/>
              <a:gd name="connsiteY8" fmla="*/ 657574 h 3267075"/>
              <a:gd name="connsiteX9" fmla="*/ 1333725 w 2695575"/>
              <a:gd name="connsiteY9" fmla="*/ 541846 h 3267075"/>
              <a:gd name="connsiteX10" fmla="*/ 1125508 w 2695575"/>
              <a:gd name="connsiteY10" fmla="*/ 706914 h 3267075"/>
              <a:gd name="connsiteX11" fmla="*/ 867952 w 2695575"/>
              <a:gd name="connsiteY11" fmla="*/ 967232 h 3267075"/>
              <a:gd name="connsiteX12" fmla="*/ 671166 w 2695575"/>
              <a:gd name="connsiteY12" fmla="*/ 1028097 h 3267075"/>
              <a:gd name="connsiteX13" fmla="*/ 653545 w 2695575"/>
              <a:gd name="connsiteY13" fmla="*/ 1183259 h 3267075"/>
              <a:gd name="connsiteX14" fmla="*/ 503335 w 2695575"/>
              <a:gd name="connsiteY14" fmla="*/ 1333468 h 3267075"/>
              <a:gd name="connsiteX15" fmla="*/ 231873 w 2695575"/>
              <a:gd name="connsiteY15" fmla="*/ 1619695 h 3267075"/>
              <a:gd name="connsiteX16" fmla="*/ 383892 w 2695575"/>
              <a:gd name="connsiteY16" fmla="*/ 1761427 h 3267075"/>
              <a:gd name="connsiteX17" fmla="*/ 1363919 w 2695575"/>
              <a:gd name="connsiteY17" fmla="*/ 2303685 h 3267075"/>
              <a:gd name="connsiteX18" fmla="*/ 2228884 w 2695575"/>
              <a:gd name="connsiteY18" fmla="*/ 1360424 h 3267075"/>
              <a:gd name="connsiteX19" fmla="*/ 906814 w 2695575"/>
              <a:gd name="connsiteY19" fmla="*/ 1009809 h 3267075"/>
              <a:gd name="connsiteX20" fmla="*/ 713743 w 2695575"/>
              <a:gd name="connsiteY20" fmla="*/ 1239457 h 3267075"/>
              <a:gd name="connsiteX21" fmla="*/ 1213424 w 2695575"/>
              <a:gd name="connsiteY21" fmla="*/ 1960975 h 3267075"/>
              <a:gd name="connsiteX22" fmla="*/ 1735870 w 2695575"/>
              <a:gd name="connsiteY22" fmla="*/ 1898396 h 3267075"/>
              <a:gd name="connsiteX23" fmla="*/ 1743586 w 2695575"/>
              <a:gd name="connsiteY23" fmla="*/ 1860582 h 3267075"/>
              <a:gd name="connsiteX24" fmla="*/ 1781686 w 2695575"/>
              <a:gd name="connsiteY24" fmla="*/ 1603121 h 3267075"/>
              <a:gd name="connsiteX25" fmla="*/ 1472409 w 2695575"/>
              <a:gd name="connsiteY25" fmla="*/ 1468533 h 3267075"/>
              <a:gd name="connsiteX26" fmla="*/ 1492888 w 2695575"/>
              <a:gd name="connsiteY26" fmla="*/ 1798955 h 3267075"/>
              <a:gd name="connsiteX27" fmla="*/ 1494507 w 2695575"/>
              <a:gd name="connsiteY27" fmla="*/ 1839246 h 3267075"/>
              <a:gd name="connsiteX28" fmla="*/ 1341345 w 2695575"/>
              <a:gd name="connsiteY28" fmla="*/ 1942402 h 3267075"/>
              <a:gd name="connsiteX29" fmla="*/ 828424 w 2695575"/>
              <a:gd name="connsiteY29" fmla="*/ 1181640 h 3267075"/>
              <a:gd name="connsiteX30" fmla="*/ 840139 w 2695575"/>
              <a:gd name="connsiteY30" fmla="*/ 1169734 h 3267075"/>
              <a:gd name="connsiteX31" fmla="*/ 848902 w 2695575"/>
              <a:gd name="connsiteY31" fmla="*/ 1173258 h 3267075"/>
              <a:gd name="connsiteX32" fmla="*/ 849855 w 2695575"/>
              <a:gd name="connsiteY32" fmla="*/ 1173448 h 3267075"/>
              <a:gd name="connsiteX33" fmla="*/ 849855 w 2695575"/>
              <a:gd name="connsiteY33" fmla="*/ 1173448 h 3267075"/>
              <a:gd name="connsiteX34" fmla="*/ 1469361 w 2695575"/>
              <a:gd name="connsiteY34" fmla="*/ 1425004 h 3267075"/>
              <a:gd name="connsiteX35" fmla="*/ 1784543 w 2695575"/>
              <a:gd name="connsiteY35" fmla="*/ 1562068 h 3267075"/>
              <a:gd name="connsiteX36" fmla="*/ 2030955 w 2695575"/>
              <a:gd name="connsiteY36" fmla="*/ 1680559 h 3267075"/>
              <a:gd name="connsiteX37" fmla="*/ 2144683 w 2695575"/>
              <a:gd name="connsiteY37" fmla="*/ 1836293 h 3267075"/>
              <a:gd name="connsiteX38" fmla="*/ 751938 w 2695575"/>
              <a:gd name="connsiteY38" fmla="*/ 2873947 h 3267075"/>
              <a:gd name="connsiteX39" fmla="*/ 748795 w 2695575"/>
              <a:gd name="connsiteY39" fmla="*/ 2878233 h 3267075"/>
              <a:gd name="connsiteX40" fmla="*/ 739174 w 2695575"/>
              <a:gd name="connsiteY40" fmla="*/ 2893759 h 3267075"/>
              <a:gd name="connsiteX41" fmla="*/ 736698 w 2695575"/>
              <a:gd name="connsiteY41" fmla="*/ 2898712 h 3267075"/>
              <a:gd name="connsiteX42" fmla="*/ 693931 w 2695575"/>
              <a:gd name="connsiteY42" fmla="*/ 3028347 h 3267075"/>
              <a:gd name="connsiteX43" fmla="*/ 868048 w 2695575"/>
              <a:gd name="connsiteY43" fmla="*/ 3247803 h 3267075"/>
              <a:gd name="connsiteX44" fmla="*/ 984253 w 2695575"/>
              <a:gd name="connsiteY44" fmla="*/ 3269710 h 3267075"/>
              <a:gd name="connsiteX45" fmla="*/ 1008351 w 2695575"/>
              <a:gd name="connsiteY45" fmla="*/ 3271234 h 3267075"/>
              <a:gd name="connsiteX46" fmla="*/ 2162400 w 2695575"/>
              <a:gd name="connsiteY46" fmla="*/ 3041872 h 3267075"/>
              <a:gd name="connsiteX47" fmla="*/ 2250697 w 2695575"/>
              <a:gd name="connsiteY47" fmla="*/ 2802414 h 3267075"/>
              <a:gd name="connsiteX48" fmla="*/ 1849027 w 2695575"/>
              <a:gd name="connsiteY48" fmla="*/ 2567718 h 3267075"/>
              <a:gd name="connsiteX49" fmla="*/ 1763017 w 2695575"/>
              <a:gd name="connsiteY49" fmla="*/ 2622868 h 3267075"/>
              <a:gd name="connsiteX50" fmla="*/ 2084676 w 2695575"/>
              <a:gd name="connsiteY50" fmla="*/ 2838609 h 3267075"/>
              <a:gd name="connsiteX51" fmla="*/ 2066388 w 2695575"/>
              <a:gd name="connsiteY51" fmla="*/ 2870803 h 3267075"/>
              <a:gd name="connsiteX52" fmla="*/ 2045242 w 2695575"/>
              <a:gd name="connsiteY52" fmla="*/ 2872327 h 3267075"/>
              <a:gd name="connsiteX53" fmla="*/ 1336011 w 2695575"/>
              <a:gd name="connsiteY53" fmla="*/ 2919095 h 3267075"/>
              <a:gd name="connsiteX54" fmla="*/ 1268669 w 2695575"/>
              <a:gd name="connsiteY54" fmla="*/ 2922524 h 3267075"/>
              <a:gd name="connsiteX55" fmla="*/ 1379350 w 2695575"/>
              <a:gd name="connsiteY55" fmla="*/ 2832703 h 3267075"/>
              <a:gd name="connsiteX56" fmla="*/ 2505205 w 2695575"/>
              <a:gd name="connsiteY56" fmla="*/ 2078133 h 3267075"/>
              <a:gd name="connsiteX57" fmla="*/ 2228884 w 2695575"/>
              <a:gd name="connsiteY57" fmla="*/ 1360424 h 326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695575" h="3267075">
                <a:moveTo>
                  <a:pt x="1363919" y="2303685"/>
                </a:moveTo>
                <a:cubicBezTo>
                  <a:pt x="1335154" y="2322068"/>
                  <a:pt x="1306293" y="2340261"/>
                  <a:pt x="1277718" y="2359216"/>
                </a:cubicBezTo>
                <a:cubicBezTo>
                  <a:pt x="945200" y="2174431"/>
                  <a:pt x="230539" y="1818386"/>
                  <a:pt x="168532" y="1786096"/>
                </a:cubicBezTo>
                <a:cubicBezTo>
                  <a:pt x="102238" y="1751711"/>
                  <a:pt x="-13396" y="1705324"/>
                  <a:pt x="1273" y="1595311"/>
                </a:cubicBezTo>
                <a:cubicBezTo>
                  <a:pt x="21751" y="1440815"/>
                  <a:pt x="289690" y="1102773"/>
                  <a:pt x="403513" y="963803"/>
                </a:cubicBezTo>
                <a:cubicBezTo>
                  <a:pt x="1019971" y="210090"/>
                  <a:pt x="1296101" y="-22511"/>
                  <a:pt x="1479267" y="1683"/>
                </a:cubicBezTo>
                <a:cubicBezTo>
                  <a:pt x="1674529" y="27210"/>
                  <a:pt x="1782924" y="229045"/>
                  <a:pt x="1795973" y="1173925"/>
                </a:cubicBezTo>
                <a:cubicBezTo>
                  <a:pt x="1687198" y="1140301"/>
                  <a:pt x="1566706" y="1105630"/>
                  <a:pt x="1438690" y="1073626"/>
                </a:cubicBezTo>
                <a:cubicBezTo>
                  <a:pt x="1428213" y="936371"/>
                  <a:pt x="1402686" y="729202"/>
                  <a:pt x="1392875" y="657574"/>
                </a:cubicBezTo>
                <a:cubicBezTo>
                  <a:pt x="1382017" y="576898"/>
                  <a:pt x="1366205" y="546227"/>
                  <a:pt x="1333725" y="541846"/>
                </a:cubicBezTo>
                <a:cubicBezTo>
                  <a:pt x="1296768" y="537083"/>
                  <a:pt x="1206947" y="623380"/>
                  <a:pt x="1125508" y="706914"/>
                </a:cubicBezTo>
                <a:cubicBezTo>
                  <a:pt x="1088266" y="744728"/>
                  <a:pt x="983491" y="850741"/>
                  <a:pt x="867952" y="967232"/>
                </a:cubicBezTo>
                <a:cubicBezTo>
                  <a:pt x="771274" y="960946"/>
                  <a:pt x="706789" y="981043"/>
                  <a:pt x="671166" y="1028097"/>
                </a:cubicBezTo>
                <a:cubicBezTo>
                  <a:pt x="642686" y="1066102"/>
                  <a:pt x="636495" y="1118013"/>
                  <a:pt x="653545" y="1183259"/>
                </a:cubicBezTo>
                <a:cubicBezTo>
                  <a:pt x="590965" y="1245648"/>
                  <a:pt x="537340" y="1299559"/>
                  <a:pt x="503335" y="1333468"/>
                </a:cubicBezTo>
                <a:cubicBezTo>
                  <a:pt x="374748" y="1461675"/>
                  <a:pt x="238921" y="1567688"/>
                  <a:pt x="231873" y="1619695"/>
                </a:cubicBezTo>
                <a:cubicBezTo>
                  <a:pt x="226253" y="1662081"/>
                  <a:pt x="291404" y="1706182"/>
                  <a:pt x="383892" y="1761427"/>
                </a:cubicBezTo>
                <a:cubicBezTo>
                  <a:pt x="609920" y="1896491"/>
                  <a:pt x="1166847" y="2197672"/>
                  <a:pt x="1363919" y="2303685"/>
                </a:cubicBezTo>
                <a:close/>
                <a:moveTo>
                  <a:pt x="2228884" y="1360424"/>
                </a:moveTo>
                <a:cubicBezTo>
                  <a:pt x="2011524" y="1284796"/>
                  <a:pt x="1473933" y="1084485"/>
                  <a:pt x="906814" y="1009809"/>
                </a:cubicBezTo>
                <a:cubicBezTo>
                  <a:pt x="711838" y="984282"/>
                  <a:pt x="633256" y="1053529"/>
                  <a:pt x="713743" y="1239457"/>
                </a:cubicBezTo>
                <a:cubicBezTo>
                  <a:pt x="792705" y="1422908"/>
                  <a:pt x="998159" y="1730375"/>
                  <a:pt x="1213424" y="1960975"/>
                </a:cubicBezTo>
                <a:cubicBezTo>
                  <a:pt x="1428403" y="2191576"/>
                  <a:pt x="1661766" y="2253488"/>
                  <a:pt x="1735870" y="1898396"/>
                </a:cubicBezTo>
                <a:cubicBezTo>
                  <a:pt x="1738633" y="1885728"/>
                  <a:pt x="1741109" y="1872964"/>
                  <a:pt x="1743586" y="1860582"/>
                </a:cubicBezTo>
                <a:cubicBezTo>
                  <a:pt x="1761493" y="1769142"/>
                  <a:pt x="1774923" y="1680655"/>
                  <a:pt x="1781686" y="1603121"/>
                </a:cubicBezTo>
                <a:cubicBezTo>
                  <a:pt x="1686245" y="1559782"/>
                  <a:pt x="1579375" y="1513586"/>
                  <a:pt x="1472409" y="1468533"/>
                </a:cubicBezTo>
                <a:cubicBezTo>
                  <a:pt x="1478410" y="1550067"/>
                  <a:pt x="1487935" y="1690751"/>
                  <a:pt x="1492888" y="1798955"/>
                </a:cubicBezTo>
                <a:cubicBezTo>
                  <a:pt x="1493459" y="1812862"/>
                  <a:pt x="1494126" y="1826197"/>
                  <a:pt x="1494507" y="1839246"/>
                </a:cubicBezTo>
                <a:cubicBezTo>
                  <a:pt x="1500984" y="2014601"/>
                  <a:pt x="1441167" y="2014030"/>
                  <a:pt x="1341345" y="1942402"/>
                </a:cubicBezTo>
                <a:cubicBezTo>
                  <a:pt x="1225140" y="1859344"/>
                  <a:pt x="869381" y="1389285"/>
                  <a:pt x="828424" y="1181640"/>
                </a:cubicBezTo>
                <a:cubicBezTo>
                  <a:pt x="826614" y="1167924"/>
                  <a:pt x="833091" y="1167543"/>
                  <a:pt x="840139" y="1169734"/>
                </a:cubicBezTo>
                <a:cubicBezTo>
                  <a:pt x="842711" y="1170781"/>
                  <a:pt x="845473" y="1171829"/>
                  <a:pt x="848902" y="1173258"/>
                </a:cubicBezTo>
                <a:cubicBezTo>
                  <a:pt x="849188" y="1173258"/>
                  <a:pt x="849474" y="1173448"/>
                  <a:pt x="849855" y="1173448"/>
                </a:cubicBezTo>
                <a:lnTo>
                  <a:pt x="849855" y="1173448"/>
                </a:lnTo>
                <a:cubicBezTo>
                  <a:pt x="930151" y="1205071"/>
                  <a:pt x="1197613" y="1310608"/>
                  <a:pt x="1469361" y="1425004"/>
                </a:cubicBezTo>
                <a:cubicBezTo>
                  <a:pt x="1577851" y="1470724"/>
                  <a:pt x="1686721" y="1517682"/>
                  <a:pt x="1784543" y="1562068"/>
                </a:cubicBezTo>
                <a:cubicBezTo>
                  <a:pt x="1880936" y="1605598"/>
                  <a:pt x="1966756" y="1646269"/>
                  <a:pt x="2030955" y="1680559"/>
                </a:cubicBezTo>
                <a:cubicBezTo>
                  <a:pt x="2148303" y="1743329"/>
                  <a:pt x="2193928" y="1786096"/>
                  <a:pt x="2144683" y="1836293"/>
                </a:cubicBezTo>
                <a:cubicBezTo>
                  <a:pt x="1900081" y="2084515"/>
                  <a:pt x="1046641" y="2437511"/>
                  <a:pt x="751938" y="2873947"/>
                </a:cubicBezTo>
                <a:cubicBezTo>
                  <a:pt x="751938" y="2873947"/>
                  <a:pt x="750700" y="2875471"/>
                  <a:pt x="748795" y="2878233"/>
                </a:cubicBezTo>
                <a:cubicBezTo>
                  <a:pt x="745366" y="2882900"/>
                  <a:pt x="742318" y="2888139"/>
                  <a:pt x="739174" y="2893759"/>
                </a:cubicBezTo>
                <a:cubicBezTo>
                  <a:pt x="738222" y="2895378"/>
                  <a:pt x="737555" y="2897283"/>
                  <a:pt x="736698" y="2898712"/>
                </a:cubicBezTo>
                <a:cubicBezTo>
                  <a:pt x="722125" y="2925382"/>
                  <a:pt x="701360" y="2971864"/>
                  <a:pt x="693931" y="3028347"/>
                </a:cubicBezTo>
                <a:cubicBezTo>
                  <a:pt x="681548" y="3123692"/>
                  <a:pt x="731078" y="3210846"/>
                  <a:pt x="868048" y="3247803"/>
                </a:cubicBezTo>
                <a:cubicBezTo>
                  <a:pt x="902433" y="3257995"/>
                  <a:pt x="941485" y="3265424"/>
                  <a:pt x="984253" y="3269710"/>
                </a:cubicBezTo>
                <a:cubicBezTo>
                  <a:pt x="991682" y="3270282"/>
                  <a:pt x="999969" y="3271044"/>
                  <a:pt x="1008351" y="3271234"/>
                </a:cubicBezTo>
                <a:cubicBezTo>
                  <a:pt x="1271431" y="3283998"/>
                  <a:pt x="1954564" y="3134360"/>
                  <a:pt x="2162400" y="3041872"/>
                </a:cubicBezTo>
                <a:cubicBezTo>
                  <a:pt x="2377189" y="2946527"/>
                  <a:pt x="2312990" y="2851658"/>
                  <a:pt x="2250697" y="2802414"/>
                </a:cubicBezTo>
                <a:cubicBezTo>
                  <a:pt x="2204215" y="2765267"/>
                  <a:pt x="1964947" y="2631917"/>
                  <a:pt x="1849027" y="2567718"/>
                </a:cubicBezTo>
                <a:cubicBezTo>
                  <a:pt x="1818071" y="2587530"/>
                  <a:pt x="1793592" y="2603056"/>
                  <a:pt x="1763017" y="2622868"/>
                </a:cubicBezTo>
                <a:cubicBezTo>
                  <a:pt x="1960375" y="2743359"/>
                  <a:pt x="2038480" y="2803271"/>
                  <a:pt x="2084676" y="2838609"/>
                </a:cubicBezTo>
                <a:cubicBezTo>
                  <a:pt x="2102297" y="2852516"/>
                  <a:pt x="2092677" y="2868899"/>
                  <a:pt x="2066388" y="2870803"/>
                </a:cubicBezTo>
                <a:cubicBezTo>
                  <a:pt x="2059244" y="2871375"/>
                  <a:pt x="2053339" y="2871756"/>
                  <a:pt x="2045242" y="2872327"/>
                </a:cubicBezTo>
                <a:cubicBezTo>
                  <a:pt x="1857790" y="2885377"/>
                  <a:pt x="1502698" y="2910237"/>
                  <a:pt x="1336011" y="2919095"/>
                </a:cubicBezTo>
                <a:cubicBezTo>
                  <a:pt x="1311532" y="2920619"/>
                  <a:pt x="1283909" y="2921858"/>
                  <a:pt x="1268669" y="2922524"/>
                </a:cubicBezTo>
                <a:cubicBezTo>
                  <a:pt x="1309912" y="2883758"/>
                  <a:pt x="1356394" y="2848801"/>
                  <a:pt x="1379350" y="2832703"/>
                </a:cubicBezTo>
                <a:cubicBezTo>
                  <a:pt x="1735775" y="2582005"/>
                  <a:pt x="2330230" y="2229676"/>
                  <a:pt x="2505205" y="2078133"/>
                </a:cubicBezTo>
                <a:cubicBezTo>
                  <a:pt x="2634268" y="1966500"/>
                  <a:pt x="2986217" y="1624838"/>
                  <a:pt x="2228884" y="1360424"/>
                </a:cubicBezTo>
                <a:close/>
              </a:path>
            </a:pathLst>
          </a:custGeom>
          <a:solidFill>
            <a:schemeClr val="bg2"/>
          </a:solidFill>
          <a:ln w="9525" cap="flat">
            <a:noFill/>
            <a:prstDash val="solid"/>
            <a:miter/>
          </a:ln>
        </p:spPr>
        <p:txBody>
          <a:bodyPr rtlCol="0" anchor="ctr"/>
          <a:lstStyle/>
          <a:p>
            <a:endParaRPr lang="it-IT"/>
          </a:p>
        </p:txBody>
      </p:sp>
    </p:spTree>
    <p:extLst>
      <p:ext uri="{BB962C8B-B14F-4D97-AF65-F5344CB8AC3E}">
        <p14:creationId xmlns:p14="http://schemas.microsoft.com/office/powerpoint/2010/main" val="3143045084"/>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 id="2147484282" r:id="rId12"/>
    <p:sldLayoutId id="2147484283" r:id="rId13"/>
    <p:sldLayoutId id="2147484284" r:id="rId14"/>
    <p:sldLayoutId id="2147484285" r:id="rId1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8">
          <p15:clr>
            <a:srgbClr val="F26B43"/>
          </p15:clr>
        </p15:guide>
        <p15:guide id="2" pos="204">
          <p15:clr>
            <a:srgbClr val="F26B43"/>
          </p15:clr>
        </p15:guide>
        <p15:guide id="3" pos="1973">
          <p15:clr>
            <a:srgbClr val="F26B43"/>
          </p15:clr>
        </p15:guide>
        <p15:guide id="4" pos="3810">
          <p15:clr>
            <a:srgbClr val="F26B43"/>
          </p15:clr>
        </p15:guide>
        <p15:guide id="5" pos="3901">
          <p15:clr>
            <a:srgbClr val="F26B43"/>
          </p15:clr>
        </p15:guide>
        <p15:guide id="6" pos="5670">
          <p15:clr>
            <a:srgbClr val="F26B43"/>
          </p15:clr>
        </p15:guide>
        <p15:guide id="7" orient="horz" pos="758">
          <p15:clr>
            <a:srgbClr val="F26B43"/>
          </p15:clr>
        </p15:guide>
        <p15:guide id="8" orient="horz" pos="3162">
          <p15:clr>
            <a:srgbClr val="F26B43"/>
          </p15:clr>
        </p15:guide>
        <p15:guide id="9" orient="horz" pos="2867">
          <p15:clr>
            <a:srgbClr val="F26B43"/>
          </p15:clr>
        </p15:guide>
        <p15:guide id="10" pos="2041">
          <p15:clr>
            <a:srgbClr val="F26B43"/>
          </p15:clr>
        </p15:guide>
        <p15:guide id="11" pos="2880">
          <p15:clr>
            <a:srgbClr val="F26B43"/>
          </p15:clr>
        </p15:guide>
        <p15:guide id="12" pos="299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900" y="171451"/>
            <a:ext cx="8458200" cy="60007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342900" y="963098"/>
            <a:ext cx="8458200" cy="340887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688908" y="4235052"/>
            <a:ext cx="2057400" cy="273844"/>
          </a:xfrm>
          <a:prstGeom prst="rect">
            <a:avLst/>
          </a:prstGeom>
        </p:spPr>
        <p:txBody>
          <a:bodyPr vert="horz" lIns="91440" tIns="45720" rIns="91440" bIns="45720" rtlCol="0" anchor="ctr"/>
          <a:lstStyle>
            <a:lvl1pPr algn="l">
              <a:defRPr sz="900">
                <a:solidFill>
                  <a:schemeClr val="tx1"/>
                </a:solidFill>
              </a:defRPr>
            </a:lvl1pPr>
          </a:lstStyle>
          <a:p>
            <a:fld id="{CD760F18-88F3-4EF5-B415-6A2DEC6930B5}" type="datetime1">
              <a:rPr lang="en-US" smtClean="0"/>
              <a:t>6/29/2023</a:t>
            </a:fld>
            <a:endParaRPr lang="en-US"/>
          </a:p>
        </p:txBody>
      </p:sp>
      <p:sp>
        <p:nvSpPr>
          <p:cNvPr id="5" name="Footer Placeholder 4"/>
          <p:cNvSpPr>
            <a:spLocks noGrp="1"/>
          </p:cNvSpPr>
          <p:nvPr>
            <p:ph type="ftr" sz="quarter" idx="3"/>
          </p:nvPr>
        </p:nvSpPr>
        <p:spPr>
          <a:xfrm>
            <a:off x="-3717608" y="4630340"/>
            <a:ext cx="3086100" cy="273844"/>
          </a:xfrm>
          <a:prstGeom prst="rect">
            <a:avLst/>
          </a:prstGeom>
        </p:spPr>
        <p:txBody>
          <a:bodyPr vert="horz" lIns="91440" tIns="45720" rIns="91440" bIns="45720" rtlCol="0" anchor="ctr"/>
          <a:lstStyle>
            <a:lvl1pPr algn="ctr">
              <a:defRPr sz="900">
                <a:solidFill>
                  <a:schemeClr val="tx1"/>
                </a:solidFill>
              </a:defRPr>
            </a:lvl1pPr>
          </a:lstStyle>
          <a:p>
            <a:endParaRPr lang="en-US"/>
          </a:p>
        </p:txBody>
      </p:sp>
      <p:sp>
        <p:nvSpPr>
          <p:cNvPr id="6" name="Slide Number Placeholder 5"/>
          <p:cNvSpPr>
            <a:spLocks noGrp="1"/>
          </p:cNvSpPr>
          <p:nvPr>
            <p:ph type="sldNum" sz="quarter" idx="4"/>
          </p:nvPr>
        </p:nvSpPr>
        <p:spPr>
          <a:xfrm>
            <a:off x="0" y="4869657"/>
            <a:ext cx="342900" cy="273844"/>
          </a:xfrm>
          <a:prstGeom prst="rect">
            <a:avLst/>
          </a:prstGeom>
        </p:spPr>
        <p:txBody>
          <a:bodyPr vert="horz" lIns="91440" tIns="45720" rIns="91440" bIns="0" rtlCol="0" anchor="ctr"/>
          <a:lstStyle>
            <a:lvl1pPr algn="ctr">
              <a:defRPr sz="750">
                <a:solidFill>
                  <a:schemeClr val="tx1"/>
                </a:solidFill>
              </a:defRPr>
            </a:lvl1pPr>
          </a:lstStyle>
          <a:p>
            <a:pPr algn="ctr"/>
            <a:fld id="{CC7432E5-F8E0-41AE-9A6B-AD730338B005}" type="slidenum">
              <a:rPr lang="en-US" smtClean="0"/>
              <a:pPr/>
              <a:t>‹#›</a:t>
            </a:fld>
            <a:endParaRPr lang="en-US" dirty="0"/>
          </a:p>
        </p:txBody>
      </p:sp>
      <p:sp>
        <p:nvSpPr>
          <p:cNvPr id="7" name="TextBox 6"/>
          <p:cNvSpPr txBox="1"/>
          <p:nvPr userDrawn="1"/>
        </p:nvSpPr>
        <p:spPr>
          <a:xfrm>
            <a:off x="7620000" y="4935752"/>
            <a:ext cx="1524000" cy="207749"/>
          </a:xfrm>
          <a:prstGeom prst="rect">
            <a:avLst/>
          </a:prstGeom>
          <a:noFill/>
        </p:spPr>
        <p:txBody>
          <a:bodyPr wrap="square" rtlCol="0" anchor="b" anchorCtr="0">
            <a:spAutoFit/>
          </a:bodyPr>
          <a:lstStyle/>
          <a:p>
            <a:pPr algn="r"/>
            <a:r>
              <a:rPr lang="en-US" sz="750" b="0" baseline="0" dirty="0">
                <a:solidFill>
                  <a:schemeClr val="tx1"/>
                </a:solidFill>
                <a:latin typeface="Arial" pitchFamily="34" charset="0"/>
                <a:cs typeface="Arial" pitchFamily="34" charset="0"/>
              </a:rPr>
              <a:t>© AstraZeneca 2021</a:t>
            </a:r>
          </a:p>
        </p:txBody>
      </p:sp>
      <p:sp>
        <p:nvSpPr>
          <p:cNvPr id="8" name="Rectangle 7"/>
          <p:cNvSpPr/>
          <p:nvPr userDrawn="1"/>
        </p:nvSpPr>
        <p:spPr>
          <a:xfrm>
            <a:off x="342900" y="846963"/>
            <a:ext cx="8801100" cy="13716"/>
          </a:xfrm>
          <a:prstGeom prst="rect">
            <a:avLst/>
          </a:prstGeom>
          <a:gradFill flip="none" rotWithShape="1">
            <a:gsLst>
              <a:gs pos="26000">
                <a:schemeClr val="accent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826033284"/>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Lst>
  <p:transition>
    <p:fade/>
  </p:transition>
  <p:hf hdr="0" ftr="0" dt="0"/>
  <p:txStyles>
    <p:titleStyle>
      <a:lvl1pPr algn="l" defTabSz="685800" rtl="0" eaLnBrk="1" latinLnBrk="0" hangingPunct="1">
        <a:lnSpc>
          <a:spcPct val="90000"/>
        </a:lnSpc>
        <a:spcBef>
          <a:spcPct val="0"/>
        </a:spcBef>
        <a:buNone/>
        <a:defRPr sz="2100" b="1" kern="1200">
          <a:solidFill>
            <a:schemeClr val="accent1"/>
          </a:solidFill>
          <a:latin typeface="+mj-lt"/>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500" kern="1200">
          <a:solidFill>
            <a:schemeClr val="tx1"/>
          </a:solidFill>
          <a:latin typeface="+mn-lt"/>
          <a:ea typeface="+mn-ea"/>
          <a:cs typeface="+mn-cs"/>
        </a:defRPr>
      </a:lvl1pPr>
      <a:lvl2pPr marL="342900" indent="-171450" algn="l" defTabSz="685800" rtl="0" eaLnBrk="1" latinLnBrk="0" hangingPunct="1">
        <a:lnSpc>
          <a:spcPct val="90000"/>
        </a:lnSpc>
        <a:spcBef>
          <a:spcPts val="600"/>
        </a:spcBef>
        <a:buClr>
          <a:schemeClr val="tx1"/>
        </a:buClr>
        <a:buFont typeface="Arial" panose="020B0604020202020204" pitchFamily="34" charset="0"/>
        <a:buChar char="–"/>
        <a:defRPr sz="1350" kern="1200">
          <a:solidFill>
            <a:schemeClr val="tx1"/>
          </a:solidFill>
          <a:latin typeface="+mn-lt"/>
          <a:ea typeface="+mn-ea"/>
          <a:cs typeface="+mn-cs"/>
        </a:defRPr>
      </a:lvl2pPr>
      <a:lvl3pPr marL="514350" indent="-17145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685800" indent="-171450" algn="l" defTabSz="6858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57250" indent="-17145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3840">
          <p15:clr>
            <a:srgbClr val="F26B43"/>
          </p15:clr>
        </p15:guide>
        <p15:guide id="2" orient="horz" pos="2160">
          <p15:clr>
            <a:srgbClr val="F26B43"/>
          </p15:clr>
        </p15:guide>
        <p15:guide id="3" pos="288">
          <p15:clr>
            <a:srgbClr val="F26B43"/>
          </p15:clr>
        </p15:guide>
        <p15:guide id="4" pos="7392">
          <p15:clr>
            <a:srgbClr val="F26B43"/>
          </p15:clr>
        </p15:guide>
        <p15:guide id="5" orient="horz" pos="144">
          <p15:clr>
            <a:srgbClr val="F26B43"/>
          </p15:clr>
        </p15:guide>
        <p15:guide id="6" orient="horz" pos="648">
          <p15:clr>
            <a:srgbClr val="F26B43"/>
          </p15:clr>
        </p15:guide>
        <p15:guide id="7" orient="horz" pos="792">
          <p15:clr>
            <a:srgbClr val="F26B43"/>
          </p15:clr>
        </p15:guide>
        <p15:guide id="8" orient="horz" pos="3672">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552101"/>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Lst>
  <p:txStyles>
    <p:titleStyle>
      <a:lvl1pPr algn="l" defTabSz="685600"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400" indent="-171400" algn="l" defTabSz="685600"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200" indent="-171400" algn="l" defTabSz="6856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000" indent="-171400" algn="l" defTabSz="6856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800" indent="-171400" algn="l" defTabSz="685600" rtl="0" eaLnBrk="1" latinLnBrk="0" hangingPunct="1">
        <a:lnSpc>
          <a:spcPct val="90000"/>
        </a:lnSpc>
        <a:spcBef>
          <a:spcPts val="375"/>
        </a:spcBef>
        <a:buFont typeface="Arial" panose="020B0604020202020204" pitchFamily="34" charset="0"/>
        <a:buChar char="•"/>
        <a:defRPr sz="1425" kern="1200">
          <a:solidFill>
            <a:schemeClr val="tx1"/>
          </a:solidFill>
          <a:latin typeface="+mn-lt"/>
          <a:ea typeface="+mn-ea"/>
          <a:cs typeface="+mn-cs"/>
        </a:defRPr>
      </a:lvl4pPr>
      <a:lvl5pPr marL="1542600" indent="-171400" algn="l" defTabSz="685600" rtl="0" eaLnBrk="1" latinLnBrk="0" hangingPunct="1">
        <a:lnSpc>
          <a:spcPct val="90000"/>
        </a:lnSpc>
        <a:spcBef>
          <a:spcPts val="375"/>
        </a:spcBef>
        <a:buFont typeface="Arial" panose="020B0604020202020204" pitchFamily="34" charset="0"/>
        <a:buChar char="•"/>
        <a:defRPr sz="1425" kern="1200">
          <a:solidFill>
            <a:schemeClr val="tx1"/>
          </a:solidFill>
          <a:latin typeface="+mn-lt"/>
          <a:ea typeface="+mn-ea"/>
          <a:cs typeface="+mn-cs"/>
        </a:defRPr>
      </a:lvl5pPr>
      <a:lvl6pPr marL="1885400" indent="-171400" algn="l" defTabSz="685600" rtl="0" eaLnBrk="1" latinLnBrk="0" hangingPunct="1">
        <a:lnSpc>
          <a:spcPct val="90000"/>
        </a:lnSpc>
        <a:spcBef>
          <a:spcPts val="375"/>
        </a:spcBef>
        <a:buFont typeface="Arial" panose="020B0604020202020204" pitchFamily="34" charset="0"/>
        <a:buChar char="•"/>
        <a:defRPr sz="1425" kern="1200">
          <a:solidFill>
            <a:schemeClr val="tx1"/>
          </a:solidFill>
          <a:latin typeface="+mn-lt"/>
          <a:ea typeface="+mn-ea"/>
          <a:cs typeface="+mn-cs"/>
        </a:defRPr>
      </a:lvl6pPr>
      <a:lvl7pPr marL="2228200" indent="-171400" algn="l" defTabSz="685600" rtl="0" eaLnBrk="1" latinLnBrk="0" hangingPunct="1">
        <a:lnSpc>
          <a:spcPct val="90000"/>
        </a:lnSpc>
        <a:spcBef>
          <a:spcPts val="375"/>
        </a:spcBef>
        <a:buFont typeface="Arial" panose="020B0604020202020204" pitchFamily="34" charset="0"/>
        <a:buChar char="•"/>
        <a:defRPr sz="1425" kern="1200">
          <a:solidFill>
            <a:schemeClr val="tx1"/>
          </a:solidFill>
          <a:latin typeface="+mn-lt"/>
          <a:ea typeface="+mn-ea"/>
          <a:cs typeface="+mn-cs"/>
        </a:defRPr>
      </a:lvl7pPr>
      <a:lvl8pPr marL="2571000" indent="-171400" algn="l" defTabSz="685600" rtl="0" eaLnBrk="1" latinLnBrk="0" hangingPunct="1">
        <a:lnSpc>
          <a:spcPct val="90000"/>
        </a:lnSpc>
        <a:spcBef>
          <a:spcPts val="375"/>
        </a:spcBef>
        <a:buFont typeface="Arial" panose="020B0604020202020204" pitchFamily="34" charset="0"/>
        <a:buChar char="•"/>
        <a:defRPr sz="1425" kern="1200">
          <a:solidFill>
            <a:schemeClr val="tx1"/>
          </a:solidFill>
          <a:latin typeface="+mn-lt"/>
          <a:ea typeface="+mn-ea"/>
          <a:cs typeface="+mn-cs"/>
        </a:defRPr>
      </a:lvl8pPr>
      <a:lvl9pPr marL="2913800" indent="-171400" algn="l" defTabSz="685600" rtl="0" eaLnBrk="1" latinLnBrk="0" hangingPunct="1">
        <a:lnSpc>
          <a:spcPct val="90000"/>
        </a:lnSpc>
        <a:spcBef>
          <a:spcPts val="375"/>
        </a:spcBef>
        <a:buFont typeface="Arial" panose="020B0604020202020204" pitchFamily="34" charset="0"/>
        <a:buChar char="•"/>
        <a:defRPr sz="1425" kern="1200">
          <a:solidFill>
            <a:schemeClr val="tx1"/>
          </a:solidFill>
          <a:latin typeface="+mn-lt"/>
          <a:ea typeface="+mn-ea"/>
          <a:cs typeface="+mn-cs"/>
        </a:defRPr>
      </a:lvl9pPr>
    </p:bodyStyle>
    <p:otherStyle>
      <a:defPPr>
        <a:defRPr lang="en-US"/>
      </a:defPPr>
      <a:lvl1pPr marL="0" algn="l" defTabSz="685600" rtl="0" eaLnBrk="1" latinLnBrk="0" hangingPunct="1">
        <a:defRPr sz="1425" kern="1200">
          <a:solidFill>
            <a:schemeClr val="tx1"/>
          </a:solidFill>
          <a:latin typeface="+mn-lt"/>
          <a:ea typeface="+mn-ea"/>
          <a:cs typeface="+mn-cs"/>
        </a:defRPr>
      </a:lvl1pPr>
      <a:lvl2pPr marL="342800" algn="l" defTabSz="685600" rtl="0" eaLnBrk="1" latinLnBrk="0" hangingPunct="1">
        <a:defRPr sz="1425" kern="1200">
          <a:solidFill>
            <a:schemeClr val="tx1"/>
          </a:solidFill>
          <a:latin typeface="+mn-lt"/>
          <a:ea typeface="+mn-ea"/>
          <a:cs typeface="+mn-cs"/>
        </a:defRPr>
      </a:lvl2pPr>
      <a:lvl3pPr marL="685600" algn="l" defTabSz="685600" rtl="0" eaLnBrk="1" latinLnBrk="0" hangingPunct="1">
        <a:defRPr sz="1425" kern="1200">
          <a:solidFill>
            <a:schemeClr val="tx1"/>
          </a:solidFill>
          <a:latin typeface="+mn-lt"/>
          <a:ea typeface="+mn-ea"/>
          <a:cs typeface="+mn-cs"/>
        </a:defRPr>
      </a:lvl3pPr>
      <a:lvl4pPr marL="1028400" algn="l" defTabSz="685600" rtl="0" eaLnBrk="1" latinLnBrk="0" hangingPunct="1">
        <a:defRPr sz="1425" kern="1200">
          <a:solidFill>
            <a:schemeClr val="tx1"/>
          </a:solidFill>
          <a:latin typeface="+mn-lt"/>
          <a:ea typeface="+mn-ea"/>
          <a:cs typeface="+mn-cs"/>
        </a:defRPr>
      </a:lvl4pPr>
      <a:lvl5pPr marL="1371200" algn="l" defTabSz="685600" rtl="0" eaLnBrk="1" latinLnBrk="0" hangingPunct="1">
        <a:defRPr sz="1425" kern="1200">
          <a:solidFill>
            <a:schemeClr val="tx1"/>
          </a:solidFill>
          <a:latin typeface="+mn-lt"/>
          <a:ea typeface="+mn-ea"/>
          <a:cs typeface="+mn-cs"/>
        </a:defRPr>
      </a:lvl5pPr>
      <a:lvl6pPr marL="1714000" algn="l" defTabSz="685600" rtl="0" eaLnBrk="1" latinLnBrk="0" hangingPunct="1">
        <a:defRPr sz="1425" kern="1200">
          <a:solidFill>
            <a:schemeClr val="tx1"/>
          </a:solidFill>
          <a:latin typeface="+mn-lt"/>
          <a:ea typeface="+mn-ea"/>
          <a:cs typeface="+mn-cs"/>
        </a:defRPr>
      </a:lvl6pPr>
      <a:lvl7pPr marL="2056800" algn="l" defTabSz="685600" rtl="0" eaLnBrk="1" latinLnBrk="0" hangingPunct="1">
        <a:defRPr sz="1425" kern="1200">
          <a:solidFill>
            <a:schemeClr val="tx1"/>
          </a:solidFill>
          <a:latin typeface="+mn-lt"/>
          <a:ea typeface="+mn-ea"/>
          <a:cs typeface="+mn-cs"/>
        </a:defRPr>
      </a:lvl7pPr>
      <a:lvl8pPr marL="2399600" algn="l" defTabSz="685600" rtl="0" eaLnBrk="1" latinLnBrk="0" hangingPunct="1">
        <a:defRPr sz="1425" kern="1200">
          <a:solidFill>
            <a:schemeClr val="tx1"/>
          </a:solidFill>
          <a:latin typeface="+mn-lt"/>
          <a:ea typeface="+mn-ea"/>
          <a:cs typeface="+mn-cs"/>
        </a:defRPr>
      </a:lvl8pPr>
      <a:lvl9pPr marL="2742400" algn="l" defTabSz="685600" rtl="0" eaLnBrk="1" latinLnBrk="0" hangingPunct="1">
        <a:defRPr sz="142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525332996"/>
      </p:ext>
    </p:extLst>
  </p:cSld>
  <p:clrMap bg1="lt1" tx1="dk1" bg2="lt2" tx2="dk2" accent1="accent1" accent2="accent2" accent3="accent3" accent4="accent4" accent5="accent5" accent6="accent6" hlink="hlink" folHlink="folHlink"/>
  <p:sldLayoutIdLst>
    <p:sldLayoutId id="2147483765" r:id="rId1"/>
    <p:sldLayoutId id="2147483782" r:id="rId2"/>
    <p:sldLayoutId id="2147484347" r:id="rId3"/>
    <p:sldLayoutId id="2147484348" r:id="rId4"/>
    <p:sldLayoutId id="2147484380" r:id="rId5"/>
    <p:sldLayoutId id="2147484387" r:id="rId6"/>
    <p:sldLayoutId id="2147484388"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0"/>
          </a:schemeClr>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C7A2A3B-C6B1-4299-9398-7420D88CA51B}" type="datetimeFigureOut">
              <a:rPr lang="ru-RU" smtClean="0"/>
              <a:t>29.06.2023</a:t>
            </a:fld>
            <a:endParaRPr lang="ru-RU"/>
          </a:p>
        </p:txBody>
      </p:sp>
      <p:sp>
        <p:nvSpPr>
          <p:cNvPr id="5" name="Нижний колонтитул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7894F0B-62D9-49CD-9B83-98273CB52FD4}" type="slidenum">
              <a:rPr lang="ru-RU" smtClean="0"/>
              <a:t>‹#›</a:t>
            </a:fld>
            <a:endParaRPr lang="ru-RU"/>
          </a:p>
        </p:txBody>
      </p:sp>
    </p:spTree>
    <p:extLst>
      <p:ext uri="{BB962C8B-B14F-4D97-AF65-F5344CB8AC3E}">
        <p14:creationId xmlns:p14="http://schemas.microsoft.com/office/powerpoint/2010/main" val="2133478519"/>
      </p:ext>
    </p:extLst>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341" r:id="rId11"/>
    <p:sldLayoutId id="214748434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xmlns="" id="{28B2F24F-49D9-4242-890B-CCC01EBE57F0}"/>
              </a:ext>
            </a:extLst>
          </p:cNvPr>
          <p:cNvSpPr>
            <a:spLocks noGrp="1"/>
          </p:cNvSpPr>
          <p:nvPr>
            <p:ph type="title"/>
          </p:nvPr>
        </p:nvSpPr>
        <p:spPr>
          <a:xfrm>
            <a:off x="314328" y="152232"/>
            <a:ext cx="8515348" cy="679042"/>
          </a:xfrm>
          <a:prstGeom prst="rect">
            <a:avLst/>
          </a:prstGeom>
          <a:noFill/>
        </p:spPr>
        <p:txBody>
          <a:bodyPr vert="horz" lIns="0" anchor="ctr"/>
          <a:lstStyle/>
          <a:p>
            <a:pPr marL="0" lvl="0" algn="l"/>
            <a:r>
              <a:rPr lang="en-US"/>
              <a:t>Click to edit Master title style</a:t>
            </a:r>
          </a:p>
        </p:txBody>
      </p:sp>
      <p:sp>
        <p:nvSpPr>
          <p:cNvPr id="2" name="Footer Placeholder 1">
            <a:extLst>
              <a:ext uri="{FF2B5EF4-FFF2-40B4-BE49-F238E27FC236}">
                <a16:creationId xmlns:a16="http://schemas.microsoft.com/office/drawing/2014/main" xmlns="" id="{EF216E37-EBFD-4563-A434-CF6606041823}"/>
              </a:ext>
            </a:extLst>
          </p:cNvPr>
          <p:cNvSpPr>
            <a:spLocks noGrp="1"/>
          </p:cNvSpPr>
          <p:nvPr>
            <p:ph type="ftr" sz="quarter" idx="3"/>
          </p:nvPr>
        </p:nvSpPr>
        <p:spPr>
          <a:xfrm>
            <a:off x="2427568" y="4857752"/>
            <a:ext cx="6710082" cy="274637"/>
          </a:xfrm>
          <a:prstGeom prst="rect">
            <a:avLst/>
          </a:prstGeom>
        </p:spPr>
        <p:txBody>
          <a:bodyPr vert="horz" lIns="91440" tIns="45720" rIns="91440" bIns="45720" rtlCol="0" anchor="b"/>
          <a:lstStyle>
            <a:lvl1pPr algn="l">
              <a:defRPr sz="600">
                <a:solidFill>
                  <a:schemeClr val="tx2"/>
                </a:solidFill>
              </a:defRPr>
            </a:lvl1pPr>
          </a:lstStyle>
          <a:p>
            <a:pPr defTabSz="685800">
              <a:defRPr/>
            </a:pPr>
            <a:r>
              <a:rPr lang="en-GB">
                <a:solidFill>
                  <a:srgbClr val="3F4444"/>
                </a:solidFill>
              </a:rPr>
              <a:t>References</a:t>
            </a:r>
          </a:p>
        </p:txBody>
      </p:sp>
    </p:spTree>
    <p:extLst>
      <p:ext uri="{BB962C8B-B14F-4D97-AF65-F5344CB8AC3E}">
        <p14:creationId xmlns:p14="http://schemas.microsoft.com/office/powerpoint/2010/main" val="421983864"/>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Lst>
  <p:hf sldNum="0" hdr="0" dt="0"/>
  <p:txStyles>
    <p:titleStyle>
      <a:lvl1pPr algn="ctr" defTabSz="457178" rtl="0" eaLnBrk="1" latinLnBrk="0" hangingPunct="1">
        <a:spcBef>
          <a:spcPct val="0"/>
        </a:spcBef>
        <a:buNone/>
        <a:defRPr kumimoji="1" lang="en-US" sz="2000" b="1" kern="1200" baseline="0" smtClean="0">
          <a:solidFill>
            <a:schemeClr val="tx2"/>
          </a:solidFill>
          <a:latin typeface="Arial" pitchFamily="34" charset="0"/>
          <a:ea typeface="+mj-ea"/>
          <a:cs typeface="Arial" pitchFamily="34" charset="0"/>
        </a:defRPr>
      </a:lvl1pPr>
    </p:titleStyle>
    <p:bodyStyle>
      <a:lvl1pPr marL="342884" indent="-342884" algn="l" defTabSz="457178" rtl="0" eaLnBrk="1" latinLnBrk="0" hangingPunct="1">
        <a:spcBef>
          <a:spcPct val="20000"/>
        </a:spcBef>
        <a:buFont typeface="Arial"/>
        <a:buChar char="•"/>
        <a:defRPr kumimoji="1" sz="3200" kern="1200">
          <a:solidFill>
            <a:schemeClr val="tx1"/>
          </a:solidFill>
          <a:latin typeface="+mn-lt"/>
          <a:ea typeface="+mn-ea"/>
          <a:cs typeface="+mn-cs"/>
        </a:defRPr>
      </a:lvl1pPr>
      <a:lvl2pPr marL="742913" indent="-285736" algn="l" defTabSz="457178" rtl="0" eaLnBrk="1" latinLnBrk="0" hangingPunct="1">
        <a:spcBef>
          <a:spcPct val="20000"/>
        </a:spcBef>
        <a:buFont typeface="Arial"/>
        <a:buChar char="–"/>
        <a:defRPr kumimoji="1" sz="2800" kern="1200">
          <a:solidFill>
            <a:schemeClr val="tx1"/>
          </a:solidFill>
          <a:latin typeface="+mn-lt"/>
          <a:ea typeface="+mn-ea"/>
          <a:cs typeface="+mn-cs"/>
        </a:defRPr>
      </a:lvl2pPr>
      <a:lvl3pPr marL="1142944" indent="-228588" algn="l" defTabSz="457178" rtl="0" eaLnBrk="1" latinLnBrk="0" hangingPunct="1">
        <a:spcBef>
          <a:spcPct val="20000"/>
        </a:spcBef>
        <a:buFont typeface="Arial"/>
        <a:buChar char="•"/>
        <a:defRPr kumimoji="1" sz="2400" kern="1200">
          <a:solidFill>
            <a:schemeClr val="tx1"/>
          </a:solidFill>
          <a:latin typeface="+mn-lt"/>
          <a:ea typeface="+mn-ea"/>
          <a:cs typeface="+mn-cs"/>
        </a:defRPr>
      </a:lvl3pPr>
      <a:lvl4pPr marL="1600120"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4pPr>
      <a:lvl5pPr marL="2057297"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5pPr>
      <a:lvl6pPr marL="2514474"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en-US"/>
      </a:defPPr>
      <a:lvl1pPr marL="0" algn="l" defTabSz="457178" rtl="0" eaLnBrk="1" latinLnBrk="0" hangingPunct="1">
        <a:defRPr kumimoji="1" sz="1800" kern="1200">
          <a:solidFill>
            <a:schemeClr val="tx1"/>
          </a:solidFill>
          <a:latin typeface="+mn-lt"/>
          <a:ea typeface="+mn-ea"/>
          <a:cs typeface="+mn-cs"/>
        </a:defRPr>
      </a:lvl1pPr>
      <a:lvl2pPr marL="457178" algn="l" defTabSz="457178" rtl="0" eaLnBrk="1" latinLnBrk="0" hangingPunct="1">
        <a:defRPr kumimoji="1" sz="1800" kern="1200">
          <a:solidFill>
            <a:schemeClr val="tx1"/>
          </a:solidFill>
          <a:latin typeface="+mn-lt"/>
          <a:ea typeface="+mn-ea"/>
          <a:cs typeface="+mn-cs"/>
        </a:defRPr>
      </a:lvl2pPr>
      <a:lvl3pPr marL="914355" algn="l" defTabSz="457178" rtl="0" eaLnBrk="1" latinLnBrk="0" hangingPunct="1">
        <a:defRPr kumimoji="1" sz="1800" kern="1200">
          <a:solidFill>
            <a:schemeClr val="tx1"/>
          </a:solidFill>
          <a:latin typeface="+mn-lt"/>
          <a:ea typeface="+mn-ea"/>
          <a:cs typeface="+mn-cs"/>
        </a:defRPr>
      </a:lvl3pPr>
      <a:lvl4pPr marL="1371532" algn="l" defTabSz="457178" rtl="0" eaLnBrk="1" latinLnBrk="0" hangingPunct="1">
        <a:defRPr kumimoji="1" sz="1800" kern="1200">
          <a:solidFill>
            <a:schemeClr val="tx1"/>
          </a:solidFill>
          <a:latin typeface="+mn-lt"/>
          <a:ea typeface="+mn-ea"/>
          <a:cs typeface="+mn-cs"/>
        </a:defRPr>
      </a:lvl4pPr>
      <a:lvl5pPr marL="1828709" algn="l" defTabSz="457178" rtl="0" eaLnBrk="1" latinLnBrk="0" hangingPunct="1">
        <a:defRPr kumimoji="1" sz="1800" kern="1200">
          <a:solidFill>
            <a:schemeClr val="tx1"/>
          </a:solidFill>
          <a:latin typeface="+mn-lt"/>
          <a:ea typeface="+mn-ea"/>
          <a:cs typeface="+mn-cs"/>
        </a:defRPr>
      </a:lvl5pPr>
      <a:lvl6pPr marL="2285886" algn="l" defTabSz="457178" rtl="0" eaLnBrk="1" latinLnBrk="0" hangingPunct="1">
        <a:defRPr kumimoji="1" sz="1800" kern="1200">
          <a:solidFill>
            <a:schemeClr val="tx1"/>
          </a:solidFill>
          <a:latin typeface="+mn-lt"/>
          <a:ea typeface="+mn-ea"/>
          <a:cs typeface="+mn-cs"/>
        </a:defRPr>
      </a:lvl6pPr>
      <a:lvl7pPr marL="2743064" algn="l" defTabSz="457178" rtl="0" eaLnBrk="1" latinLnBrk="0" hangingPunct="1">
        <a:defRPr kumimoji="1" sz="1800" kern="1200">
          <a:solidFill>
            <a:schemeClr val="tx1"/>
          </a:solidFill>
          <a:latin typeface="+mn-lt"/>
          <a:ea typeface="+mn-ea"/>
          <a:cs typeface="+mn-cs"/>
        </a:defRPr>
      </a:lvl7pPr>
      <a:lvl8pPr marL="3200240" algn="l" defTabSz="457178" rtl="0" eaLnBrk="1" latinLnBrk="0" hangingPunct="1">
        <a:defRPr kumimoji="1" sz="1800" kern="1200">
          <a:solidFill>
            <a:schemeClr val="tx1"/>
          </a:solidFill>
          <a:latin typeface="+mn-lt"/>
          <a:ea typeface="+mn-ea"/>
          <a:cs typeface="+mn-cs"/>
        </a:defRPr>
      </a:lvl8pPr>
      <a:lvl9pPr marL="3657418" algn="l" defTabSz="457178"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880">
          <p15:clr>
            <a:srgbClr val="F26B43"/>
          </p15:clr>
        </p15:guide>
        <p15:guide id="2" pos="260">
          <p15:clr>
            <a:srgbClr val="F26B43"/>
          </p15:clr>
        </p15:guide>
        <p15:guide id="3" pos="7418">
          <p15:clr>
            <a:srgbClr val="F26B43"/>
          </p15:clr>
        </p15:guide>
        <p15:guide id="5" orient="horz" pos="4077">
          <p15:clr>
            <a:srgbClr val="F26B43"/>
          </p15:clr>
        </p15:guide>
        <p15:guide id="6" orient="horz" pos="701">
          <p15:clr>
            <a:srgbClr val="F26B43"/>
          </p15:clr>
        </p15:guide>
        <p15:guide id="7" orient="horz" pos="2160">
          <p15:clr>
            <a:srgbClr val="F26B43"/>
          </p15:clr>
        </p15:guide>
        <p15:guide id="8" pos="3840">
          <p15:clr>
            <a:srgbClr val="F26B43"/>
          </p15:clr>
        </p15:guide>
        <p15:guide id="9" orient="horz" pos="49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xmlns="" id="{28B2F24F-49D9-4242-890B-CCC01EBE57F0}"/>
              </a:ext>
            </a:extLst>
          </p:cNvPr>
          <p:cNvSpPr>
            <a:spLocks noGrp="1"/>
          </p:cNvSpPr>
          <p:nvPr>
            <p:ph type="title"/>
          </p:nvPr>
        </p:nvSpPr>
        <p:spPr>
          <a:xfrm>
            <a:off x="314328" y="152232"/>
            <a:ext cx="8515348" cy="679042"/>
          </a:xfrm>
          <a:prstGeom prst="rect">
            <a:avLst/>
          </a:prstGeom>
          <a:noFill/>
        </p:spPr>
        <p:txBody>
          <a:bodyPr vert="horz" lIns="0" anchor="ctr"/>
          <a:lstStyle/>
          <a:p>
            <a:pPr marL="0" lvl="0" algn="l"/>
            <a:r>
              <a:rPr lang="en-US"/>
              <a:t>Click to edit Master title style</a:t>
            </a:r>
          </a:p>
        </p:txBody>
      </p:sp>
      <p:sp>
        <p:nvSpPr>
          <p:cNvPr id="2" name="Footer Placeholder 1">
            <a:extLst>
              <a:ext uri="{FF2B5EF4-FFF2-40B4-BE49-F238E27FC236}">
                <a16:creationId xmlns:a16="http://schemas.microsoft.com/office/drawing/2014/main" xmlns="" id="{EF216E37-EBFD-4563-A434-CF6606041823}"/>
              </a:ext>
            </a:extLst>
          </p:cNvPr>
          <p:cNvSpPr>
            <a:spLocks noGrp="1"/>
          </p:cNvSpPr>
          <p:nvPr>
            <p:ph type="ftr" sz="quarter" idx="3"/>
          </p:nvPr>
        </p:nvSpPr>
        <p:spPr>
          <a:xfrm>
            <a:off x="2427568" y="4857752"/>
            <a:ext cx="6710082" cy="274637"/>
          </a:xfrm>
          <a:prstGeom prst="rect">
            <a:avLst/>
          </a:prstGeom>
        </p:spPr>
        <p:txBody>
          <a:bodyPr vert="horz" lIns="91440" tIns="45720" rIns="91440" bIns="45720" rtlCol="0" anchor="b"/>
          <a:lstStyle>
            <a:lvl1pPr algn="l">
              <a:defRPr sz="600">
                <a:solidFill>
                  <a:schemeClr val="tx2"/>
                </a:solidFill>
              </a:defRPr>
            </a:lvl1pPr>
          </a:lstStyle>
          <a:p>
            <a:r>
              <a:rPr lang="en-GB"/>
              <a:t>References</a:t>
            </a:r>
          </a:p>
        </p:txBody>
      </p:sp>
    </p:spTree>
    <p:extLst>
      <p:ext uri="{BB962C8B-B14F-4D97-AF65-F5344CB8AC3E}">
        <p14:creationId xmlns:p14="http://schemas.microsoft.com/office/powerpoint/2010/main" val="3527245483"/>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Lst>
  <p:hf sldNum="0" hdr="0" dt="0"/>
  <p:txStyles>
    <p:titleStyle>
      <a:lvl1pPr algn="ctr" defTabSz="457178" rtl="0" eaLnBrk="1" latinLnBrk="0" hangingPunct="1">
        <a:spcBef>
          <a:spcPct val="0"/>
        </a:spcBef>
        <a:buNone/>
        <a:defRPr kumimoji="1" lang="en-US" sz="2000" b="1" kern="1200" baseline="0" smtClean="0">
          <a:solidFill>
            <a:schemeClr val="tx2"/>
          </a:solidFill>
          <a:latin typeface="Arial" pitchFamily="34" charset="0"/>
          <a:ea typeface="+mj-ea"/>
          <a:cs typeface="Arial" pitchFamily="34" charset="0"/>
        </a:defRPr>
      </a:lvl1pPr>
    </p:titleStyle>
    <p:bodyStyle>
      <a:lvl1pPr marL="342884" indent="-342884" algn="l" defTabSz="457178" rtl="0" eaLnBrk="1" latinLnBrk="0" hangingPunct="1">
        <a:spcBef>
          <a:spcPct val="20000"/>
        </a:spcBef>
        <a:buFont typeface="Arial"/>
        <a:buChar char="•"/>
        <a:defRPr kumimoji="1" sz="3200" kern="1200">
          <a:solidFill>
            <a:schemeClr val="tx1"/>
          </a:solidFill>
          <a:latin typeface="+mn-lt"/>
          <a:ea typeface="+mn-ea"/>
          <a:cs typeface="+mn-cs"/>
        </a:defRPr>
      </a:lvl1pPr>
      <a:lvl2pPr marL="742913" indent="-285736" algn="l" defTabSz="457178" rtl="0" eaLnBrk="1" latinLnBrk="0" hangingPunct="1">
        <a:spcBef>
          <a:spcPct val="20000"/>
        </a:spcBef>
        <a:buFont typeface="Arial"/>
        <a:buChar char="–"/>
        <a:defRPr kumimoji="1" sz="2800" kern="1200">
          <a:solidFill>
            <a:schemeClr val="tx1"/>
          </a:solidFill>
          <a:latin typeface="+mn-lt"/>
          <a:ea typeface="+mn-ea"/>
          <a:cs typeface="+mn-cs"/>
        </a:defRPr>
      </a:lvl2pPr>
      <a:lvl3pPr marL="1142944" indent="-228588" algn="l" defTabSz="457178" rtl="0" eaLnBrk="1" latinLnBrk="0" hangingPunct="1">
        <a:spcBef>
          <a:spcPct val="20000"/>
        </a:spcBef>
        <a:buFont typeface="Arial"/>
        <a:buChar char="•"/>
        <a:defRPr kumimoji="1" sz="2400" kern="1200">
          <a:solidFill>
            <a:schemeClr val="tx1"/>
          </a:solidFill>
          <a:latin typeface="+mn-lt"/>
          <a:ea typeface="+mn-ea"/>
          <a:cs typeface="+mn-cs"/>
        </a:defRPr>
      </a:lvl3pPr>
      <a:lvl4pPr marL="1600120"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4pPr>
      <a:lvl5pPr marL="2057297"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5pPr>
      <a:lvl6pPr marL="2514474"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en-US"/>
      </a:defPPr>
      <a:lvl1pPr marL="0" algn="l" defTabSz="457178" rtl="0" eaLnBrk="1" latinLnBrk="0" hangingPunct="1">
        <a:defRPr kumimoji="1" sz="1800" kern="1200">
          <a:solidFill>
            <a:schemeClr val="tx1"/>
          </a:solidFill>
          <a:latin typeface="+mn-lt"/>
          <a:ea typeface="+mn-ea"/>
          <a:cs typeface="+mn-cs"/>
        </a:defRPr>
      </a:lvl1pPr>
      <a:lvl2pPr marL="457178" algn="l" defTabSz="457178" rtl="0" eaLnBrk="1" latinLnBrk="0" hangingPunct="1">
        <a:defRPr kumimoji="1" sz="1800" kern="1200">
          <a:solidFill>
            <a:schemeClr val="tx1"/>
          </a:solidFill>
          <a:latin typeface="+mn-lt"/>
          <a:ea typeface="+mn-ea"/>
          <a:cs typeface="+mn-cs"/>
        </a:defRPr>
      </a:lvl2pPr>
      <a:lvl3pPr marL="914355" algn="l" defTabSz="457178" rtl="0" eaLnBrk="1" latinLnBrk="0" hangingPunct="1">
        <a:defRPr kumimoji="1" sz="1800" kern="1200">
          <a:solidFill>
            <a:schemeClr val="tx1"/>
          </a:solidFill>
          <a:latin typeface="+mn-lt"/>
          <a:ea typeface="+mn-ea"/>
          <a:cs typeface="+mn-cs"/>
        </a:defRPr>
      </a:lvl3pPr>
      <a:lvl4pPr marL="1371532" algn="l" defTabSz="457178" rtl="0" eaLnBrk="1" latinLnBrk="0" hangingPunct="1">
        <a:defRPr kumimoji="1" sz="1800" kern="1200">
          <a:solidFill>
            <a:schemeClr val="tx1"/>
          </a:solidFill>
          <a:latin typeface="+mn-lt"/>
          <a:ea typeface="+mn-ea"/>
          <a:cs typeface="+mn-cs"/>
        </a:defRPr>
      </a:lvl4pPr>
      <a:lvl5pPr marL="1828709" algn="l" defTabSz="457178" rtl="0" eaLnBrk="1" latinLnBrk="0" hangingPunct="1">
        <a:defRPr kumimoji="1" sz="1800" kern="1200">
          <a:solidFill>
            <a:schemeClr val="tx1"/>
          </a:solidFill>
          <a:latin typeface="+mn-lt"/>
          <a:ea typeface="+mn-ea"/>
          <a:cs typeface="+mn-cs"/>
        </a:defRPr>
      </a:lvl5pPr>
      <a:lvl6pPr marL="2285886" algn="l" defTabSz="457178" rtl="0" eaLnBrk="1" latinLnBrk="0" hangingPunct="1">
        <a:defRPr kumimoji="1" sz="1800" kern="1200">
          <a:solidFill>
            <a:schemeClr val="tx1"/>
          </a:solidFill>
          <a:latin typeface="+mn-lt"/>
          <a:ea typeface="+mn-ea"/>
          <a:cs typeface="+mn-cs"/>
        </a:defRPr>
      </a:lvl6pPr>
      <a:lvl7pPr marL="2743064" algn="l" defTabSz="457178" rtl="0" eaLnBrk="1" latinLnBrk="0" hangingPunct="1">
        <a:defRPr kumimoji="1" sz="1800" kern="1200">
          <a:solidFill>
            <a:schemeClr val="tx1"/>
          </a:solidFill>
          <a:latin typeface="+mn-lt"/>
          <a:ea typeface="+mn-ea"/>
          <a:cs typeface="+mn-cs"/>
        </a:defRPr>
      </a:lvl7pPr>
      <a:lvl8pPr marL="3200240" algn="l" defTabSz="457178" rtl="0" eaLnBrk="1" latinLnBrk="0" hangingPunct="1">
        <a:defRPr kumimoji="1" sz="1800" kern="1200">
          <a:solidFill>
            <a:schemeClr val="tx1"/>
          </a:solidFill>
          <a:latin typeface="+mn-lt"/>
          <a:ea typeface="+mn-ea"/>
          <a:cs typeface="+mn-cs"/>
        </a:defRPr>
      </a:lvl8pPr>
      <a:lvl9pPr marL="3657418" algn="l" defTabSz="457178"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880">
          <p15:clr>
            <a:srgbClr val="F26B43"/>
          </p15:clr>
        </p15:guide>
        <p15:guide id="2" pos="260">
          <p15:clr>
            <a:srgbClr val="F26B43"/>
          </p15:clr>
        </p15:guide>
        <p15:guide id="3" pos="7418">
          <p15:clr>
            <a:srgbClr val="F26B43"/>
          </p15:clr>
        </p15:guide>
        <p15:guide id="5" orient="horz" pos="4077">
          <p15:clr>
            <a:srgbClr val="F26B43"/>
          </p15:clr>
        </p15:guide>
        <p15:guide id="6" orient="horz" pos="701">
          <p15:clr>
            <a:srgbClr val="F26B43"/>
          </p15:clr>
        </p15:guide>
        <p15:guide id="7" orient="horz" pos="2160">
          <p15:clr>
            <a:srgbClr val="F26B43"/>
          </p15:clr>
        </p15:guide>
        <p15:guide id="8" pos="3840">
          <p15:clr>
            <a:srgbClr val="F26B43"/>
          </p15:clr>
        </p15:guide>
        <p15:guide id="9" orient="horz" pos="491">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C7A2A3B-C6B1-4299-9398-7420D88CA51B}" type="datetimeFigureOut">
              <a:rPr lang="ru-RU" smtClean="0"/>
              <a:t>29.06.2023</a:t>
            </a:fld>
            <a:endParaRPr lang="ru-RU"/>
          </a:p>
        </p:txBody>
      </p:sp>
      <p:sp>
        <p:nvSpPr>
          <p:cNvPr id="5" name="Нижний колонтитул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7894F0B-62D9-49CD-9B83-98273CB52FD4}" type="slidenum">
              <a:rPr lang="ru-RU" smtClean="0"/>
              <a:t>‹#›</a:t>
            </a:fld>
            <a:endParaRPr lang="ru-RU"/>
          </a:p>
        </p:txBody>
      </p:sp>
      <p:pic>
        <p:nvPicPr>
          <p:cNvPr id="7" name="Рисунок 2">
            <a:extLst>
              <a:ext uri="{FF2B5EF4-FFF2-40B4-BE49-F238E27FC236}">
                <a16:creationId xmlns:a16="http://schemas.microsoft.com/office/drawing/2014/main" xmlns="" id="{C2BD0C52-9264-47F2-9934-4FDDA6DB5296}"/>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538" y="0"/>
            <a:ext cx="9145076" cy="5143500"/>
          </a:xfrm>
          <a:prstGeom prst="rect">
            <a:avLst/>
          </a:prstGeom>
        </p:spPr>
      </p:pic>
      <p:grpSp>
        <p:nvGrpSpPr>
          <p:cNvPr id="8" name="グループ化 4">
            <a:extLst>
              <a:ext uri="{FF2B5EF4-FFF2-40B4-BE49-F238E27FC236}">
                <a16:creationId xmlns:a16="http://schemas.microsoft.com/office/drawing/2014/main" xmlns="" id="{F6702935-136D-4BD1-898E-002883F78C24}"/>
              </a:ext>
            </a:extLst>
          </p:cNvPr>
          <p:cNvGrpSpPr/>
          <p:nvPr userDrawn="1"/>
        </p:nvGrpSpPr>
        <p:grpSpPr>
          <a:xfrm>
            <a:off x="5774896" y="4713549"/>
            <a:ext cx="2044570" cy="326265"/>
            <a:chOff x="5948902" y="244153"/>
            <a:chExt cx="3020520" cy="482004"/>
          </a:xfrm>
        </p:grpSpPr>
        <p:pic>
          <p:nvPicPr>
            <p:cNvPr id="9" name="図 1">
              <a:extLst>
                <a:ext uri="{FF2B5EF4-FFF2-40B4-BE49-F238E27FC236}">
                  <a16:creationId xmlns:a16="http://schemas.microsoft.com/office/drawing/2014/main" xmlns="" id="{3D74A70A-E302-4DAC-BF61-49CC99396763}"/>
                </a:ext>
              </a:extLst>
            </p:cNvPr>
            <p:cNvPicPr>
              <a:picLocks noChangeAspect="1"/>
            </p:cNvPicPr>
            <p:nvPr userDrawn="1"/>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10" name="Picture 26">
              <a:extLst>
                <a:ext uri="{FF2B5EF4-FFF2-40B4-BE49-F238E27FC236}">
                  <a16:creationId xmlns:a16="http://schemas.microsoft.com/office/drawing/2014/main" xmlns="" id="{B9600B60-93BA-46A9-8E64-1807B6ED564F}"/>
                </a:ext>
              </a:extLst>
            </p:cNvPr>
            <p:cNvPicPr>
              <a:picLocks noChangeAspect="1"/>
            </p:cNvPicPr>
            <p:nvPr userDrawn="1"/>
          </p:nvPicPr>
          <p:blipFill>
            <a:blip r:embed="rId23"/>
            <a:stretch>
              <a:fillRect/>
            </a:stretch>
          </p:blipFill>
          <p:spPr>
            <a:xfrm>
              <a:off x="7680308" y="244153"/>
              <a:ext cx="1289114" cy="345697"/>
            </a:xfrm>
            <a:prstGeom prst="rect">
              <a:avLst/>
            </a:prstGeom>
          </p:spPr>
        </p:pic>
        <p:cxnSp>
          <p:nvCxnSpPr>
            <p:cNvPr id="11" name="Straight Connector 27">
              <a:extLst>
                <a:ext uri="{FF2B5EF4-FFF2-40B4-BE49-F238E27FC236}">
                  <a16:creationId xmlns:a16="http://schemas.microsoft.com/office/drawing/2014/main" xmlns="" id="{2A65882B-193A-4DD5-B898-6B79F51F2A11}"/>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70274470"/>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 id="2147484400" r:id="rId4"/>
    <p:sldLayoutId id="2147484401" r:id="rId5"/>
    <p:sldLayoutId id="2147484402" r:id="rId6"/>
    <p:sldLayoutId id="2147484403" r:id="rId7"/>
    <p:sldLayoutId id="2147484404" r:id="rId8"/>
    <p:sldLayoutId id="2147484405" r:id="rId9"/>
    <p:sldLayoutId id="2147484406" r:id="rId10"/>
    <p:sldLayoutId id="2147484407" r:id="rId11"/>
    <p:sldLayoutId id="2147484408" r:id="rId12"/>
    <p:sldLayoutId id="2147484409" r:id="rId13"/>
    <p:sldLayoutId id="2147484410" r:id="rId14"/>
    <p:sldLayoutId id="2147484411" r:id="rId15"/>
    <p:sldLayoutId id="2147484412" r:id="rId16"/>
    <p:sldLayoutId id="2147484413" r:id="rId17"/>
    <p:sldLayoutId id="2147484414" r:id="rId18"/>
    <p:sldLayoutId id="2147484415" r:id="rId19"/>
  </p:sldLayoutIdLst>
  <p:txStyles>
    <p:titleStyle>
      <a:lvl1pPr algn="l" defTabSz="685549"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387" indent="-171387" algn="l" defTabSz="685549"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161" indent="-171387" algn="l" defTabSz="6855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6936" indent="-171387" algn="l" defTabSz="6855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710" indent="-171387" algn="l" defTabSz="6855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484" indent="-171387" algn="l" defTabSz="6855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259" indent="-171387" algn="l" defTabSz="6855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033" indent="-171387" algn="l" defTabSz="6855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0807" indent="-171387" algn="l" defTabSz="6855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581" indent="-171387" algn="l" defTabSz="6855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549" rtl="0" eaLnBrk="1" latinLnBrk="0" hangingPunct="1">
        <a:defRPr sz="1350" kern="1200">
          <a:solidFill>
            <a:schemeClr val="tx1"/>
          </a:solidFill>
          <a:latin typeface="+mn-lt"/>
          <a:ea typeface="+mn-ea"/>
          <a:cs typeface="+mn-cs"/>
        </a:defRPr>
      </a:lvl1pPr>
      <a:lvl2pPr marL="342774" algn="l" defTabSz="685549" rtl="0" eaLnBrk="1" latinLnBrk="0" hangingPunct="1">
        <a:defRPr sz="1350" kern="1200">
          <a:solidFill>
            <a:schemeClr val="tx1"/>
          </a:solidFill>
          <a:latin typeface="+mn-lt"/>
          <a:ea typeface="+mn-ea"/>
          <a:cs typeface="+mn-cs"/>
        </a:defRPr>
      </a:lvl2pPr>
      <a:lvl3pPr marL="685549" algn="l" defTabSz="685549" rtl="0" eaLnBrk="1" latinLnBrk="0" hangingPunct="1">
        <a:defRPr sz="1350" kern="1200">
          <a:solidFill>
            <a:schemeClr val="tx1"/>
          </a:solidFill>
          <a:latin typeface="+mn-lt"/>
          <a:ea typeface="+mn-ea"/>
          <a:cs typeface="+mn-cs"/>
        </a:defRPr>
      </a:lvl3pPr>
      <a:lvl4pPr marL="1028323" algn="l" defTabSz="685549" rtl="0" eaLnBrk="1" latinLnBrk="0" hangingPunct="1">
        <a:defRPr sz="1350" kern="1200">
          <a:solidFill>
            <a:schemeClr val="tx1"/>
          </a:solidFill>
          <a:latin typeface="+mn-lt"/>
          <a:ea typeface="+mn-ea"/>
          <a:cs typeface="+mn-cs"/>
        </a:defRPr>
      </a:lvl4pPr>
      <a:lvl5pPr marL="1371097" algn="l" defTabSz="685549" rtl="0" eaLnBrk="1" latinLnBrk="0" hangingPunct="1">
        <a:defRPr sz="1350" kern="1200">
          <a:solidFill>
            <a:schemeClr val="tx1"/>
          </a:solidFill>
          <a:latin typeface="+mn-lt"/>
          <a:ea typeface="+mn-ea"/>
          <a:cs typeface="+mn-cs"/>
        </a:defRPr>
      </a:lvl5pPr>
      <a:lvl6pPr marL="1713871" algn="l" defTabSz="685549" rtl="0" eaLnBrk="1" latinLnBrk="0" hangingPunct="1">
        <a:defRPr sz="1350" kern="1200">
          <a:solidFill>
            <a:schemeClr val="tx1"/>
          </a:solidFill>
          <a:latin typeface="+mn-lt"/>
          <a:ea typeface="+mn-ea"/>
          <a:cs typeface="+mn-cs"/>
        </a:defRPr>
      </a:lvl6pPr>
      <a:lvl7pPr marL="2056646" algn="l" defTabSz="685549" rtl="0" eaLnBrk="1" latinLnBrk="0" hangingPunct="1">
        <a:defRPr sz="1350" kern="1200">
          <a:solidFill>
            <a:schemeClr val="tx1"/>
          </a:solidFill>
          <a:latin typeface="+mn-lt"/>
          <a:ea typeface="+mn-ea"/>
          <a:cs typeface="+mn-cs"/>
        </a:defRPr>
      </a:lvl7pPr>
      <a:lvl8pPr marL="2399420" algn="l" defTabSz="685549" rtl="0" eaLnBrk="1" latinLnBrk="0" hangingPunct="1">
        <a:defRPr sz="1350" kern="1200">
          <a:solidFill>
            <a:schemeClr val="tx1"/>
          </a:solidFill>
          <a:latin typeface="+mn-lt"/>
          <a:ea typeface="+mn-ea"/>
          <a:cs typeface="+mn-cs"/>
        </a:defRPr>
      </a:lvl8pPr>
      <a:lvl9pPr marL="2742194" algn="l" defTabSz="685549"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Z_SYMBOL_RGB.jp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2310337179"/>
      </p:ext>
    </p:extLst>
  </p:cSld>
  <p:clrMap bg1="lt1" tx1="dk1" bg2="lt2" tx2="dk2" accent1="accent1" accent2="accent2" accent3="accent3" accent4="accent4" accent5="accent5" accent6="accent6" hlink="hlink" folHlink="folHlink"/>
  <p:sldLayoutIdLst>
    <p:sldLayoutId id="2147483851" r:id="rId1"/>
    <p:sldLayoutId id="2147484383" r:id="rId2"/>
    <p:sldLayoutId id="2147484384" r:id="rId3"/>
    <p:sldLayoutId id="2147484385" r:id="rId4"/>
    <p:sldLayoutId id="2147484386" r:id="rId5"/>
    <p:sldLayoutId id="2147484416" r:id="rId6"/>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2647291964"/>
      </p:ext>
    </p:extLst>
  </p:cSld>
  <p:clrMap bg1="lt1" tx1="dk1" bg2="lt2" tx2="dk2" accent1="accent1" accent2="accent2" accent3="accent3" accent4="accent4" accent5="accent5" accent6="accent6" hlink="hlink" folHlink="folHlink"/>
  <p:sldLayoutIdLst>
    <p:sldLayoutId id="2147483924" r:id="rId1"/>
    <p:sldLayoutId id="2147484389" r:id="rId2"/>
    <p:sldLayoutId id="2147484391" r:id="rId3"/>
    <p:sldLayoutId id="2147484392" r:id="rId4"/>
    <p:sldLayoutId id="2147484393" r:id="rId5"/>
    <p:sldLayoutId id="2147484394" r:id="rId6"/>
    <p:sldLayoutId id="2147484395"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239128" y="767014"/>
            <a:ext cx="5513471" cy="550445"/>
          </a:xfrm>
          <a:prstGeom prst="rect">
            <a:avLst/>
          </a:prstGeom>
        </p:spPr>
        <p:txBody>
          <a:bodyPr vert="horz" lIns="91440" tIns="45720" rIns="91440" bIns="45720" rtlCol="0" anchor="t">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xmlns="" id="{89BBDDF2-053F-4918-A7D1-582183BFB361}"/>
              </a:ext>
            </a:extLst>
          </p:cNvPr>
          <p:cNvSpPr>
            <a:spLocks noGrp="1"/>
          </p:cNvSpPr>
          <p:nvPr>
            <p:ph type="body" idx="1"/>
          </p:nvPr>
        </p:nvSpPr>
        <p:spPr>
          <a:xfrm>
            <a:off x="239128" y="1369219"/>
            <a:ext cx="8276222" cy="326350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7559842" y="4767263"/>
            <a:ext cx="959519" cy="231859"/>
          </a:xfrm>
          <a:prstGeom prst="rect">
            <a:avLst/>
          </a:prstGeom>
        </p:spPr>
        <p:txBody>
          <a:bodyPr vert="horz" lIns="91440" tIns="45720" rIns="91440" bIns="45720" rtlCol="0" anchor="ctr">
            <a:noAutofit/>
          </a:bodyPr>
          <a:lstStyle>
            <a:lvl1pPr algn="l">
              <a:lnSpc>
                <a:spcPct val="90000"/>
              </a:lnSpc>
              <a:spcBef>
                <a:spcPts val="0"/>
              </a:spcBef>
              <a:spcAft>
                <a:spcPts val="450"/>
              </a:spcAft>
              <a:defRPr sz="788">
                <a:solidFill>
                  <a:schemeClr val="tx1"/>
                </a:solidFill>
              </a:defRPr>
            </a:lvl1pPr>
          </a:lstStyle>
          <a:p>
            <a:fld id="{C7203098-FBAF-4244-A8A7-08D1892B71FF}" type="datetime4">
              <a:rPr lang="en-GB" smtClean="0"/>
              <a:t>29 June 2023</a:t>
            </a:fld>
            <a:endParaRPr lang="en-GB" dirty="0"/>
          </a:p>
        </p:txBody>
      </p:sp>
      <p:sp>
        <p:nvSpPr>
          <p:cNvPr id="5" name="Footer Placeholder 4">
            <a:extLst>
              <a:ext uri="{FF2B5EF4-FFF2-40B4-BE49-F238E27FC236}">
                <a16:creationId xmlns:a16="http://schemas.microsoft.com/office/drawing/2014/main" xmlns="" id="{6C323987-F150-4B42-A48A-25401957AD30}"/>
              </a:ext>
            </a:extLst>
          </p:cNvPr>
          <p:cNvSpPr>
            <a:spLocks noGrp="1"/>
          </p:cNvSpPr>
          <p:nvPr>
            <p:ph type="ftr" sz="quarter" idx="3"/>
          </p:nvPr>
        </p:nvSpPr>
        <p:spPr>
          <a:xfrm>
            <a:off x="4473742" y="4767263"/>
            <a:ext cx="3086100" cy="231859"/>
          </a:xfrm>
          <a:prstGeom prst="rect">
            <a:avLst/>
          </a:prstGeom>
        </p:spPr>
        <p:txBody>
          <a:bodyPr vert="horz" lIns="91440" tIns="45720" rIns="91440" bIns="45720" rtlCol="0" anchor="ctr">
            <a:noAutofit/>
          </a:bodyPr>
          <a:lstStyle>
            <a:lvl1pPr algn="r">
              <a:lnSpc>
                <a:spcPct val="90000"/>
              </a:lnSpc>
              <a:spcBef>
                <a:spcPts val="0"/>
              </a:spcBef>
              <a:spcAft>
                <a:spcPts val="450"/>
              </a:spcAft>
              <a:defRPr sz="788">
                <a:solidFill>
                  <a:schemeClr val="tx1"/>
                </a:solidFill>
              </a:defRPr>
            </a:lvl1pPr>
          </a:lstStyle>
          <a:p>
            <a:r>
              <a:rPr lang="en-GB" dirty="0"/>
              <a:t>Name</a:t>
            </a:r>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145883" y="4767263"/>
            <a:ext cx="514517" cy="231859"/>
          </a:xfrm>
          <a:prstGeom prst="rect">
            <a:avLst/>
          </a:prstGeom>
        </p:spPr>
        <p:txBody>
          <a:bodyPr vert="horz" lIns="91440" tIns="45720" rIns="91440" bIns="45720" rtlCol="0" anchor="ctr">
            <a:noAutofit/>
          </a:bodyPr>
          <a:lstStyle>
            <a:lvl1pPr algn="l">
              <a:lnSpc>
                <a:spcPct val="90000"/>
              </a:lnSpc>
              <a:spcBef>
                <a:spcPts val="0"/>
              </a:spcBef>
              <a:spcAft>
                <a:spcPts val="450"/>
              </a:spcAft>
              <a:defRPr sz="788">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8724014" y="4727999"/>
            <a:ext cx="221109" cy="266324"/>
          </a:xfrm>
          <a:prstGeom prst="rect">
            <a:avLst/>
          </a:prstGeom>
          <a:blipFill>
            <a:blip r:embed="rId5">
              <a:extLst>
                <a:ext uri="{96DAC541-7B7A-43D3-8B79-37D633B846F1}">
                  <asvg:svgBlip xmlns:asvg="http://schemas.microsoft.com/office/drawing/2016/SVG/main" xmlns="" r:embed="rId6"/>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 </a:t>
            </a:r>
          </a:p>
        </p:txBody>
      </p:sp>
      <p:sp>
        <p:nvSpPr>
          <p:cNvPr id="11" name="Text Placeholder 30">
            <a:extLst>
              <a:ext uri="{FF2B5EF4-FFF2-40B4-BE49-F238E27FC236}">
                <a16:creationId xmlns:a16="http://schemas.microsoft.com/office/drawing/2014/main" xmlns="" id="{9169950F-1FCA-4DCF-A8CC-8880247ADFCD}"/>
              </a:ext>
            </a:extLst>
          </p:cNvPr>
          <p:cNvSpPr txBox="1">
            <a:spLocks/>
          </p:cNvSpPr>
          <p:nvPr userDrawn="1"/>
        </p:nvSpPr>
        <p:spPr>
          <a:xfrm>
            <a:off x="8724014" y="4727999"/>
            <a:ext cx="221109" cy="266324"/>
          </a:xfrm>
          <a:prstGeom prst="rect">
            <a:avLst/>
          </a:prstGeom>
          <a:blipFill>
            <a:blip r:embed="rId5">
              <a:extLst>
                <a:ext uri="{96DAC541-7B7A-43D3-8B79-37D633B846F1}">
                  <asvg:svgBlip xmlns:asvg="http://schemas.microsoft.com/office/drawing/2016/SVG/main" xmlns="" r:embed="rId6"/>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 </a:t>
            </a:r>
          </a:p>
        </p:txBody>
      </p:sp>
    </p:spTree>
    <p:extLst>
      <p:ext uri="{BB962C8B-B14F-4D97-AF65-F5344CB8AC3E}">
        <p14:creationId xmlns:p14="http://schemas.microsoft.com/office/powerpoint/2010/main" val="2020448721"/>
      </p:ext>
    </p:extLst>
  </p:cSld>
  <p:clrMap bg1="lt1" tx1="dk1" bg2="lt2" tx2="dk2" accent1="accent1" accent2="accent2" accent3="accent3" accent4="accent4" accent5="accent5" accent6="accent6" hlink="hlink" folHlink="folHlink"/>
  <p:sldLayoutIdLst>
    <p:sldLayoutId id="2147483938" r:id="rId1"/>
    <p:sldLayoutId id="2147483945" r:id="rId2"/>
    <p:sldLayoutId id="2147484390" r:id="rId3"/>
  </p:sldLayoutIdLst>
  <p:hf hdr="0" ftr="0" dt="0"/>
  <p:txStyles>
    <p:titleStyle>
      <a:lvl1pPr algn="l" defTabSz="685800" rtl="0" eaLnBrk="1" latinLnBrk="0" hangingPunct="1">
        <a:lnSpc>
          <a:spcPct val="90000"/>
        </a:lnSpc>
        <a:spcBef>
          <a:spcPct val="0"/>
        </a:spcBef>
        <a:buNone/>
        <a:defRPr sz="2700" kern="1200">
          <a:solidFill>
            <a:srgbClr val="7F134C"/>
          </a:solidFill>
          <a:latin typeface="+mj-lt"/>
          <a:ea typeface="+mj-ea"/>
          <a:cs typeface="+mj-cs"/>
        </a:defRPr>
      </a:lvl1pPr>
    </p:titleStyle>
    <p:bodyStyle>
      <a:lvl1pPr marL="0" indent="0" algn="l" defTabSz="685800" rtl="0" eaLnBrk="1" latinLnBrk="0" hangingPunct="1">
        <a:lnSpc>
          <a:spcPct val="90000"/>
        </a:lnSpc>
        <a:spcBef>
          <a:spcPts val="0"/>
        </a:spcBef>
        <a:spcAft>
          <a:spcPts val="450"/>
        </a:spcAft>
        <a:buFont typeface="Arial" panose="020B0604020202020204" pitchFamily="34" charset="0"/>
        <a:buNone/>
        <a:defRPr sz="2100" kern="1200">
          <a:solidFill>
            <a:schemeClr val="tx2"/>
          </a:solidFill>
          <a:latin typeface="+mn-lt"/>
          <a:ea typeface="+mn-ea"/>
          <a:cs typeface="+mn-cs"/>
        </a:defRPr>
      </a:lvl1pPr>
      <a:lvl2pPr marL="171450" indent="-171450" algn="l" defTabSz="685800" rtl="0" eaLnBrk="1" latinLnBrk="0" hangingPunct="1">
        <a:lnSpc>
          <a:spcPct val="90000"/>
        </a:lnSpc>
        <a:spcBef>
          <a:spcPts val="0"/>
        </a:spcBef>
        <a:spcAft>
          <a:spcPts val="450"/>
        </a:spcAft>
        <a:buClr>
          <a:srgbClr val="7F134C"/>
        </a:buClr>
        <a:buSzPct val="100000"/>
        <a:buFont typeface="Arial" panose="020B0604020202020204" pitchFamily="34" charset="0"/>
        <a:buChar char="•"/>
        <a:defRPr sz="1950" kern="1200">
          <a:solidFill>
            <a:schemeClr val="tx2"/>
          </a:solidFill>
          <a:latin typeface="+mn-lt"/>
          <a:ea typeface="+mn-ea"/>
          <a:cs typeface="+mn-cs"/>
        </a:defRPr>
      </a:lvl2pPr>
      <a:lvl3pPr marL="333375" indent="-171450" algn="l" defTabSz="685800" rtl="0" eaLnBrk="1" latinLnBrk="0" hangingPunct="1">
        <a:lnSpc>
          <a:spcPct val="90000"/>
        </a:lnSpc>
        <a:spcBef>
          <a:spcPts val="0"/>
        </a:spcBef>
        <a:spcAft>
          <a:spcPts val="450"/>
        </a:spcAft>
        <a:buClr>
          <a:srgbClr val="7F134C"/>
        </a:buClr>
        <a:buSzPct val="100000"/>
        <a:buFont typeface="Arial" panose="020B0604020202020204" pitchFamily="34" charset="0"/>
        <a:buChar char="•"/>
        <a:defRPr sz="1800" kern="1200">
          <a:solidFill>
            <a:schemeClr val="tx2"/>
          </a:solidFill>
          <a:latin typeface="+mn-lt"/>
          <a:ea typeface="+mn-ea"/>
          <a:cs typeface="+mn-cs"/>
        </a:defRPr>
      </a:lvl3pPr>
      <a:lvl4pPr marL="469106" indent="-171450" algn="l" defTabSz="685800" rtl="0" eaLnBrk="1" latinLnBrk="0" hangingPunct="1">
        <a:lnSpc>
          <a:spcPct val="90000"/>
        </a:lnSpc>
        <a:spcBef>
          <a:spcPts val="0"/>
        </a:spcBef>
        <a:spcAft>
          <a:spcPts val="450"/>
        </a:spcAft>
        <a:buClr>
          <a:srgbClr val="7F134C"/>
        </a:buClr>
        <a:buSzPct val="100000"/>
        <a:buFont typeface="Arial" panose="020B0604020202020204" pitchFamily="34" charset="0"/>
        <a:buChar char="•"/>
        <a:defRPr sz="1650" kern="1200">
          <a:solidFill>
            <a:schemeClr val="tx2"/>
          </a:solidFill>
          <a:latin typeface="+mn-lt"/>
          <a:ea typeface="+mn-ea"/>
          <a:cs typeface="+mn-cs"/>
        </a:defRPr>
      </a:lvl4pPr>
      <a:lvl5pPr marL="604838" indent="-171450" algn="l" defTabSz="685800" rtl="0" eaLnBrk="1" latinLnBrk="0" hangingPunct="1">
        <a:lnSpc>
          <a:spcPct val="90000"/>
        </a:lnSpc>
        <a:spcBef>
          <a:spcPts val="0"/>
        </a:spcBef>
        <a:spcAft>
          <a:spcPts val="450"/>
        </a:spcAft>
        <a:buClr>
          <a:srgbClr val="7F134C"/>
        </a:buClr>
        <a:buSzPct val="100000"/>
        <a:buFont typeface="Arial" panose="020B0604020202020204" pitchFamily="34" charset="0"/>
        <a:buChar char="•"/>
        <a:defRPr sz="15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906">
          <p15:clr>
            <a:srgbClr val="F26B43"/>
          </p15:clr>
        </p15:guide>
        <p15:guide id="2" orient="horz" pos="1139">
          <p15:clr>
            <a:srgbClr val="F26B43"/>
          </p15:clr>
        </p15:guide>
        <p15:guide id="3" pos="7162">
          <p15:clr>
            <a:srgbClr val="F26B43"/>
          </p15:clr>
        </p15:guide>
        <p15:guide id="4" pos="19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45232"/>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440596" y="4497845"/>
            <a:ext cx="453600" cy="522161"/>
          </a:xfrm>
          <a:prstGeom prst="rect">
            <a:avLst/>
          </a:prstGeom>
        </p:spPr>
      </p:pic>
    </p:spTree>
    <p:extLst>
      <p:ext uri="{BB962C8B-B14F-4D97-AF65-F5344CB8AC3E}">
        <p14:creationId xmlns:p14="http://schemas.microsoft.com/office/powerpoint/2010/main" val="2607165638"/>
      </p:ext>
    </p:extLst>
  </p:cSld>
  <p:clrMap bg1="lt1" tx1="dk1" bg2="lt2" tx2="dk2" accent1="accent1" accent2="accent2" accent3="accent3" accent4="accent4" accent5="accent5" accent6="accent6" hlink="hlink" folHlink="folHlink"/>
  <p:sldLayoutIdLst>
    <p:sldLayoutId id="2147483957" r:id="rId1"/>
    <p:sldLayoutId id="2147483982" r:id="rId2"/>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AZ_SYMBOL_RGB.png">
            <a:extLst>
              <a:ext uri="{FF2B5EF4-FFF2-40B4-BE49-F238E27FC236}">
                <a16:creationId xmlns:a16="http://schemas.microsoft.com/office/drawing/2014/main" xmlns="" id="{F745F8FB-3648-4608-BB89-C6B1078171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94626" y="4576500"/>
            <a:ext cx="351822" cy="405000"/>
          </a:xfrm>
          <a:prstGeom prst="rect">
            <a:avLst/>
          </a:prstGeom>
        </p:spPr>
      </p:pic>
    </p:spTree>
    <p:extLst>
      <p:ext uri="{BB962C8B-B14F-4D97-AF65-F5344CB8AC3E}">
        <p14:creationId xmlns:p14="http://schemas.microsoft.com/office/powerpoint/2010/main" val="4030952579"/>
      </p:ext>
    </p:extLst>
  </p:cSld>
  <p:clrMap bg1="lt1" tx1="dk1" bg2="lt2" tx2="dk2" accent1="accent1" accent2="accent2" accent3="accent3" accent4="accent4" accent5="accent5" accent6="accent6" hlink="hlink" folHlink="folHlink"/>
  <p:hf sldNum="0" hdr="0" ftr="0" dt="0"/>
  <p:txStyles>
    <p:titleStyle>
      <a:lvl1pPr algn="ctr" defTabSz="457178" rtl="0" eaLnBrk="1" latinLnBrk="0" hangingPunct="1">
        <a:spcBef>
          <a:spcPct val="0"/>
        </a:spcBef>
        <a:buNone/>
        <a:defRPr sz="4400" kern="1200">
          <a:solidFill>
            <a:schemeClr val="tx1"/>
          </a:solidFill>
          <a:latin typeface="+mj-lt"/>
          <a:ea typeface="+mj-ea"/>
          <a:cs typeface="+mj-cs"/>
        </a:defRPr>
      </a:lvl1pPr>
    </p:titleStyle>
    <p:bodyStyle>
      <a:lvl1pPr marL="342884" indent="-342884" algn="l" defTabSz="457178" rtl="0" eaLnBrk="1" latinLnBrk="0" hangingPunct="1">
        <a:spcBef>
          <a:spcPct val="20000"/>
        </a:spcBef>
        <a:buFont typeface="Arial"/>
        <a:buChar char="•"/>
        <a:defRPr sz="3200" kern="1200">
          <a:solidFill>
            <a:schemeClr val="tx1"/>
          </a:solidFill>
          <a:latin typeface="+mn-lt"/>
          <a:ea typeface="+mn-ea"/>
          <a:cs typeface="+mn-cs"/>
        </a:defRPr>
      </a:lvl1pPr>
      <a:lvl2pPr marL="742913" indent="-285736" algn="l" defTabSz="457178" rtl="0" eaLnBrk="1" latinLnBrk="0" hangingPunct="1">
        <a:spcBef>
          <a:spcPct val="20000"/>
        </a:spcBef>
        <a:buFont typeface="Arial"/>
        <a:buChar char="–"/>
        <a:defRPr sz="2800" kern="1200">
          <a:solidFill>
            <a:schemeClr val="tx1"/>
          </a:solidFill>
          <a:latin typeface="+mn-lt"/>
          <a:ea typeface="+mn-ea"/>
          <a:cs typeface="+mn-cs"/>
        </a:defRPr>
      </a:lvl2pPr>
      <a:lvl3pPr marL="1142944" indent="-228588" algn="l" defTabSz="457178" rtl="0" eaLnBrk="1" latinLnBrk="0" hangingPunct="1">
        <a:spcBef>
          <a:spcPct val="20000"/>
        </a:spcBef>
        <a:buFont typeface="Arial"/>
        <a:buChar char="•"/>
        <a:defRPr sz="2400" kern="1200">
          <a:solidFill>
            <a:schemeClr val="tx1"/>
          </a:solidFill>
          <a:latin typeface="+mn-lt"/>
          <a:ea typeface="+mn-ea"/>
          <a:cs typeface="+mn-cs"/>
        </a:defRPr>
      </a:lvl3pPr>
      <a:lvl4pPr marL="1600120" indent="-228588" algn="l" defTabSz="457178" rtl="0" eaLnBrk="1" latinLnBrk="0" hangingPunct="1">
        <a:spcBef>
          <a:spcPct val="20000"/>
        </a:spcBef>
        <a:buFont typeface="Arial"/>
        <a:buChar char="–"/>
        <a:defRPr sz="2000" kern="1200">
          <a:solidFill>
            <a:schemeClr val="tx1"/>
          </a:solidFill>
          <a:latin typeface="+mn-lt"/>
          <a:ea typeface="+mn-ea"/>
          <a:cs typeface="+mn-cs"/>
        </a:defRPr>
      </a:lvl4pPr>
      <a:lvl5pPr marL="2057297" indent="-228588" algn="l" defTabSz="457178" rtl="0" eaLnBrk="1" latinLnBrk="0" hangingPunct="1">
        <a:spcBef>
          <a:spcPct val="20000"/>
        </a:spcBef>
        <a:buFont typeface="Arial"/>
        <a:buChar char="»"/>
        <a:defRPr sz="2000" kern="1200">
          <a:solidFill>
            <a:schemeClr val="tx1"/>
          </a:solidFill>
          <a:latin typeface="+mn-lt"/>
          <a:ea typeface="+mn-ea"/>
          <a:cs typeface="+mn-cs"/>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45232"/>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8440596" y="4497845"/>
            <a:ext cx="453600" cy="522161"/>
          </a:xfrm>
          <a:prstGeom prst="rect">
            <a:avLst/>
          </a:prstGeom>
        </p:spPr>
      </p:pic>
    </p:spTree>
    <p:extLst>
      <p:ext uri="{BB962C8B-B14F-4D97-AF65-F5344CB8AC3E}">
        <p14:creationId xmlns:p14="http://schemas.microsoft.com/office/powerpoint/2010/main" val="2656991013"/>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7"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 id="2147484018" r:id="rId24"/>
    <p:sldLayoutId id="2147484019" r:id="rId25"/>
    <p:sldLayoutId id="2147484020" r:id="rId26"/>
    <p:sldLayoutId id="2147484021" r:id="rId27"/>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2228062949"/>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 id="2147484048" r:id="rId26"/>
    <p:sldLayoutId id="2147484049" r:id="rId2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hyperlink" Target="https://www.ncbi.nlm.nih.gov/books/NBK537134/?report=printable" TargetMode="External"/><Relationship Id="rId2" Type="http://schemas.openxmlformats.org/officeDocument/2006/relationships/image" Target="../media/image94.png"/><Relationship Id="rId1" Type="http://schemas.openxmlformats.org/officeDocument/2006/relationships/slideLayout" Target="../slideLayouts/slideLayout19.xml"/><Relationship Id="rId4" Type="http://schemas.openxmlformats.org/officeDocument/2006/relationships/hyperlink" Target="https://accessmedicine.mhmedical.com/content.aspx?bookid=2503&amp;sectionid=201364085"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png"/></Relationships>
</file>

<file path=ppt/slides/_rels/slide1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hyperlink" Target="http://www.cancer.org/treatment/understandingyourdiagnosis/examsandtestdescriptions/forwomenfacingabreastbiopsy/breast-biopsy-pdf" TargetMode="External"/><Relationship Id="rId5" Type="http://schemas.openxmlformats.org/officeDocument/2006/relationships/image" Target="../media/image102.png"/><Relationship Id="rId4" Type="http://schemas.openxmlformats.org/officeDocument/2006/relationships/image" Target="../media/image101.png"/></Relationships>
</file>

<file path=ppt/slides/_rels/slide1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hyperlink" Target="http://www.breastcancer.org/symptoms/diagnosis/cell_grade" TargetMode="External"/><Relationship Id="rId5" Type="http://schemas.openxmlformats.org/officeDocument/2006/relationships/hyperlink" Target="http://www.cancer.org/cancer/breastcancer/detailedguide/breast-cancer-pdf2" TargetMode="External"/><Relationship Id="rId4" Type="http://schemas.openxmlformats.org/officeDocument/2006/relationships/hyperlink" Target="http://www.cancer.gov/cancertopics/factsheet/detection/tumor-grade"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hyperlink" Target="http://www.cancer.org/cancer/breastcancer/detailedguide/breast-cancer-pdf2" TargetMode="External"/><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hyperlink" Target="https://www.nccn.org/guidelines/guidelines-detail?category=1&amp;id=1419" TargetMode="External"/><Relationship Id="rId2" Type="http://schemas.openxmlformats.org/officeDocument/2006/relationships/image" Target="../media/image10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hyperlink" Target="https://www.nccn.org/guidelines/guidelines-detail?category=1&amp;id=1419" TargetMode="Externa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hyperlink" Target="https://www.nccn.org/guidelines/guidelines-detail?category=1&amp;id=1419"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hyperlink" Target="https://www.esmo.org/guidelines" TargetMode="External"/><Relationship Id="rId3" Type="http://schemas.openxmlformats.org/officeDocument/2006/relationships/image" Target="../media/image95.png"/><Relationship Id="rId7" Type="http://schemas.openxmlformats.org/officeDocument/2006/relationships/hyperlink" Target="https://www.nccn.org/guidelines/guidelines-detail?category=1&amp;id=1419"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96.png"/><Relationship Id="rId9" Type="http://schemas.openxmlformats.org/officeDocument/2006/relationships/hyperlink" Target="https://www.rosoncoweb.ru/standarts/RUSSCO/2022/2022-21.pdf"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image" Target="../media/image112.emf"/><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xml"/><Relationship Id="rId1" Type="http://schemas.openxmlformats.org/officeDocument/2006/relationships/slideLayout" Target="../slideLayouts/slideLayout364.xml"/><Relationship Id="rId4" Type="http://schemas.openxmlformats.org/officeDocument/2006/relationships/hyperlink" Target="https://www.ncbi.nlm.nih.gov/books/NBK537134/?report=printabl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19.xml"/><Relationship Id="rId5" Type="http://schemas.openxmlformats.org/officeDocument/2006/relationships/image" Target="../media/image116.jpeg"/><Relationship Id="rId4" Type="http://schemas.openxmlformats.org/officeDocument/2006/relationships/image" Target="../media/image115.jpeg"/></Relationships>
</file>

<file path=ppt/slides/_rels/slide3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20.jpeg"/><Relationship Id="rId2" Type="http://schemas.openxmlformats.org/officeDocument/2006/relationships/image" Target="../media/image117.png"/><Relationship Id="rId1" Type="http://schemas.openxmlformats.org/officeDocument/2006/relationships/slideLayout" Target="../slideLayouts/slideLayout19.xml"/><Relationship Id="rId6" Type="http://schemas.openxmlformats.org/officeDocument/2006/relationships/image" Target="../media/image119.jpeg"/><Relationship Id="rId5" Type="http://schemas.microsoft.com/office/2007/relationships/hdphoto" Target="../media/hdphoto2.wdp"/><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96.png"/></Relationships>
</file>

<file path=ppt/slides/_rels/slide37.xml.rels><?xml version="1.0" encoding="UTF-8" standalone="yes"?>
<Relationships xmlns="http://schemas.openxmlformats.org/package/2006/relationships"><Relationship Id="rId3" Type="http://schemas.openxmlformats.org/officeDocument/2006/relationships/hyperlink" Target="https://www.nccn.org/guidelines/guidelines-detail?category=1&amp;id=1450"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hyperlink" Target="https://www.nccn.org/guidelines/guidelines-detail?category=1&amp;id=1450" TargetMode="Externa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openxmlformats.org/officeDocument/2006/relationships/image" Target="../media/image122.png"/></Relationships>
</file>

<file path=ppt/slides/_rels/slide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6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25.png"/><Relationship Id="rId12" Type="http://schemas.openxmlformats.org/officeDocument/2006/relationships/image" Target="../media/image98.emf"/><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customXml" Target="../ink/ink2.xml"/><Relationship Id="rId11" Type="http://schemas.openxmlformats.org/officeDocument/2006/relationships/customXml" Target="../ink/ink5.xml"/><Relationship Id="rId5" Type="http://schemas.openxmlformats.org/officeDocument/2006/relationships/image" Target="../media/image126.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customXml" Target="../ink/ink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hyperlink" Target="https://www.nccn.org/guidelines/guidelines-detail?category=1&amp;id=1450" TargetMode="External"/><Relationship Id="rId2" Type="http://schemas.openxmlformats.org/officeDocument/2006/relationships/notesSlide" Target="../notesSlides/notesSlide21.xml"/><Relationship Id="rId1" Type="http://schemas.openxmlformats.org/officeDocument/2006/relationships/slideLayout" Target="../slideLayouts/slideLayout19.xml"/><Relationship Id="rId4" Type="http://schemas.openxmlformats.org/officeDocument/2006/relationships/hyperlink" Target="https://oncology-association.ru/wp-content/uploads/2021/02/rak-legkogo-2021.pdf"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6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s://accessmedicine.mhmedical.com/content.aspx?bookid=1772&amp;sectionid=121899622" TargetMode="External"/><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90.png"/><Relationship Id="rId4" Type="http://schemas.openxmlformats.org/officeDocument/2006/relationships/hyperlink" Target="http://medlib.mef.hr/id/eprint/1636"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mayoclinic.org/breast-cancer/expert-answers/faq-20058066" TargetMode="External"/><Relationship Id="rId2" Type="http://schemas.openxmlformats.org/officeDocument/2006/relationships/hyperlink" Target="https://www.ncbi.nlm.nih.gov/books/NBK537134/?report=printable" TargetMode="External"/><Relationship Id="rId1" Type="http://schemas.openxmlformats.org/officeDocument/2006/relationships/slideLayout" Target="../slideLayouts/slideLayout18.xml"/><Relationship Id="rId4" Type="http://schemas.openxmlformats.org/officeDocument/2006/relationships/image" Target="../media/image91.png"/></Relationships>
</file>

<file path=ppt/slides/_rels/slide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hyperlink" Target="https://www.ncbi.nlm.nih.gov/books/NBK537134/?report=printable" TargetMode="Externa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hyperlink" Target="https://www.ncbi.nlm.nih.gov/probe/docs/techish/" TargetMode="External"/><Relationship Id="rId2" Type="http://schemas.openxmlformats.org/officeDocument/2006/relationships/hyperlink" Target="https://www.ncbi.nlm.nih.gov/books/NBK537134/?report=printable" TargetMode="External"/><Relationship Id="rId1" Type="http://schemas.openxmlformats.org/officeDocument/2006/relationships/slideLayout" Target="../slideLayouts/slideLayout19.xml"/><Relationship Id="rId5" Type="http://schemas.openxmlformats.org/officeDocument/2006/relationships/image" Target="../media/image93.jpeg"/><Relationship Id="rId4" Type="http://schemas.openxmlformats.org/officeDocument/2006/relationships/hyperlink" Target="https://www.cancer.gov/publications/dictionaries/genetics-dictionar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xmlns="" id="{D27E1A57-D85E-9D52-54C3-44AB95457875}"/>
              </a:ext>
            </a:extLst>
          </p:cNvPr>
          <p:cNvSpPr>
            <a:spLocks noGrp="1"/>
          </p:cNvSpPr>
          <p:nvPr>
            <p:ph type="title"/>
          </p:nvPr>
        </p:nvSpPr>
        <p:spPr>
          <a:xfrm>
            <a:off x="73265" y="181033"/>
            <a:ext cx="6822759" cy="1247450"/>
          </a:xfrm>
        </p:spPr>
        <p:txBody>
          <a:bodyPr/>
          <a:lstStyle/>
          <a:p>
            <a:r>
              <a:rPr lang="ru-RU" dirty="0"/>
              <a:t>Определение HER2 статуса опухоли</a:t>
            </a:r>
            <a:r>
              <a:rPr lang="en-US" dirty="0"/>
              <a:t/>
            </a:r>
            <a:br>
              <a:rPr lang="en-US" dirty="0"/>
            </a:br>
            <a:r>
              <a:rPr lang="ru-RU" dirty="0"/>
              <a:t>Диагностические подходы при различных нозологиях</a:t>
            </a:r>
          </a:p>
        </p:txBody>
      </p:sp>
      <p:sp>
        <p:nvSpPr>
          <p:cNvPr id="7" name="Rectangle 6">
            <a:extLst>
              <a:ext uri="{FF2B5EF4-FFF2-40B4-BE49-F238E27FC236}">
                <a16:creationId xmlns:a16="http://schemas.microsoft.com/office/drawing/2014/main" xmlns="" id="{0E62C02F-6F63-4C92-B255-814F889F44DF}"/>
              </a:ext>
            </a:extLst>
          </p:cNvPr>
          <p:cNvSpPr/>
          <p:nvPr/>
        </p:nvSpPr>
        <p:spPr>
          <a:xfrm>
            <a:off x="2521040" y="2133107"/>
            <a:ext cx="6491047" cy="720710"/>
          </a:xfrm>
          <a:prstGeom prst="rect">
            <a:avLst/>
          </a:prstGeom>
        </p:spPr>
        <p:txBody>
          <a:bodyPr wrap="square">
            <a:spAutoFit/>
          </a:bodyPr>
          <a:lstStyle/>
          <a:p>
            <a:pPr marL="17446" marR="6978" indent="3531068" algn="r">
              <a:lnSpc>
                <a:spcPct val="100400"/>
              </a:lnSpc>
              <a:spcBef>
                <a:spcPts val="131"/>
              </a:spcBef>
            </a:pPr>
            <a:r>
              <a:rPr lang="ru-RU" sz="800" dirty="0"/>
              <a:t>Презентация предназначена только для</a:t>
            </a:r>
            <a:r>
              <a:rPr lang="en-US" sz="800" dirty="0"/>
              <a:t> </a:t>
            </a:r>
            <a:r>
              <a:rPr lang="ru-RU" sz="800" dirty="0"/>
              <a:t>специалистов здравоохранения: онкологов, патоморфологов.  Презентация при поддержке Представительства ЗАК «АстраЗенека Ю-Кей Лимитед» в РК.  В презентации обсуждается широкий круг научно-медицинских вопросов, в том числе выходящих за рамки зарегистрированных в РК показаний. Мнение лектора не всегда может совпадать с точкой зрения компании АстраЗенека </a:t>
            </a:r>
          </a:p>
          <a:p>
            <a:pPr marL="17446" marR="6978" indent="3531068" algn="r">
              <a:lnSpc>
                <a:spcPct val="100400"/>
              </a:lnSpc>
              <a:spcBef>
                <a:spcPts val="131"/>
              </a:spcBef>
            </a:pPr>
            <a:r>
              <a:rPr lang="ru-RU" sz="800" dirty="0"/>
              <a:t>Номер материала</a:t>
            </a:r>
            <a:r>
              <a:rPr lang="en-US" sz="800" b="0" i="0" dirty="0">
                <a:solidFill>
                  <a:srgbClr val="303030"/>
                </a:solidFill>
                <a:effectLst/>
                <a:latin typeface="Arial" panose="020B0604020202020204" pitchFamily="34" charset="0"/>
              </a:rPr>
              <a:t> KZ-2227</a:t>
            </a:r>
            <a:r>
              <a:rPr lang="ru-RU" sz="800" dirty="0">
                <a:solidFill>
                  <a:srgbClr val="FF0000"/>
                </a:solidFill>
              </a:rPr>
              <a:t> </a:t>
            </a:r>
          </a:p>
        </p:txBody>
      </p:sp>
    </p:spTree>
    <p:extLst>
      <p:ext uri="{BB962C8B-B14F-4D97-AF65-F5344CB8AC3E}">
        <p14:creationId xmlns:p14="http://schemas.microsoft.com/office/powerpoint/2010/main" val="3047721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xmlns="" id="{D6AEAD1D-EB10-4310-9BF8-76F508704AB7}"/>
              </a:ext>
            </a:extLst>
          </p:cNvPr>
          <p:cNvPicPr>
            <a:picLocks noChangeAspect="1" noChangeArrowheads="1"/>
          </p:cNvPicPr>
          <p:nvPr/>
        </p:nvPicPr>
        <p:blipFill>
          <a:blip r:embed="rId2" cstate="print"/>
          <a:srcRect/>
          <a:stretch>
            <a:fillRect/>
          </a:stretch>
        </p:blipFill>
        <p:spPr bwMode="auto">
          <a:xfrm>
            <a:off x="5384690" y="61255"/>
            <a:ext cx="3059236" cy="5020989"/>
          </a:xfrm>
          <a:prstGeom prst="rect">
            <a:avLst/>
          </a:prstGeom>
          <a:noFill/>
          <a:ln w="9525">
            <a:noFill/>
            <a:miter lim="800000"/>
            <a:headEnd/>
            <a:tailEnd/>
          </a:ln>
        </p:spPr>
      </p:pic>
      <p:sp>
        <p:nvSpPr>
          <p:cNvPr id="2" name="Title 1">
            <a:extLst>
              <a:ext uri="{FF2B5EF4-FFF2-40B4-BE49-F238E27FC236}">
                <a16:creationId xmlns:a16="http://schemas.microsoft.com/office/drawing/2014/main" xmlns="" id="{980E9923-B0EC-4193-8AFA-E5325109966F}"/>
              </a:ext>
            </a:extLst>
          </p:cNvPr>
          <p:cNvSpPr>
            <a:spLocks noGrp="1"/>
          </p:cNvSpPr>
          <p:nvPr>
            <p:ph type="title"/>
          </p:nvPr>
        </p:nvSpPr>
        <p:spPr/>
        <p:txBody>
          <a:bodyPr/>
          <a:lstStyle/>
          <a:p>
            <a:r>
              <a:rPr lang="ru" dirty="0"/>
              <a:t>Мутации гена HER2</a:t>
            </a:r>
            <a:r>
              <a:rPr lang="ru-RU" dirty="0"/>
              <a:t/>
            </a:r>
            <a:br>
              <a:rPr lang="ru-RU" dirty="0"/>
            </a:br>
            <a:endParaRPr lang="en-US" dirty="0"/>
          </a:p>
        </p:txBody>
      </p:sp>
      <p:sp>
        <p:nvSpPr>
          <p:cNvPr id="4" name="object 22">
            <a:extLst>
              <a:ext uri="{FF2B5EF4-FFF2-40B4-BE49-F238E27FC236}">
                <a16:creationId xmlns:a16="http://schemas.microsoft.com/office/drawing/2014/main" xmlns="" id="{6EFC7FF1-5ED8-42BC-A5A1-793DB19181B1}"/>
              </a:ext>
            </a:extLst>
          </p:cNvPr>
          <p:cNvSpPr txBox="1"/>
          <p:nvPr/>
        </p:nvSpPr>
        <p:spPr>
          <a:xfrm>
            <a:off x="237062" y="808151"/>
            <a:ext cx="4271134" cy="1196994"/>
          </a:xfrm>
          <a:prstGeom prst="rect">
            <a:avLst/>
          </a:prstGeom>
        </p:spPr>
        <p:txBody>
          <a:bodyPr vert="horz" wrap="square" lIns="0" tIns="12700" rIns="0" bIns="0" rtlCol="0">
            <a:spAutoFit/>
          </a:bodyPr>
          <a:lstStyle/>
          <a:p>
            <a:pPr marL="50165" marR="17780">
              <a:lnSpc>
                <a:spcPct val="95000"/>
              </a:lnSpc>
              <a:spcBef>
                <a:spcPts val="105"/>
              </a:spcBef>
              <a:spcAft>
                <a:spcPts val="450"/>
              </a:spcAft>
              <a:buClr>
                <a:srgbClr val="9CD3E3">
                  <a:lumMod val="75000"/>
                </a:srgbClr>
              </a:buClr>
              <a:tabLst>
                <a:tab pos="223520" algn="l"/>
              </a:tabLst>
              <a:defRPr/>
            </a:pPr>
            <a:r>
              <a:rPr lang="ru-RU" sz="1350" dirty="0">
                <a:solidFill>
                  <a:srgbClr val="000000"/>
                </a:solidFill>
                <a:latin typeface="Arial"/>
              </a:rPr>
              <a:t>Активирующие мутации в гене HER2 (или ERBB2) изменяют форму молекулы HER2, что приводит к неконтролируемой конститутивной активации / передаче сигналов (т. е. без </a:t>
            </a:r>
            <a:r>
              <a:rPr lang="ru-RU" sz="1350" dirty="0" err="1">
                <a:solidFill>
                  <a:srgbClr val="000000"/>
                </a:solidFill>
                <a:latin typeface="Arial"/>
              </a:rPr>
              <a:t>гомодимеризации</a:t>
            </a:r>
            <a:r>
              <a:rPr lang="ru-RU" sz="1350" dirty="0">
                <a:solidFill>
                  <a:srgbClr val="000000"/>
                </a:solidFill>
                <a:latin typeface="Arial"/>
              </a:rPr>
              <a:t> или </a:t>
            </a:r>
            <a:r>
              <a:rPr lang="ru-RU" sz="1350" dirty="0" err="1">
                <a:solidFill>
                  <a:srgbClr val="000000"/>
                </a:solidFill>
                <a:latin typeface="Arial"/>
              </a:rPr>
              <a:t>гетеродимеризации</a:t>
            </a:r>
            <a:r>
              <a:rPr lang="ru-RU" sz="1350" dirty="0">
                <a:solidFill>
                  <a:srgbClr val="000000"/>
                </a:solidFill>
                <a:latin typeface="Arial"/>
              </a:rPr>
              <a:t>), и тем самым стимулируют рост опухоли.</a:t>
            </a:r>
            <a:r>
              <a:rPr lang="ru-RU" sz="1350" baseline="30000" dirty="0">
                <a:solidFill>
                  <a:srgbClr val="000000"/>
                </a:solidFill>
                <a:latin typeface="Arial"/>
              </a:rPr>
              <a:t>1-3</a:t>
            </a:r>
          </a:p>
        </p:txBody>
      </p:sp>
      <p:sp>
        <p:nvSpPr>
          <p:cNvPr id="5" name="Text Placeholder 23">
            <a:extLst>
              <a:ext uri="{FF2B5EF4-FFF2-40B4-BE49-F238E27FC236}">
                <a16:creationId xmlns:a16="http://schemas.microsoft.com/office/drawing/2014/main" xmlns="" id="{271D1F0A-2266-49B6-AD71-39C6B9D5201A}"/>
              </a:ext>
            </a:extLst>
          </p:cNvPr>
          <p:cNvSpPr txBox="1">
            <a:spLocks/>
          </p:cNvSpPr>
          <p:nvPr/>
        </p:nvSpPr>
        <p:spPr>
          <a:xfrm>
            <a:off x="93796" y="4634839"/>
            <a:ext cx="5535474" cy="504000"/>
          </a:xfrm>
          <a:prstGeom prst="rect">
            <a:avLst/>
          </a:prstGeom>
        </p:spPr>
        <p:txBody>
          <a:bodyPr vert="horz" lIns="0" tIns="45720" rIns="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5080" indent="0" rtl="0">
              <a:lnSpc>
                <a:spcPct val="100000"/>
              </a:lnSpc>
              <a:spcBef>
                <a:spcPts val="100"/>
              </a:spcBef>
              <a:buNone/>
            </a:pPr>
            <a:r>
              <a:rPr lang="ru-RU" sz="600" dirty="0"/>
              <a:t>1.</a:t>
            </a:r>
            <a:r>
              <a:rPr lang="da-DK" sz="600" dirty="0"/>
              <a:t>Jebbink M, et al. Cancer Treat Rev. 2020;86:101996. doi:10.1016/j.ctrv.2020.101996 2. Albagoush SA, et al. HER2. </a:t>
            </a:r>
            <a:r>
              <a:rPr lang="da-DK" sz="600" dirty="0">
                <a:hlinkClick r:id="rId3"/>
              </a:rPr>
              <a:t>https://www.ncbi.nlm.nih.gov/books/NBK537134/?report=printable</a:t>
            </a:r>
            <a:r>
              <a:rPr lang="ru-RU" sz="600" dirty="0"/>
              <a:t> (дата обращения 22.03.2023).</a:t>
            </a:r>
            <a:r>
              <a:rPr lang="da-DK" sz="600" dirty="0"/>
              <a:t> 3. Bose R, et al. N Engl J Med. 2021;385(13):1241-1243.</a:t>
            </a:r>
            <a:r>
              <a:rPr lang="ru-RU" sz="600" dirty="0"/>
              <a:t> 4.</a:t>
            </a:r>
            <a:r>
              <a:rPr lang="en-US" sz="600" dirty="0"/>
              <a:t>Finberg KE, et al. </a:t>
            </a:r>
            <a:r>
              <a:rPr lang="en-US" sz="600" dirty="0" err="1"/>
              <a:t>Laposata's</a:t>
            </a:r>
            <a:r>
              <a:rPr lang="en-US" sz="600" dirty="0"/>
              <a:t> Laboratory Medicine: Diagnosis of Disease in the Clinical Laboratory. 3rd ed. 2019. </a:t>
            </a:r>
            <a:r>
              <a:rPr lang="en-US" sz="600" dirty="0">
                <a:hlinkClick r:id="rId4"/>
              </a:rPr>
              <a:t>https://accessmedicine.mhmedical.com/content.aspx?bookid=2503&amp;sectionid=201364085</a:t>
            </a:r>
            <a:r>
              <a:rPr lang="ru-RU" sz="600" dirty="0"/>
              <a:t> (дата обращения 22.03.2023)</a:t>
            </a:r>
            <a:r>
              <a:rPr lang="en-US" sz="600" dirty="0"/>
              <a:t> </a:t>
            </a:r>
            <a:r>
              <a:rPr lang="ru-RU" sz="600" dirty="0"/>
              <a:t>5</a:t>
            </a:r>
            <a:r>
              <a:rPr lang="en-US" sz="600" dirty="0"/>
              <a:t>. Zhao J, et al. JCO Precis Oncol. 2020;4:411-425</a:t>
            </a:r>
          </a:p>
        </p:txBody>
      </p:sp>
      <p:sp>
        <p:nvSpPr>
          <p:cNvPr id="11" name="Прямоугольник 33">
            <a:extLst>
              <a:ext uri="{FF2B5EF4-FFF2-40B4-BE49-F238E27FC236}">
                <a16:creationId xmlns:a16="http://schemas.microsoft.com/office/drawing/2014/main" xmlns="" id="{C5F6D86E-197E-43B2-8D59-03BDFE1670EC}"/>
              </a:ext>
            </a:extLst>
          </p:cNvPr>
          <p:cNvSpPr/>
          <p:nvPr/>
        </p:nvSpPr>
        <p:spPr>
          <a:xfrm>
            <a:off x="7524727" y="1006632"/>
            <a:ext cx="533400" cy="215444"/>
          </a:xfrm>
          <a:prstGeom prst="rect">
            <a:avLst/>
          </a:prstGeom>
        </p:spPr>
        <p:txBody>
          <a:bodyPr wrap="square" lIns="0" tIns="0" rIns="0" bIns="0" rtlCol="0">
            <a:spAutoFit/>
          </a:bodyPr>
          <a:lstStyle/>
          <a:p>
            <a:pPr rtl="0"/>
            <a:r>
              <a:rPr lang="ru" sz="1400" b="1">
                <a:solidFill>
                  <a:schemeClr val="bg1"/>
                </a:solidFill>
                <a:latin typeface="Arial" pitchFamily="34" charset="0"/>
                <a:cs typeface="Arial" pitchFamily="34" charset="0"/>
              </a:rPr>
              <a:t>HER2</a:t>
            </a:r>
            <a:endParaRPr lang="ru-RU" sz="1400" b="1" dirty="0">
              <a:solidFill>
                <a:schemeClr val="bg1"/>
              </a:solidFill>
              <a:latin typeface="Arial" pitchFamily="34" charset="0"/>
              <a:cs typeface="Arial" pitchFamily="34" charset="0"/>
            </a:endParaRPr>
          </a:p>
        </p:txBody>
      </p:sp>
      <p:sp>
        <p:nvSpPr>
          <p:cNvPr id="13" name="Прямоугольник 34">
            <a:extLst>
              <a:ext uri="{FF2B5EF4-FFF2-40B4-BE49-F238E27FC236}">
                <a16:creationId xmlns:a16="http://schemas.microsoft.com/office/drawing/2014/main" xmlns="" id="{D8E07322-BE64-4E3C-AC2B-222CB592B2FB}"/>
              </a:ext>
            </a:extLst>
          </p:cNvPr>
          <p:cNvSpPr/>
          <p:nvPr/>
        </p:nvSpPr>
        <p:spPr>
          <a:xfrm>
            <a:off x="5628972" y="2526135"/>
            <a:ext cx="1073752" cy="307777"/>
          </a:xfrm>
          <a:prstGeom prst="rect">
            <a:avLst/>
          </a:prstGeom>
        </p:spPr>
        <p:txBody>
          <a:bodyPr wrap="square" lIns="0" tIns="0" rIns="0" bIns="0" rtlCol="0">
            <a:spAutoFit/>
          </a:bodyPr>
          <a:lstStyle/>
          <a:p>
            <a:pPr rtl="0"/>
            <a:r>
              <a:rPr lang="ru" sz="1000" b="1" dirty="0">
                <a:solidFill>
                  <a:schemeClr val="bg1"/>
                </a:solidFill>
                <a:latin typeface="Arial" pitchFamily="34" charset="0"/>
                <a:cs typeface="Arial" pitchFamily="34" charset="0"/>
              </a:rPr>
              <a:t>АКТИВИРОВАН </a:t>
            </a:r>
            <a:r>
              <a:rPr lang="de-DE" sz="1000" b="1" dirty="0">
                <a:solidFill>
                  <a:schemeClr val="bg1"/>
                </a:solidFill>
                <a:latin typeface="Arial" pitchFamily="34" charset="0"/>
                <a:cs typeface="Arial" pitchFamily="34" charset="0"/>
              </a:rPr>
              <a:t/>
            </a:r>
            <a:br>
              <a:rPr lang="de-DE" sz="1000" b="1" dirty="0">
                <a:solidFill>
                  <a:schemeClr val="bg1"/>
                </a:solidFill>
                <a:latin typeface="Arial" pitchFamily="34" charset="0"/>
                <a:cs typeface="Arial" pitchFamily="34" charset="0"/>
              </a:rPr>
            </a:br>
            <a:r>
              <a:rPr lang="ru" sz="1000" b="1" dirty="0">
                <a:solidFill>
                  <a:schemeClr val="bg1"/>
                </a:solidFill>
                <a:latin typeface="Arial" pitchFamily="34" charset="0"/>
                <a:cs typeface="Arial" pitchFamily="34" charset="0"/>
              </a:rPr>
              <a:t>МУТАЦИЕЙ</a:t>
            </a:r>
            <a:endParaRPr lang="ru-RU" sz="1000" b="1" dirty="0">
              <a:solidFill>
                <a:schemeClr val="bg1"/>
              </a:solidFill>
              <a:latin typeface="Arial" pitchFamily="34" charset="0"/>
              <a:cs typeface="Arial" pitchFamily="34" charset="0"/>
            </a:endParaRPr>
          </a:p>
        </p:txBody>
      </p:sp>
      <p:sp>
        <p:nvSpPr>
          <p:cNvPr id="14" name="Прямоугольник 35">
            <a:extLst>
              <a:ext uri="{FF2B5EF4-FFF2-40B4-BE49-F238E27FC236}">
                <a16:creationId xmlns:a16="http://schemas.microsoft.com/office/drawing/2014/main" xmlns="" id="{A5B671A3-72FC-4F9C-B32B-6AD895B67932}"/>
              </a:ext>
            </a:extLst>
          </p:cNvPr>
          <p:cNvSpPr/>
          <p:nvPr/>
        </p:nvSpPr>
        <p:spPr>
          <a:xfrm>
            <a:off x="6292970" y="3476056"/>
            <a:ext cx="533400" cy="215444"/>
          </a:xfrm>
          <a:prstGeom prst="rect">
            <a:avLst/>
          </a:prstGeom>
        </p:spPr>
        <p:txBody>
          <a:bodyPr wrap="square" lIns="0" tIns="0" rIns="0" bIns="0" rtlCol="0">
            <a:spAutoFit/>
          </a:bodyPr>
          <a:lstStyle/>
          <a:p>
            <a:pPr rtl="0"/>
            <a:r>
              <a:rPr lang="ru" sz="1400" b="1" dirty="0">
                <a:solidFill>
                  <a:schemeClr val="bg1"/>
                </a:solidFill>
                <a:latin typeface="Arial" pitchFamily="34" charset="0"/>
                <a:cs typeface="Arial" pitchFamily="34" charset="0"/>
              </a:rPr>
              <a:t>PI3K</a:t>
            </a:r>
            <a:endParaRPr lang="ru-RU" sz="1400" b="1" dirty="0">
              <a:solidFill>
                <a:schemeClr val="bg1"/>
              </a:solidFill>
              <a:latin typeface="Arial" pitchFamily="34" charset="0"/>
              <a:cs typeface="Arial" pitchFamily="34" charset="0"/>
            </a:endParaRPr>
          </a:p>
        </p:txBody>
      </p:sp>
      <p:sp>
        <p:nvSpPr>
          <p:cNvPr id="15" name="Прямоугольник 36">
            <a:extLst>
              <a:ext uri="{FF2B5EF4-FFF2-40B4-BE49-F238E27FC236}">
                <a16:creationId xmlns:a16="http://schemas.microsoft.com/office/drawing/2014/main" xmlns="" id="{DC85CF6E-365C-46C5-9332-E21015B28EA9}"/>
              </a:ext>
            </a:extLst>
          </p:cNvPr>
          <p:cNvSpPr/>
          <p:nvPr/>
        </p:nvSpPr>
        <p:spPr>
          <a:xfrm>
            <a:off x="6169324" y="4507822"/>
            <a:ext cx="533400" cy="215444"/>
          </a:xfrm>
          <a:prstGeom prst="rect">
            <a:avLst/>
          </a:prstGeom>
        </p:spPr>
        <p:txBody>
          <a:bodyPr wrap="square" lIns="0" tIns="0" rIns="0" bIns="0" rtlCol="0">
            <a:spAutoFit/>
          </a:bodyPr>
          <a:lstStyle/>
          <a:p>
            <a:pPr rtl="0"/>
            <a:r>
              <a:rPr lang="ru" sz="1400" b="1" dirty="0">
                <a:solidFill>
                  <a:schemeClr val="bg1"/>
                </a:solidFill>
                <a:latin typeface="Arial" pitchFamily="34" charset="0"/>
                <a:cs typeface="Arial" pitchFamily="34" charset="0"/>
              </a:rPr>
              <a:t>AKT</a:t>
            </a:r>
            <a:endParaRPr lang="ru-RU" sz="1400" b="1" dirty="0">
              <a:solidFill>
                <a:schemeClr val="bg1"/>
              </a:solidFill>
              <a:latin typeface="Arial" pitchFamily="34" charset="0"/>
              <a:cs typeface="Arial" pitchFamily="34" charset="0"/>
            </a:endParaRPr>
          </a:p>
        </p:txBody>
      </p:sp>
      <p:sp>
        <p:nvSpPr>
          <p:cNvPr id="17" name="object 9">
            <a:extLst>
              <a:ext uri="{FF2B5EF4-FFF2-40B4-BE49-F238E27FC236}">
                <a16:creationId xmlns:a16="http://schemas.microsoft.com/office/drawing/2014/main" xmlns="" id="{FE6D347E-3991-4DF5-A61D-C0383CB72495}"/>
              </a:ext>
            </a:extLst>
          </p:cNvPr>
          <p:cNvSpPr txBox="1"/>
          <p:nvPr/>
        </p:nvSpPr>
        <p:spPr>
          <a:xfrm>
            <a:off x="280559" y="2141342"/>
            <a:ext cx="4024022" cy="2121735"/>
          </a:xfrm>
          <a:prstGeom prst="rect">
            <a:avLst/>
          </a:prstGeom>
        </p:spPr>
        <p:txBody>
          <a:bodyPr vert="horz" wrap="square" lIns="0" tIns="13335" rIns="0" bIns="0" rtlCol="0">
            <a:spAutoFit/>
          </a:bodyPr>
          <a:lstStyle/>
          <a:p>
            <a:pPr marL="24765" marR="55880" rtl="0">
              <a:lnSpc>
                <a:spcPct val="100000"/>
              </a:lnSpc>
              <a:spcBef>
                <a:spcPts val="105"/>
              </a:spcBef>
              <a:buClr>
                <a:srgbClr val="003864"/>
              </a:buClr>
              <a:tabLst>
                <a:tab pos="199390" algn="l"/>
              </a:tabLst>
            </a:pPr>
            <a:r>
              <a:rPr lang="ru" sz="2400" b="1" dirty="0">
                <a:solidFill>
                  <a:srgbClr val="830051"/>
                </a:solidFill>
                <a:latin typeface="Arial" pitchFamily="34" charset="0"/>
                <a:ea typeface="+mj-ea"/>
                <a:cs typeface="Arial" pitchFamily="34" charset="0"/>
              </a:rPr>
              <a:t>Тесты</a:t>
            </a:r>
          </a:p>
          <a:p>
            <a:pPr marL="310515" marR="55880" indent="-285750" rtl="0">
              <a:lnSpc>
                <a:spcPct val="100000"/>
              </a:lnSpc>
              <a:spcBef>
                <a:spcPts val="105"/>
              </a:spcBef>
              <a:buClr>
                <a:srgbClr val="003864"/>
              </a:buClr>
              <a:buFont typeface="Arial" panose="020B0604020202020204" pitchFamily="34" charset="0"/>
              <a:buChar char="•"/>
              <a:tabLst>
                <a:tab pos="199390" algn="l"/>
              </a:tabLst>
            </a:pPr>
            <a:r>
              <a:rPr lang="ru" sz="1350" dirty="0">
                <a:solidFill>
                  <a:srgbClr val="000000"/>
                </a:solidFill>
                <a:latin typeface="Arial"/>
              </a:rPr>
              <a:t>Мутации, активирующие HER2, можно идентифицировать с помощью NGS* и полимеразной цепной реакции (ПЦР)</a:t>
            </a:r>
            <a:r>
              <a:rPr lang="ru" sz="1350" baseline="30000" dirty="0">
                <a:solidFill>
                  <a:srgbClr val="000000"/>
                </a:solidFill>
                <a:latin typeface="Arial"/>
              </a:rPr>
              <a:t>1,4,5</a:t>
            </a:r>
            <a:endParaRPr sz="1350" baseline="30000" dirty="0">
              <a:solidFill>
                <a:srgbClr val="000000"/>
              </a:solidFill>
              <a:latin typeface="Arial"/>
            </a:endParaRPr>
          </a:p>
          <a:p>
            <a:pPr marL="310515" marR="17780" indent="-285750" rtl="0">
              <a:lnSpc>
                <a:spcPct val="100000"/>
              </a:lnSpc>
              <a:spcBef>
                <a:spcPts val="490"/>
              </a:spcBef>
              <a:buFont typeface="Arial" panose="020B0604020202020204" pitchFamily="34" charset="0"/>
              <a:buChar char="•"/>
              <a:tabLst>
                <a:tab pos="199390" algn="l"/>
              </a:tabLst>
            </a:pPr>
            <a:r>
              <a:rPr lang="ru" sz="1350" dirty="0">
                <a:solidFill>
                  <a:srgbClr val="000000"/>
                </a:solidFill>
                <a:latin typeface="Arial"/>
              </a:rPr>
              <a:t>На протяжении многих лет исследователи изучали возможность использования каких-либо суррогатных маркеров вместо теста NGS, но до сих пор такие маркеры</a:t>
            </a:r>
            <a:br>
              <a:rPr lang="ru" sz="1350" dirty="0">
                <a:solidFill>
                  <a:srgbClr val="000000"/>
                </a:solidFill>
                <a:latin typeface="Arial"/>
              </a:rPr>
            </a:br>
            <a:r>
              <a:rPr lang="ru" sz="1350" dirty="0">
                <a:solidFill>
                  <a:srgbClr val="000000"/>
                </a:solidFill>
                <a:latin typeface="Arial"/>
              </a:rPr>
              <a:t>не обнаружены</a:t>
            </a:r>
            <a:r>
              <a:rPr lang="ru" sz="1350" baseline="30000" dirty="0">
                <a:solidFill>
                  <a:srgbClr val="000000"/>
                </a:solidFill>
                <a:latin typeface="Arial"/>
              </a:rPr>
              <a:t>1</a:t>
            </a:r>
            <a:endParaRPr sz="1350" baseline="30000" dirty="0">
              <a:solidFill>
                <a:srgbClr val="000000"/>
              </a:solidFill>
              <a:latin typeface="Arial"/>
            </a:endParaRPr>
          </a:p>
        </p:txBody>
      </p:sp>
      <p:sp>
        <p:nvSpPr>
          <p:cNvPr id="3" name="TextBox 2">
            <a:extLst>
              <a:ext uri="{FF2B5EF4-FFF2-40B4-BE49-F238E27FC236}">
                <a16:creationId xmlns:a16="http://schemas.microsoft.com/office/drawing/2014/main" xmlns="" id="{C6EA0D0E-F471-4594-8340-B736810258EC}"/>
              </a:ext>
            </a:extLst>
          </p:cNvPr>
          <p:cNvSpPr txBox="1"/>
          <p:nvPr/>
        </p:nvSpPr>
        <p:spPr>
          <a:xfrm>
            <a:off x="134021" y="4322000"/>
            <a:ext cx="4754828" cy="253916"/>
          </a:xfrm>
          <a:prstGeom prst="rect">
            <a:avLst/>
          </a:prstGeom>
          <a:noFill/>
        </p:spPr>
        <p:txBody>
          <a:bodyPr wrap="none" rtlCol="0">
            <a:spAutoFit/>
          </a:bodyPr>
          <a:lstStyle/>
          <a:p>
            <a:r>
              <a:rPr lang="ru-RU" sz="1050" i="1" dirty="0"/>
              <a:t>*</a:t>
            </a:r>
            <a:r>
              <a:rPr lang="en-US" sz="1050" i="1" dirty="0"/>
              <a:t>NGS – Next Generation Sequencing – </a:t>
            </a:r>
            <a:r>
              <a:rPr lang="ru-RU" sz="1050" i="1" dirty="0"/>
              <a:t>секвенирование нового поколения</a:t>
            </a:r>
            <a:endParaRPr lang="en-US" sz="1050" i="1" dirty="0"/>
          </a:p>
        </p:txBody>
      </p:sp>
    </p:spTree>
    <p:extLst>
      <p:ext uri="{BB962C8B-B14F-4D97-AF65-F5344CB8AC3E}">
        <p14:creationId xmlns:p14="http://schemas.microsoft.com/office/powerpoint/2010/main" val="28553725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a:extLst>
              <a:ext uri="{FF2B5EF4-FFF2-40B4-BE49-F238E27FC236}">
                <a16:creationId xmlns:a16="http://schemas.microsoft.com/office/drawing/2014/main" xmlns="" id="{FDDC89C2-02A0-CB17-5124-DD24C6647B6F}"/>
              </a:ext>
            </a:extLst>
          </p:cNvPr>
          <p:cNvSpPr>
            <a:spLocks noGrp="1"/>
          </p:cNvSpPr>
          <p:nvPr>
            <p:ph type="title"/>
          </p:nvPr>
        </p:nvSpPr>
        <p:spPr>
          <a:xfrm>
            <a:off x="237063" y="144000"/>
            <a:ext cx="7988256" cy="504000"/>
          </a:xfrm>
        </p:spPr>
        <p:txBody>
          <a:bodyPr>
            <a:normAutofit fontScale="90000"/>
          </a:bodyPr>
          <a:lstStyle/>
          <a:p>
            <a:r>
              <a:rPr lang="ru-RU" dirty="0"/>
              <a:t>Распространенность мутаций, амплификации и </a:t>
            </a:r>
            <a:r>
              <a:rPr lang="ru-RU" dirty="0" err="1"/>
              <a:t>гиперэкспрессии</a:t>
            </a:r>
            <a:r>
              <a:rPr lang="ru-RU" dirty="0"/>
              <a:t> HER2 различается в зависимости от типа опухоли</a:t>
            </a:r>
          </a:p>
        </p:txBody>
      </p:sp>
      <p:sp>
        <p:nvSpPr>
          <p:cNvPr id="132" name="Text Placeholder 23">
            <a:extLst>
              <a:ext uri="{FF2B5EF4-FFF2-40B4-BE49-F238E27FC236}">
                <a16:creationId xmlns:a16="http://schemas.microsoft.com/office/drawing/2014/main" xmlns="" id="{56CB8873-34C0-7E9E-F2F9-FC206A39F3E4}"/>
              </a:ext>
            </a:extLst>
          </p:cNvPr>
          <p:cNvSpPr txBox="1">
            <a:spLocks/>
          </p:cNvSpPr>
          <p:nvPr/>
        </p:nvSpPr>
        <p:spPr>
          <a:xfrm>
            <a:off x="338662" y="4742544"/>
            <a:ext cx="7886657" cy="343807"/>
          </a:xfrm>
          <a:prstGeom prst="rect">
            <a:avLst/>
          </a:prstGeom>
        </p:spPr>
        <p:txBody>
          <a:bodyPr vert="horz" lIns="0" tIns="45720" rIns="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ru" sz="600" dirty="0"/>
              <a:t>1. Cecchi F et al. Ann Oncol 2020; 31:S2:S21. 2. Tarantino P et al. J Clin Oncol 2020. 38(17): 1951-1963. 3. Hirsch FR et al. Lancet Lond Engl. 2017;389(10066):299-311. 4. Mar N et al. Lung Cancer. 2015;87(3):220-225. 5. Pillai RN et al. Cancer. 2017;123(21):4099-4105. 6. Mazières J et al. J Clin Oncol. 2013;31(16):1997-2003. 7. Van Cutsem E, et al. Lancet. 2016;388(10060):2654-2664. 8. Lee J and Ou S-H. Disc Med. 2013;15(85):333-41. 9. </a:t>
            </a:r>
            <a:r>
              <a:rPr lang="ru" sz="600" dirty="0">
                <a:ea typeface="+mn-lt"/>
                <a:cs typeface="+mn-lt"/>
              </a:rPr>
              <a:t>Kavanagh D et al. BMC Cancer 2009; 9:1. </a:t>
            </a:r>
            <a:r>
              <a:rPr lang="ru" sz="600" dirty="0"/>
              <a:t>10. </a:t>
            </a:r>
            <a:r>
              <a:rPr lang="ru" sz="600" dirty="0">
                <a:ea typeface="+mn-lt"/>
                <a:cs typeface="+mn-lt"/>
              </a:rPr>
              <a:t>Henry JT and Johnson B. Chin Clinc Oncol 2019;8(5):49</a:t>
            </a:r>
            <a:r>
              <a:rPr lang="ru" sz="600" dirty="0"/>
              <a:t>. 11. Wen W et al. J Mol Diagn. 2015; 17(5):487-958. </a:t>
            </a:r>
          </a:p>
        </p:txBody>
      </p:sp>
      <p:grpSp>
        <p:nvGrpSpPr>
          <p:cNvPr id="3" name="Group 2">
            <a:extLst>
              <a:ext uri="{FF2B5EF4-FFF2-40B4-BE49-F238E27FC236}">
                <a16:creationId xmlns:a16="http://schemas.microsoft.com/office/drawing/2014/main" xmlns="" id="{8B84B5BD-DD71-4C04-B300-E2053DEBB6D9}"/>
              </a:ext>
            </a:extLst>
          </p:cNvPr>
          <p:cNvGrpSpPr/>
          <p:nvPr/>
        </p:nvGrpSpPr>
        <p:grpSpPr>
          <a:xfrm>
            <a:off x="343216" y="1217749"/>
            <a:ext cx="7186729" cy="2856412"/>
            <a:chOff x="343216" y="1217749"/>
            <a:chExt cx="7186729" cy="2856412"/>
          </a:xfrm>
        </p:grpSpPr>
        <p:sp>
          <p:nvSpPr>
            <p:cNvPr id="70" name="Rectangle 67">
              <a:extLst>
                <a:ext uri="{FF2B5EF4-FFF2-40B4-BE49-F238E27FC236}">
                  <a16:creationId xmlns:a16="http://schemas.microsoft.com/office/drawing/2014/main" xmlns="" id="{AF51C3FB-A13E-1C05-7301-EF9DDF39BFCA}"/>
                </a:ext>
              </a:extLst>
            </p:cNvPr>
            <p:cNvSpPr/>
            <p:nvPr/>
          </p:nvSpPr>
          <p:spPr>
            <a:xfrm>
              <a:off x="343216" y="1564640"/>
              <a:ext cx="1981200" cy="2314666"/>
            </a:xfrm>
            <a:prstGeom prst="rect">
              <a:avLst/>
            </a:prstGeom>
            <a:solidFill>
              <a:srgbClr val="41C5D7">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GB" b="1" dirty="0">
                <a:solidFill>
                  <a:srgbClr val="FFFFFF"/>
                </a:solidFill>
                <a:latin typeface="Arial"/>
              </a:endParaRPr>
            </a:p>
          </p:txBody>
        </p:sp>
        <p:sp>
          <p:nvSpPr>
            <p:cNvPr id="71" name="TextBox 70">
              <a:extLst>
                <a:ext uri="{FF2B5EF4-FFF2-40B4-BE49-F238E27FC236}">
                  <a16:creationId xmlns:a16="http://schemas.microsoft.com/office/drawing/2014/main" xmlns="" id="{F25F3B02-A69A-F177-9E51-0A48C6E4F42C}"/>
                </a:ext>
              </a:extLst>
            </p:cNvPr>
            <p:cNvSpPr txBox="1"/>
            <p:nvPr/>
          </p:nvSpPr>
          <p:spPr>
            <a:xfrm>
              <a:off x="2286316" y="1217749"/>
              <a:ext cx="1686560" cy="272415"/>
            </a:xfrm>
            <a:prstGeom prst="roundRect">
              <a:avLst/>
            </a:prstGeom>
            <a:noFill/>
            <a:ln>
              <a:noFill/>
              <a:prstDash val="sysDash"/>
            </a:ln>
          </p:spPr>
          <p:txBody>
            <a:bodyPr wrap="square" rtlCol="0">
              <a:spAutoFit/>
            </a:bodyPr>
            <a:lstStyle/>
            <a:p>
              <a:pPr algn="ctr" defTabSz="457189">
                <a:defRPr/>
              </a:pPr>
              <a:r>
                <a:rPr lang="ru" sz="1000" b="1" dirty="0">
                  <a:solidFill>
                    <a:srgbClr val="3F4444"/>
                  </a:solidFill>
                  <a:latin typeface="Arial"/>
                </a:rPr>
                <a:t>Гиперэкспрессия </a:t>
              </a:r>
              <a:r>
                <a:rPr lang="en" sz="1000" b="1" i="1" dirty="0">
                  <a:solidFill>
                    <a:srgbClr val="3F4444"/>
                  </a:solidFill>
                  <a:latin typeface="Arial"/>
                </a:rPr>
                <a:t>HER2</a:t>
              </a:r>
            </a:p>
          </p:txBody>
        </p:sp>
        <p:sp>
          <p:nvSpPr>
            <p:cNvPr id="72" name="TextBox 71">
              <a:extLst>
                <a:ext uri="{FF2B5EF4-FFF2-40B4-BE49-F238E27FC236}">
                  <a16:creationId xmlns:a16="http://schemas.microsoft.com/office/drawing/2014/main" xmlns="" id="{60BB49D8-A805-5D48-A1B2-CB27785578B4}"/>
                </a:ext>
              </a:extLst>
            </p:cNvPr>
            <p:cNvSpPr txBox="1"/>
            <p:nvPr/>
          </p:nvSpPr>
          <p:spPr>
            <a:xfrm>
              <a:off x="343216" y="1741405"/>
              <a:ext cx="1917702" cy="430887"/>
            </a:xfrm>
            <a:prstGeom prst="rect">
              <a:avLst/>
            </a:prstGeom>
            <a:noFill/>
          </p:spPr>
          <p:txBody>
            <a:bodyPr wrap="square" rtlCol="0">
              <a:spAutoFit/>
            </a:bodyPr>
            <a:lstStyle/>
            <a:p>
              <a:pPr algn="r" defTabSz="457189">
                <a:defRPr/>
              </a:pPr>
              <a:r>
                <a:rPr lang="ru-RU" sz="1100" b="1" dirty="0">
                  <a:solidFill>
                    <a:srgbClr val="C4D600"/>
                  </a:solidFill>
                  <a:latin typeface="Arial"/>
                </a:rPr>
                <a:t>РАК </a:t>
              </a:r>
              <a:r>
                <a:rPr lang="ru" sz="1100" b="1" dirty="0">
                  <a:solidFill>
                    <a:srgbClr val="C4D600"/>
                  </a:solidFill>
                  <a:latin typeface="Arial"/>
                </a:rPr>
                <a:t>МОЛОЧНОЙ ЖЕЛЕЗЫ</a:t>
              </a:r>
            </a:p>
          </p:txBody>
        </p:sp>
        <p:sp>
          <p:nvSpPr>
            <p:cNvPr id="73" name="TextBox 72">
              <a:extLst>
                <a:ext uri="{FF2B5EF4-FFF2-40B4-BE49-F238E27FC236}">
                  <a16:creationId xmlns:a16="http://schemas.microsoft.com/office/drawing/2014/main" xmlns="" id="{15AEC779-70F6-4A21-FF0C-77248B54477F}"/>
                </a:ext>
              </a:extLst>
            </p:cNvPr>
            <p:cNvSpPr txBox="1"/>
            <p:nvPr/>
          </p:nvSpPr>
          <p:spPr>
            <a:xfrm>
              <a:off x="1104855" y="2320522"/>
              <a:ext cx="1156063" cy="261610"/>
            </a:xfrm>
            <a:prstGeom prst="rect">
              <a:avLst/>
            </a:prstGeom>
            <a:noFill/>
          </p:spPr>
          <p:txBody>
            <a:bodyPr wrap="square" rtlCol="0">
              <a:spAutoFit/>
            </a:bodyPr>
            <a:lstStyle/>
            <a:p>
              <a:pPr algn="r" defTabSz="457189">
                <a:defRPr/>
              </a:pPr>
              <a:r>
                <a:rPr lang="ru" sz="1100" b="1" dirty="0">
                  <a:solidFill>
                    <a:srgbClr val="68D2DF">
                      <a:lumMod val="50000"/>
                    </a:srgbClr>
                  </a:solidFill>
                  <a:latin typeface="Arial"/>
                </a:rPr>
                <a:t>РАК ЛЕГКОГО</a:t>
              </a:r>
            </a:p>
          </p:txBody>
        </p:sp>
        <p:sp>
          <p:nvSpPr>
            <p:cNvPr id="74" name="TextBox 73">
              <a:extLst>
                <a:ext uri="{FF2B5EF4-FFF2-40B4-BE49-F238E27FC236}">
                  <a16:creationId xmlns:a16="http://schemas.microsoft.com/office/drawing/2014/main" xmlns="" id="{CB565BCF-0C20-B9BC-07F1-67D538F88F8A}"/>
                </a:ext>
              </a:extLst>
            </p:cNvPr>
            <p:cNvSpPr txBox="1"/>
            <p:nvPr/>
          </p:nvSpPr>
          <p:spPr>
            <a:xfrm>
              <a:off x="343216" y="2943184"/>
              <a:ext cx="1958342" cy="261610"/>
            </a:xfrm>
            <a:prstGeom prst="rect">
              <a:avLst/>
            </a:prstGeom>
            <a:noFill/>
          </p:spPr>
          <p:txBody>
            <a:bodyPr wrap="square" rtlCol="0">
              <a:spAutoFit/>
            </a:bodyPr>
            <a:lstStyle/>
            <a:p>
              <a:pPr algn="r" defTabSz="457178">
                <a:defRPr/>
              </a:pPr>
              <a:r>
                <a:rPr lang="ru" sz="1100" b="1" dirty="0">
                  <a:solidFill>
                    <a:srgbClr val="41C5D7"/>
                  </a:solidFill>
                  <a:latin typeface="Arial"/>
                </a:rPr>
                <a:t>РАК ЖЕЛУДКА</a:t>
              </a:r>
            </a:p>
          </p:txBody>
        </p:sp>
        <p:sp>
          <p:nvSpPr>
            <p:cNvPr id="75" name="TextBox 74">
              <a:extLst>
                <a:ext uri="{FF2B5EF4-FFF2-40B4-BE49-F238E27FC236}">
                  <a16:creationId xmlns:a16="http://schemas.microsoft.com/office/drawing/2014/main" xmlns="" id="{A86023CD-4780-4D50-1527-4217A64E8EC9}"/>
                </a:ext>
              </a:extLst>
            </p:cNvPr>
            <p:cNvSpPr txBox="1"/>
            <p:nvPr/>
          </p:nvSpPr>
          <p:spPr>
            <a:xfrm>
              <a:off x="343216" y="3513298"/>
              <a:ext cx="1917701" cy="261610"/>
            </a:xfrm>
            <a:prstGeom prst="rect">
              <a:avLst/>
            </a:prstGeom>
            <a:noFill/>
          </p:spPr>
          <p:txBody>
            <a:bodyPr wrap="square" rtlCol="0">
              <a:spAutoFit/>
            </a:bodyPr>
            <a:lstStyle/>
            <a:p>
              <a:pPr algn="r" defTabSz="457178">
                <a:defRPr/>
              </a:pPr>
              <a:r>
                <a:rPr lang="ru" sz="1100" b="1" dirty="0">
                  <a:solidFill>
                    <a:srgbClr val="003865">
                      <a:lumMod val="90000"/>
                      <a:lumOff val="10000"/>
                    </a:srgbClr>
                  </a:solidFill>
                  <a:latin typeface="Arial"/>
                </a:rPr>
                <a:t>КОЛОРЕКТАЛЬНЫЙ РАК</a:t>
              </a:r>
              <a:endParaRPr lang="en-GB" sz="1100" b="1" dirty="0">
                <a:solidFill>
                  <a:srgbClr val="68D2DF"/>
                </a:solidFill>
                <a:latin typeface="Arial"/>
              </a:endParaRPr>
            </a:p>
          </p:txBody>
        </p:sp>
        <p:sp>
          <p:nvSpPr>
            <p:cNvPr id="76" name="Rounded Rectangle 7">
              <a:extLst>
                <a:ext uri="{FF2B5EF4-FFF2-40B4-BE49-F238E27FC236}">
                  <a16:creationId xmlns:a16="http://schemas.microsoft.com/office/drawing/2014/main" xmlns="" id="{00471129-EA5A-846D-F548-80E1BE3A4499}"/>
                </a:ext>
              </a:extLst>
            </p:cNvPr>
            <p:cNvSpPr/>
            <p:nvPr/>
          </p:nvSpPr>
          <p:spPr>
            <a:xfrm>
              <a:off x="2242048" y="1670595"/>
              <a:ext cx="1254034" cy="400594"/>
            </a:xfrm>
            <a:prstGeom prst="roundRect">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GB" b="1" dirty="0">
                <a:solidFill>
                  <a:srgbClr val="FFFFFF"/>
                </a:solidFill>
                <a:latin typeface="Arial"/>
              </a:endParaRPr>
            </a:p>
          </p:txBody>
        </p:sp>
        <p:grpSp>
          <p:nvGrpSpPr>
            <p:cNvPr id="77" name="Group 38">
              <a:extLst>
                <a:ext uri="{FF2B5EF4-FFF2-40B4-BE49-F238E27FC236}">
                  <a16:creationId xmlns:a16="http://schemas.microsoft.com/office/drawing/2014/main" xmlns="" id="{33B75BD5-2EFF-70A0-768E-4CD71E9CC5B3}"/>
                </a:ext>
              </a:extLst>
            </p:cNvPr>
            <p:cNvGrpSpPr/>
            <p:nvPr/>
          </p:nvGrpSpPr>
          <p:grpSpPr>
            <a:xfrm>
              <a:off x="2332037" y="2232842"/>
              <a:ext cx="1533795" cy="442674"/>
              <a:chOff x="1991580" y="2033996"/>
              <a:chExt cx="1651980" cy="442674"/>
            </a:xfrm>
          </p:grpSpPr>
          <p:sp>
            <p:nvSpPr>
              <p:cNvPr id="78" name="TextBox 77">
                <a:extLst>
                  <a:ext uri="{FF2B5EF4-FFF2-40B4-BE49-F238E27FC236}">
                    <a16:creationId xmlns:a16="http://schemas.microsoft.com/office/drawing/2014/main" xmlns="" id="{F648A99C-4268-3161-7F8F-722F761F9BE2}"/>
                  </a:ext>
                </a:extLst>
              </p:cNvPr>
              <p:cNvSpPr txBox="1"/>
              <p:nvPr/>
            </p:nvSpPr>
            <p:spPr>
              <a:xfrm>
                <a:off x="1991580" y="2033996"/>
                <a:ext cx="1570226" cy="442674"/>
              </a:xfrm>
              <a:prstGeom prst="roundRect">
                <a:avLst/>
              </a:prstGeom>
              <a:noFill/>
              <a:ln w="12700">
                <a:noFill/>
                <a:prstDash val="sysDash"/>
              </a:ln>
            </p:spPr>
            <p:txBody>
              <a:bodyPr wrap="square" rIns="144000" rtlCol="0">
                <a:spAutoFit/>
              </a:bodyPr>
              <a:lstStyle/>
              <a:p>
                <a:pPr algn="ctr" defTabSz="457178">
                  <a:defRPr/>
                </a:pPr>
                <a:r>
                  <a:rPr lang="ru" sz="2000" b="1">
                    <a:solidFill>
                      <a:srgbClr val="68D2DF">
                        <a:lumMod val="50000"/>
                      </a:srgbClr>
                    </a:solidFill>
                    <a:latin typeface="Arial"/>
                  </a:rPr>
                  <a:t>10–20 %</a:t>
                </a:r>
                <a:endParaRPr lang="en-US" sz="2000" b="1" baseline="30000" dirty="0">
                  <a:solidFill>
                    <a:srgbClr val="68D2DF">
                      <a:lumMod val="50000"/>
                    </a:srgbClr>
                  </a:solidFill>
                  <a:latin typeface="Arial"/>
                </a:endParaRPr>
              </a:p>
            </p:txBody>
          </p:sp>
          <p:sp>
            <p:nvSpPr>
              <p:cNvPr id="79" name="TextBox 78">
                <a:extLst>
                  <a:ext uri="{FF2B5EF4-FFF2-40B4-BE49-F238E27FC236}">
                    <a16:creationId xmlns:a16="http://schemas.microsoft.com/office/drawing/2014/main" xmlns="" id="{96463C3A-9C8E-3B68-424F-50AAF93B71C7}"/>
                  </a:ext>
                </a:extLst>
              </p:cNvPr>
              <p:cNvSpPr txBox="1"/>
              <p:nvPr/>
            </p:nvSpPr>
            <p:spPr>
              <a:xfrm>
                <a:off x="3196046" y="2063931"/>
                <a:ext cx="447514" cy="276999"/>
              </a:xfrm>
              <a:prstGeom prst="rect">
                <a:avLst/>
              </a:prstGeom>
              <a:noFill/>
              <a:ln>
                <a:noFill/>
              </a:ln>
            </p:spPr>
            <p:txBody>
              <a:bodyPr wrap="none" rtlCol="0">
                <a:spAutoFit/>
              </a:bodyPr>
              <a:lstStyle/>
              <a:p>
                <a:pPr defTabSz="457189">
                  <a:defRPr/>
                </a:pPr>
                <a:r>
                  <a:rPr lang="ru" sz="1200" b="1" baseline="30000" dirty="0">
                    <a:solidFill>
                      <a:srgbClr val="68D2DF">
                        <a:lumMod val="50000"/>
                      </a:srgbClr>
                    </a:solidFill>
                    <a:latin typeface="Arial"/>
                  </a:rPr>
                  <a:t>3,4,6</a:t>
                </a:r>
                <a:endParaRPr lang="en-GB" sz="1200" b="1" dirty="0">
                  <a:solidFill>
                    <a:srgbClr val="000000"/>
                  </a:solidFill>
                  <a:latin typeface="Arial"/>
                </a:endParaRPr>
              </a:p>
            </p:txBody>
          </p:sp>
        </p:grpSp>
        <p:grpSp>
          <p:nvGrpSpPr>
            <p:cNvPr id="80" name="Group 41">
              <a:extLst>
                <a:ext uri="{FF2B5EF4-FFF2-40B4-BE49-F238E27FC236}">
                  <a16:creationId xmlns:a16="http://schemas.microsoft.com/office/drawing/2014/main" xmlns="" id="{A21F8216-5CA8-78A6-C618-001F58B82D09}"/>
                </a:ext>
              </a:extLst>
            </p:cNvPr>
            <p:cNvGrpSpPr/>
            <p:nvPr/>
          </p:nvGrpSpPr>
          <p:grpSpPr>
            <a:xfrm>
              <a:off x="2375580" y="2835478"/>
              <a:ext cx="1262743" cy="469232"/>
              <a:chOff x="2151017" y="2819512"/>
              <a:chExt cx="1262743" cy="469232"/>
            </a:xfrm>
          </p:grpSpPr>
          <p:sp>
            <p:nvSpPr>
              <p:cNvPr id="81" name="TextBox 80">
                <a:extLst>
                  <a:ext uri="{FF2B5EF4-FFF2-40B4-BE49-F238E27FC236}">
                    <a16:creationId xmlns:a16="http://schemas.microsoft.com/office/drawing/2014/main" xmlns="" id="{0339B6C3-93B0-A9CA-0919-6473792BAF7F}"/>
                  </a:ext>
                </a:extLst>
              </p:cNvPr>
              <p:cNvSpPr txBox="1"/>
              <p:nvPr/>
            </p:nvSpPr>
            <p:spPr>
              <a:xfrm>
                <a:off x="2151017" y="2846070"/>
                <a:ext cx="1262743" cy="442674"/>
              </a:xfrm>
              <a:prstGeom prst="roundRect">
                <a:avLst/>
              </a:prstGeom>
              <a:noFill/>
              <a:ln>
                <a:noFill/>
                <a:prstDash val="sysDash"/>
              </a:ln>
            </p:spPr>
            <p:txBody>
              <a:bodyPr wrap="square" rtlCol="0">
                <a:spAutoFit/>
              </a:bodyPr>
              <a:lstStyle/>
              <a:p>
                <a:pPr algn="ctr" defTabSz="457189">
                  <a:defRPr/>
                </a:pPr>
                <a:r>
                  <a:rPr lang="ru" sz="2000" b="1">
                    <a:solidFill>
                      <a:srgbClr val="41C5D7"/>
                    </a:solidFill>
                    <a:latin typeface="Arial"/>
                  </a:rPr>
                  <a:t>12–20 %</a:t>
                </a:r>
                <a:endParaRPr lang="en-GB" sz="2000" b="1" baseline="30000" dirty="0">
                  <a:solidFill>
                    <a:srgbClr val="41C5D7"/>
                  </a:solidFill>
                  <a:latin typeface="Arial"/>
                </a:endParaRPr>
              </a:p>
            </p:txBody>
          </p:sp>
          <p:sp>
            <p:nvSpPr>
              <p:cNvPr id="82" name="TextBox 81">
                <a:extLst>
                  <a:ext uri="{FF2B5EF4-FFF2-40B4-BE49-F238E27FC236}">
                    <a16:creationId xmlns:a16="http://schemas.microsoft.com/office/drawing/2014/main" xmlns="" id="{CC26C65D-03B4-EC1A-BE72-5EA92FBDBAC8}"/>
                  </a:ext>
                </a:extLst>
              </p:cNvPr>
              <p:cNvSpPr txBox="1"/>
              <p:nvPr/>
            </p:nvSpPr>
            <p:spPr>
              <a:xfrm>
                <a:off x="3171386" y="2819512"/>
                <a:ext cx="242374" cy="276999"/>
              </a:xfrm>
              <a:prstGeom prst="rect">
                <a:avLst/>
              </a:prstGeom>
              <a:noFill/>
              <a:ln>
                <a:noFill/>
              </a:ln>
            </p:spPr>
            <p:txBody>
              <a:bodyPr wrap="none" rtlCol="0">
                <a:spAutoFit/>
              </a:bodyPr>
              <a:lstStyle/>
              <a:p>
                <a:pPr defTabSz="457189">
                  <a:defRPr/>
                </a:pPr>
                <a:r>
                  <a:rPr lang="ru" sz="1200" b="1" baseline="30000" dirty="0">
                    <a:solidFill>
                      <a:srgbClr val="41C5D7"/>
                    </a:solidFill>
                    <a:latin typeface="Arial"/>
                  </a:rPr>
                  <a:t>7</a:t>
                </a:r>
                <a:endParaRPr lang="en-GB" sz="1200" b="1" dirty="0">
                  <a:solidFill>
                    <a:srgbClr val="41C5D7"/>
                  </a:solidFill>
                  <a:latin typeface="Arial"/>
                </a:endParaRPr>
              </a:p>
            </p:txBody>
          </p:sp>
        </p:grpSp>
        <p:grpSp>
          <p:nvGrpSpPr>
            <p:cNvPr id="83" name="Group 31">
              <a:extLst>
                <a:ext uri="{FF2B5EF4-FFF2-40B4-BE49-F238E27FC236}">
                  <a16:creationId xmlns:a16="http://schemas.microsoft.com/office/drawing/2014/main" xmlns="" id="{502FEFE9-BC05-B8B2-2ED0-A9C6ADDC3CC0}"/>
                </a:ext>
              </a:extLst>
            </p:cNvPr>
            <p:cNvGrpSpPr/>
            <p:nvPr/>
          </p:nvGrpSpPr>
          <p:grpSpPr>
            <a:xfrm>
              <a:off x="2366871" y="3421267"/>
              <a:ext cx="1271451" cy="442674"/>
              <a:chOff x="1833155" y="3421262"/>
              <a:chExt cx="1271451" cy="442674"/>
            </a:xfrm>
          </p:grpSpPr>
          <p:sp>
            <p:nvSpPr>
              <p:cNvPr id="84" name="TextBox 83">
                <a:extLst>
                  <a:ext uri="{FF2B5EF4-FFF2-40B4-BE49-F238E27FC236}">
                    <a16:creationId xmlns:a16="http://schemas.microsoft.com/office/drawing/2014/main" xmlns="" id="{2BF1705D-5868-1C34-563A-0725EAEB19E0}"/>
                  </a:ext>
                </a:extLst>
              </p:cNvPr>
              <p:cNvSpPr txBox="1"/>
              <p:nvPr/>
            </p:nvSpPr>
            <p:spPr>
              <a:xfrm>
                <a:off x="1833155" y="3421262"/>
                <a:ext cx="1271451" cy="442674"/>
              </a:xfrm>
              <a:prstGeom prst="roundRect">
                <a:avLst/>
              </a:prstGeom>
              <a:noFill/>
              <a:ln>
                <a:noFill/>
                <a:prstDash val="sysDash"/>
              </a:ln>
            </p:spPr>
            <p:txBody>
              <a:bodyPr wrap="square" lIns="91440" tIns="45720" rIns="91440" bIns="45720" rtlCol="0" anchor="t">
                <a:spAutoFit/>
              </a:bodyPr>
              <a:lstStyle/>
              <a:p>
                <a:pPr algn="ctr" defTabSz="457178">
                  <a:defRPr/>
                </a:pPr>
                <a:r>
                  <a:rPr lang="ru" sz="2000" b="1" dirty="0">
                    <a:solidFill>
                      <a:srgbClr val="003865">
                        <a:lumMod val="90000"/>
                        <a:lumOff val="10000"/>
                      </a:srgbClr>
                    </a:solidFill>
                    <a:latin typeface="Arial"/>
                  </a:rPr>
                  <a:t>11 %</a:t>
                </a:r>
                <a:endParaRPr lang="en-GB" sz="2000" b="1" baseline="30000" dirty="0">
                  <a:solidFill>
                    <a:srgbClr val="003865">
                      <a:lumMod val="90000"/>
                      <a:lumOff val="10000"/>
                    </a:srgbClr>
                  </a:solidFill>
                  <a:latin typeface="Arial"/>
                </a:endParaRPr>
              </a:p>
            </p:txBody>
          </p:sp>
          <p:sp>
            <p:nvSpPr>
              <p:cNvPr id="85" name="TextBox 84">
                <a:extLst>
                  <a:ext uri="{FF2B5EF4-FFF2-40B4-BE49-F238E27FC236}">
                    <a16:creationId xmlns:a16="http://schemas.microsoft.com/office/drawing/2014/main" xmlns="" id="{340CFA9B-A06E-9F85-8C64-83B138B9B7A2}"/>
                  </a:ext>
                </a:extLst>
              </p:cNvPr>
              <p:cNvSpPr txBox="1"/>
              <p:nvPr/>
            </p:nvSpPr>
            <p:spPr>
              <a:xfrm>
                <a:off x="2674243" y="3429257"/>
                <a:ext cx="242374" cy="276999"/>
              </a:xfrm>
              <a:prstGeom prst="rect">
                <a:avLst/>
              </a:prstGeom>
              <a:noFill/>
              <a:ln>
                <a:noFill/>
              </a:ln>
            </p:spPr>
            <p:txBody>
              <a:bodyPr wrap="none" rtlCol="0">
                <a:spAutoFit/>
              </a:bodyPr>
              <a:lstStyle/>
              <a:p>
                <a:pPr defTabSz="457189">
                  <a:defRPr/>
                </a:pPr>
                <a:r>
                  <a:rPr lang="ru" sz="1200" b="1" baseline="30000" dirty="0">
                    <a:solidFill>
                      <a:srgbClr val="003865"/>
                    </a:solidFill>
                    <a:latin typeface="Arial"/>
                  </a:rPr>
                  <a:t>9</a:t>
                </a:r>
                <a:endParaRPr lang="en-GB" sz="1200" b="1" dirty="0">
                  <a:solidFill>
                    <a:srgbClr val="003865"/>
                  </a:solidFill>
                  <a:latin typeface="Arial"/>
                </a:endParaRPr>
              </a:p>
            </p:txBody>
          </p:sp>
        </p:grpSp>
        <p:grpSp>
          <p:nvGrpSpPr>
            <p:cNvPr id="86" name="Group 25">
              <a:extLst>
                <a:ext uri="{FF2B5EF4-FFF2-40B4-BE49-F238E27FC236}">
                  <a16:creationId xmlns:a16="http://schemas.microsoft.com/office/drawing/2014/main" xmlns="" id="{F27A73BF-58F3-4A27-B31D-A858C484C78B}"/>
                </a:ext>
              </a:extLst>
            </p:cNvPr>
            <p:cNvGrpSpPr/>
            <p:nvPr/>
          </p:nvGrpSpPr>
          <p:grpSpPr>
            <a:xfrm>
              <a:off x="2244548" y="1636710"/>
              <a:ext cx="1550930" cy="443249"/>
              <a:chOff x="2019986" y="1289818"/>
              <a:chExt cx="1550930" cy="443249"/>
            </a:xfrm>
          </p:grpSpPr>
          <p:sp>
            <p:nvSpPr>
              <p:cNvPr id="87" name="TextBox 86">
                <a:extLst>
                  <a:ext uri="{FF2B5EF4-FFF2-40B4-BE49-F238E27FC236}">
                    <a16:creationId xmlns:a16="http://schemas.microsoft.com/office/drawing/2014/main" xmlns="" id="{9A08B9CC-83B6-757E-7EA7-5ECC3D49D014}"/>
                  </a:ext>
                </a:extLst>
              </p:cNvPr>
              <p:cNvSpPr txBox="1"/>
              <p:nvPr/>
            </p:nvSpPr>
            <p:spPr>
              <a:xfrm>
                <a:off x="2019986" y="1332957"/>
                <a:ext cx="1550930" cy="400110"/>
              </a:xfrm>
              <a:prstGeom prst="rect">
                <a:avLst/>
              </a:prstGeom>
              <a:noFill/>
              <a:ln>
                <a:noFill/>
              </a:ln>
            </p:spPr>
            <p:txBody>
              <a:bodyPr wrap="square" rtlCol="0">
                <a:spAutoFit/>
              </a:bodyPr>
              <a:lstStyle/>
              <a:p>
                <a:pPr algn="ctr" defTabSz="457189">
                  <a:defRPr/>
                </a:pPr>
                <a:r>
                  <a:rPr lang="ru" sz="2000" b="1">
                    <a:solidFill>
                      <a:srgbClr val="C4D600"/>
                    </a:solidFill>
                    <a:latin typeface="Arial"/>
                  </a:rPr>
                  <a:t>15–20 %</a:t>
                </a:r>
                <a:endParaRPr lang="en-GB" sz="2000" b="1" baseline="30000" dirty="0">
                  <a:solidFill>
                    <a:srgbClr val="C4D600"/>
                  </a:solidFill>
                  <a:latin typeface="Arial"/>
                </a:endParaRPr>
              </a:p>
            </p:txBody>
          </p:sp>
          <p:sp>
            <p:nvSpPr>
              <p:cNvPr id="88" name="TextBox 87">
                <a:extLst>
                  <a:ext uri="{FF2B5EF4-FFF2-40B4-BE49-F238E27FC236}">
                    <a16:creationId xmlns:a16="http://schemas.microsoft.com/office/drawing/2014/main" xmlns="" id="{B42A869A-88A1-74F3-E91D-CB96A77E9883}"/>
                  </a:ext>
                </a:extLst>
              </p:cNvPr>
              <p:cNvSpPr txBox="1"/>
              <p:nvPr/>
            </p:nvSpPr>
            <p:spPr>
              <a:xfrm>
                <a:off x="3176283" y="1289818"/>
                <a:ext cx="242374" cy="276999"/>
              </a:xfrm>
              <a:prstGeom prst="rect">
                <a:avLst/>
              </a:prstGeom>
              <a:noFill/>
              <a:ln>
                <a:noFill/>
              </a:ln>
            </p:spPr>
            <p:txBody>
              <a:bodyPr wrap="none" rtlCol="0">
                <a:spAutoFit/>
              </a:bodyPr>
              <a:lstStyle/>
              <a:p>
                <a:pPr defTabSz="457189">
                  <a:defRPr/>
                </a:pPr>
                <a:r>
                  <a:rPr lang="ru" sz="1200" b="1" baseline="30000" dirty="0">
                    <a:solidFill>
                      <a:srgbClr val="C4D600"/>
                    </a:solidFill>
                    <a:latin typeface="Arial"/>
                  </a:rPr>
                  <a:t>1</a:t>
                </a:r>
                <a:endParaRPr lang="en-GB" sz="1200" b="1" dirty="0">
                  <a:solidFill>
                    <a:srgbClr val="C4D600"/>
                  </a:solidFill>
                  <a:latin typeface="Arial"/>
                </a:endParaRPr>
              </a:p>
            </p:txBody>
          </p:sp>
        </p:grpSp>
        <p:sp>
          <p:nvSpPr>
            <p:cNvPr id="89" name="TextBox 88">
              <a:extLst>
                <a:ext uri="{FF2B5EF4-FFF2-40B4-BE49-F238E27FC236}">
                  <a16:creationId xmlns:a16="http://schemas.microsoft.com/office/drawing/2014/main" xmlns="" id="{7199B361-2F4D-FAB1-180E-B618E3B9884A}"/>
                </a:ext>
              </a:extLst>
            </p:cNvPr>
            <p:cNvSpPr txBox="1"/>
            <p:nvPr/>
          </p:nvSpPr>
          <p:spPr>
            <a:xfrm>
              <a:off x="3901716" y="1217749"/>
              <a:ext cx="1955842" cy="272415"/>
            </a:xfrm>
            <a:prstGeom prst="roundRect">
              <a:avLst/>
            </a:prstGeom>
            <a:noFill/>
            <a:ln>
              <a:noFill/>
              <a:prstDash val="sysDash"/>
            </a:ln>
          </p:spPr>
          <p:txBody>
            <a:bodyPr wrap="square" rtlCol="0">
              <a:spAutoFit/>
            </a:bodyPr>
            <a:lstStyle/>
            <a:p>
              <a:pPr algn="ctr" defTabSz="457189">
                <a:defRPr/>
              </a:pPr>
              <a:r>
                <a:rPr lang="ru" sz="1000" b="1" dirty="0">
                  <a:solidFill>
                    <a:srgbClr val="B6B8BB">
                      <a:lumMod val="50000"/>
                    </a:srgbClr>
                  </a:solidFill>
                  <a:latin typeface="Arial"/>
                </a:rPr>
                <a:t>Амплификация гена </a:t>
              </a:r>
              <a:r>
                <a:rPr lang="en" sz="1000" b="1" i="1" dirty="0">
                  <a:solidFill>
                    <a:srgbClr val="B6B8BB">
                      <a:lumMod val="50000"/>
                    </a:srgbClr>
                  </a:solidFill>
                  <a:latin typeface="Arial"/>
                </a:rPr>
                <a:t>HER2</a:t>
              </a:r>
            </a:p>
          </p:txBody>
        </p:sp>
        <p:sp>
          <p:nvSpPr>
            <p:cNvPr id="90" name="Rounded Rectangle 73">
              <a:extLst>
                <a:ext uri="{FF2B5EF4-FFF2-40B4-BE49-F238E27FC236}">
                  <a16:creationId xmlns:a16="http://schemas.microsoft.com/office/drawing/2014/main" xmlns="" id="{66CC6139-A270-9E6F-2793-7AA650AB5D63}"/>
                </a:ext>
              </a:extLst>
            </p:cNvPr>
            <p:cNvSpPr/>
            <p:nvPr/>
          </p:nvSpPr>
          <p:spPr>
            <a:xfrm>
              <a:off x="4142694" y="1670595"/>
              <a:ext cx="1254034" cy="400594"/>
            </a:xfrm>
            <a:prstGeom prst="roundRect">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GB" b="1" dirty="0">
                <a:solidFill>
                  <a:srgbClr val="FFFFFF"/>
                </a:solidFill>
                <a:latin typeface="Arial"/>
              </a:endParaRPr>
            </a:p>
          </p:txBody>
        </p:sp>
        <p:grpSp>
          <p:nvGrpSpPr>
            <p:cNvPr id="91" name="Group 74">
              <a:extLst>
                <a:ext uri="{FF2B5EF4-FFF2-40B4-BE49-F238E27FC236}">
                  <a16:creationId xmlns:a16="http://schemas.microsoft.com/office/drawing/2014/main" xmlns="" id="{ADFFA5CB-ED83-4234-B840-9ABC0AD1785A}"/>
                </a:ext>
              </a:extLst>
            </p:cNvPr>
            <p:cNvGrpSpPr/>
            <p:nvPr/>
          </p:nvGrpSpPr>
          <p:grpSpPr>
            <a:xfrm>
              <a:off x="4112940" y="2232844"/>
              <a:ext cx="1482634" cy="442674"/>
              <a:chOff x="2079172" y="2033996"/>
              <a:chExt cx="1482634" cy="442674"/>
            </a:xfrm>
          </p:grpSpPr>
          <p:sp>
            <p:nvSpPr>
              <p:cNvPr id="92" name="TextBox 91">
                <a:extLst>
                  <a:ext uri="{FF2B5EF4-FFF2-40B4-BE49-F238E27FC236}">
                    <a16:creationId xmlns:a16="http://schemas.microsoft.com/office/drawing/2014/main" xmlns="" id="{6F4710A1-A08D-D880-2FE0-E7D4AF6B5345}"/>
                  </a:ext>
                </a:extLst>
              </p:cNvPr>
              <p:cNvSpPr txBox="1"/>
              <p:nvPr/>
            </p:nvSpPr>
            <p:spPr>
              <a:xfrm>
                <a:off x="2079172" y="2033996"/>
                <a:ext cx="1482634" cy="442674"/>
              </a:xfrm>
              <a:prstGeom prst="roundRect">
                <a:avLst/>
              </a:prstGeom>
              <a:noFill/>
              <a:ln w="12700">
                <a:noFill/>
                <a:prstDash val="sysDash"/>
              </a:ln>
            </p:spPr>
            <p:txBody>
              <a:bodyPr wrap="square" rIns="144000" rtlCol="0">
                <a:spAutoFit/>
              </a:bodyPr>
              <a:lstStyle/>
              <a:p>
                <a:pPr algn="ctr" defTabSz="457178">
                  <a:defRPr/>
                </a:pPr>
                <a:r>
                  <a:rPr lang="ru" sz="2000" b="1">
                    <a:solidFill>
                      <a:srgbClr val="68D2DF">
                        <a:lumMod val="50000"/>
                      </a:srgbClr>
                    </a:solidFill>
                    <a:latin typeface="Arial"/>
                  </a:rPr>
                  <a:t>6–35 %</a:t>
                </a:r>
                <a:endParaRPr lang="en-US" sz="2000" b="1" baseline="30000" dirty="0">
                  <a:solidFill>
                    <a:srgbClr val="68D2DF">
                      <a:lumMod val="50000"/>
                    </a:srgbClr>
                  </a:solidFill>
                  <a:latin typeface="Arial"/>
                </a:endParaRPr>
              </a:p>
            </p:txBody>
          </p:sp>
          <p:sp>
            <p:nvSpPr>
              <p:cNvPr id="93" name="TextBox 92">
                <a:extLst>
                  <a:ext uri="{FF2B5EF4-FFF2-40B4-BE49-F238E27FC236}">
                    <a16:creationId xmlns:a16="http://schemas.microsoft.com/office/drawing/2014/main" xmlns="" id="{52165DE8-DB18-0C6A-286B-2BE47112DE54}"/>
                  </a:ext>
                </a:extLst>
              </p:cNvPr>
              <p:cNvSpPr txBox="1"/>
              <p:nvPr/>
            </p:nvSpPr>
            <p:spPr>
              <a:xfrm>
                <a:off x="3135083" y="2063931"/>
                <a:ext cx="415498" cy="276999"/>
              </a:xfrm>
              <a:prstGeom prst="rect">
                <a:avLst/>
              </a:prstGeom>
              <a:noFill/>
              <a:ln>
                <a:noFill/>
              </a:ln>
            </p:spPr>
            <p:txBody>
              <a:bodyPr wrap="none" rtlCol="0">
                <a:spAutoFit/>
              </a:bodyPr>
              <a:lstStyle/>
              <a:p>
                <a:pPr defTabSz="457189">
                  <a:defRPr/>
                </a:pPr>
                <a:r>
                  <a:rPr lang="ru" sz="1200" b="1" baseline="30000" dirty="0">
                    <a:solidFill>
                      <a:srgbClr val="68D2DF">
                        <a:lumMod val="50000"/>
                      </a:srgbClr>
                    </a:solidFill>
                    <a:latin typeface="Arial"/>
                  </a:rPr>
                  <a:t>3,4,6</a:t>
                </a:r>
                <a:endParaRPr lang="en-GB" sz="1200" b="1" dirty="0">
                  <a:solidFill>
                    <a:srgbClr val="000000"/>
                  </a:solidFill>
                  <a:latin typeface="Arial"/>
                </a:endParaRPr>
              </a:p>
            </p:txBody>
          </p:sp>
        </p:grpSp>
        <p:grpSp>
          <p:nvGrpSpPr>
            <p:cNvPr id="94" name="Group 77">
              <a:extLst>
                <a:ext uri="{FF2B5EF4-FFF2-40B4-BE49-F238E27FC236}">
                  <a16:creationId xmlns:a16="http://schemas.microsoft.com/office/drawing/2014/main" xmlns="" id="{0062ABB5-2B97-F559-FC5D-55492996EEDD}"/>
                </a:ext>
              </a:extLst>
            </p:cNvPr>
            <p:cNvGrpSpPr/>
            <p:nvPr/>
          </p:nvGrpSpPr>
          <p:grpSpPr>
            <a:xfrm>
              <a:off x="4184786" y="2862037"/>
              <a:ext cx="1262744" cy="442674"/>
              <a:chOff x="2151017" y="2846070"/>
              <a:chExt cx="1262743" cy="442674"/>
            </a:xfrm>
          </p:grpSpPr>
          <p:sp>
            <p:nvSpPr>
              <p:cNvPr id="95" name="TextBox 94">
                <a:extLst>
                  <a:ext uri="{FF2B5EF4-FFF2-40B4-BE49-F238E27FC236}">
                    <a16:creationId xmlns:a16="http://schemas.microsoft.com/office/drawing/2014/main" xmlns="" id="{17770E15-F323-9E81-4CC7-19DBAB99E48C}"/>
                  </a:ext>
                </a:extLst>
              </p:cNvPr>
              <p:cNvSpPr txBox="1"/>
              <p:nvPr/>
            </p:nvSpPr>
            <p:spPr>
              <a:xfrm>
                <a:off x="2151017" y="2846070"/>
                <a:ext cx="1262743" cy="442674"/>
              </a:xfrm>
              <a:prstGeom prst="roundRect">
                <a:avLst/>
              </a:prstGeom>
              <a:noFill/>
              <a:ln>
                <a:noFill/>
                <a:prstDash val="sysDash"/>
              </a:ln>
            </p:spPr>
            <p:txBody>
              <a:bodyPr wrap="square" rtlCol="0">
                <a:spAutoFit/>
              </a:bodyPr>
              <a:lstStyle/>
              <a:p>
                <a:pPr algn="ctr" defTabSz="457189">
                  <a:defRPr/>
                </a:pPr>
                <a:r>
                  <a:rPr lang="ru" sz="2000" b="1" dirty="0">
                    <a:solidFill>
                      <a:srgbClr val="41C5D7"/>
                    </a:solidFill>
                    <a:latin typeface="Arial"/>
                  </a:rPr>
                  <a:t>12–20 %</a:t>
                </a:r>
                <a:endParaRPr lang="en-GB" sz="2000" b="1" baseline="30000" dirty="0">
                  <a:solidFill>
                    <a:srgbClr val="41C5D7"/>
                  </a:solidFill>
                  <a:latin typeface="Arial"/>
                </a:endParaRPr>
              </a:p>
            </p:txBody>
          </p:sp>
          <p:sp>
            <p:nvSpPr>
              <p:cNvPr id="96" name="TextBox 95">
                <a:extLst>
                  <a:ext uri="{FF2B5EF4-FFF2-40B4-BE49-F238E27FC236}">
                    <a16:creationId xmlns:a16="http://schemas.microsoft.com/office/drawing/2014/main" xmlns="" id="{DE1A435E-46FD-C4DA-A3B8-6C9868840A12}"/>
                  </a:ext>
                </a:extLst>
              </p:cNvPr>
              <p:cNvSpPr txBox="1"/>
              <p:nvPr/>
            </p:nvSpPr>
            <p:spPr>
              <a:xfrm>
                <a:off x="3154680" y="2861598"/>
                <a:ext cx="242374" cy="276999"/>
              </a:xfrm>
              <a:prstGeom prst="rect">
                <a:avLst/>
              </a:prstGeom>
              <a:noFill/>
              <a:ln>
                <a:noFill/>
              </a:ln>
            </p:spPr>
            <p:txBody>
              <a:bodyPr wrap="none" rtlCol="0">
                <a:spAutoFit/>
              </a:bodyPr>
              <a:lstStyle/>
              <a:p>
                <a:pPr defTabSz="457189">
                  <a:defRPr/>
                </a:pPr>
                <a:r>
                  <a:rPr lang="ru" sz="1200" b="1" baseline="30000" dirty="0">
                    <a:solidFill>
                      <a:srgbClr val="41C5D7"/>
                    </a:solidFill>
                    <a:latin typeface="Arial"/>
                  </a:rPr>
                  <a:t>7</a:t>
                </a:r>
                <a:endParaRPr lang="en-GB" sz="1200" b="1" dirty="0">
                  <a:solidFill>
                    <a:srgbClr val="41C5D7"/>
                  </a:solidFill>
                  <a:latin typeface="Arial"/>
                </a:endParaRPr>
              </a:p>
            </p:txBody>
          </p:sp>
        </p:grpSp>
        <p:sp>
          <p:nvSpPr>
            <p:cNvPr id="97" name="TextBox 96">
              <a:extLst>
                <a:ext uri="{FF2B5EF4-FFF2-40B4-BE49-F238E27FC236}">
                  <a16:creationId xmlns:a16="http://schemas.microsoft.com/office/drawing/2014/main" xmlns="" id="{11012F1B-8C91-D556-2451-0999AF9E6B4E}"/>
                </a:ext>
              </a:extLst>
            </p:cNvPr>
            <p:cNvSpPr txBox="1"/>
            <p:nvPr/>
          </p:nvSpPr>
          <p:spPr>
            <a:xfrm>
              <a:off x="4176077" y="3421262"/>
              <a:ext cx="1271451" cy="442674"/>
            </a:xfrm>
            <a:prstGeom prst="roundRect">
              <a:avLst/>
            </a:prstGeom>
            <a:noFill/>
            <a:ln>
              <a:noFill/>
              <a:prstDash val="sysDash"/>
            </a:ln>
          </p:spPr>
          <p:txBody>
            <a:bodyPr wrap="square" lIns="91440" tIns="45720" rIns="91440" bIns="45720" rtlCol="0" anchor="t">
              <a:spAutoFit/>
            </a:bodyPr>
            <a:lstStyle/>
            <a:p>
              <a:pPr algn="ctr" defTabSz="457178">
                <a:defRPr/>
              </a:pPr>
              <a:r>
                <a:rPr lang="ru" sz="2000" b="1" dirty="0">
                  <a:solidFill>
                    <a:srgbClr val="003865">
                      <a:lumMod val="90000"/>
                      <a:lumOff val="10000"/>
                    </a:srgbClr>
                  </a:solidFill>
                  <a:latin typeface="Arial"/>
                </a:rPr>
                <a:t>4 %</a:t>
              </a:r>
              <a:endParaRPr lang="en-GB" sz="2000" b="1" baseline="30000" dirty="0">
                <a:solidFill>
                  <a:srgbClr val="003865">
                    <a:lumMod val="90000"/>
                    <a:lumOff val="10000"/>
                  </a:srgbClr>
                </a:solidFill>
                <a:latin typeface="Arial"/>
              </a:endParaRPr>
            </a:p>
          </p:txBody>
        </p:sp>
        <p:sp>
          <p:nvSpPr>
            <p:cNvPr id="98" name="TextBox 97">
              <a:extLst>
                <a:ext uri="{FF2B5EF4-FFF2-40B4-BE49-F238E27FC236}">
                  <a16:creationId xmlns:a16="http://schemas.microsoft.com/office/drawing/2014/main" xmlns="" id="{58EFD796-A091-B1A7-FC07-536D03F6D61C}"/>
                </a:ext>
              </a:extLst>
            </p:cNvPr>
            <p:cNvSpPr txBox="1"/>
            <p:nvPr/>
          </p:nvSpPr>
          <p:spPr>
            <a:xfrm>
              <a:off x="4905464" y="3442998"/>
              <a:ext cx="418011" cy="276999"/>
            </a:xfrm>
            <a:prstGeom prst="rect">
              <a:avLst/>
            </a:prstGeom>
            <a:noFill/>
            <a:ln>
              <a:noFill/>
            </a:ln>
          </p:spPr>
          <p:txBody>
            <a:bodyPr wrap="square" rtlCol="0">
              <a:spAutoFit/>
            </a:bodyPr>
            <a:lstStyle/>
            <a:p>
              <a:pPr defTabSz="457189">
                <a:defRPr/>
              </a:pPr>
              <a:r>
                <a:rPr lang="ru" sz="1200" b="1" baseline="30000" dirty="0">
                  <a:solidFill>
                    <a:srgbClr val="003865"/>
                  </a:solidFill>
                  <a:latin typeface="Arial"/>
                </a:rPr>
                <a:t>10</a:t>
              </a:r>
              <a:endParaRPr lang="en-GB" sz="1200" b="1" dirty="0">
                <a:solidFill>
                  <a:srgbClr val="003865"/>
                </a:solidFill>
                <a:latin typeface="Arial"/>
              </a:endParaRPr>
            </a:p>
          </p:txBody>
        </p:sp>
        <p:grpSp>
          <p:nvGrpSpPr>
            <p:cNvPr id="99" name="Group 83">
              <a:extLst>
                <a:ext uri="{FF2B5EF4-FFF2-40B4-BE49-F238E27FC236}">
                  <a16:creationId xmlns:a16="http://schemas.microsoft.com/office/drawing/2014/main" xmlns="" id="{20C9E490-53BF-24BB-2003-7E61B8EB998F}"/>
                </a:ext>
              </a:extLst>
            </p:cNvPr>
            <p:cNvGrpSpPr/>
            <p:nvPr/>
          </p:nvGrpSpPr>
          <p:grpSpPr>
            <a:xfrm>
              <a:off x="4053754" y="1667463"/>
              <a:ext cx="1550930" cy="412496"/>
              <a:chOff x="2019986" y="1320571"/>
              <a:chExt cx="1550930" cy="412496"/>
            </a:xfrm>
          </p:grpSpPr>
          <p:sp>
            <p:nvSpPr>
              <p:cNvPr id="100" name="TextBox 99">
                <a:extLst>
                  <a:ext uri="{FF2B5EF4-FFF2-40B4-BE49-F238E27FC236}">
                    <a16:creationId xmlns:a16="http://schemas.microsoft.com/office/drawing/2014/main" xmlns="" id="{AEF23067-BAA3-6AB8-2A68-BD5D14E5CB47}"/>
                  </a:ext>
                </a:extLst>
              </p:cNvPr>
              <p:cNvSpPr txBox="1"/>
              <p:nvPr/>
            </p:nvSpPr>
            <p:spPr>
              <a:xfrm>
                <a:off x="2019986" y="1332957"/>
                <a:ext cx="1550930" cy="400110"/>
              </a:xfrm>
              <a:prstGeom prst="rect">
                <a:avLst/>
              </a:prstGeom>
              <a:noFill/>
              <a:ln>
                <a:noFill/>
              </a:ln>
            </p:spPr>
            <p:txBody>
              <a:bodyPr wrap="square" rtlCol="0">
                <a:spAutoFit/>
              </a:bodyPr>
              <a:lstStyle/>
              <a:p>
                <a:pPr algn="ctr" defTabSz="457189">
                  <a:defRPr/>
                </a:pPr>
                <a:r>
                  <a:rPr lang="en-GB" sz="2000" b="1" dirty="0">
                    <a:solidFill>
                      <a:srgbClr val="C4D600"/>
                    </a:solidFill>
                    <a:latin typeface="Arial"/>
                  </a:rPr>
                  <a:t>~</a:t>
                </a:r>
                <a:r>
                  <a:rPr lang="ru" sz="2000" b="1" dirty="0">
                    <a:solidFill>
                      <a:srgbClr val="C4D600"/>
                    </a:solidFill>
                    <a:latin typeface="Arial"/>
                  </a:rPr>
                  <a:t>15 %</a:t>
                </a:r>
                <a:endParaRPr lang="en-GB" sz="2000" b="1" baseline="30000" dirty="0">
                  <a:solidFill>
                    <a:srgbClr val="C4D600"/>
                  </a:solidFill>
                  <a:latin typeface="Arial"/>
                </a:endParaRPr>
              </a:p>
            </p:txBody>
          </p:sp>
          <p:sp>
            <p:nvSpPr>
              <p:cNvPr id="101" name="TextBox 100">
                <a:extLst>
                  <a:ext uri="{FF2B5EF4-FFF2-40B4-BE49-F238E27FC236}">
                    <a16:creationId xmlns:a16="http://schemas.microsoft.com/office/drawing/2014/main" xmlns="" id="{6FB8672E-8690-A32A-5073-6D2D5E1DA783}"/>
                  </a:ext>
                </a:extLst>
              </p:cNvPr>
              <p:cNvSpPr txBox="1"/>
              <p:nvPr/>
            </p:nvSpPr>
            <p:spPr>
              <a:xfrm>
                <a:off x="3041651" y="1320571"/>
                <a:ext cx="304800" cy="276999"/>
              </a:xfrm>
              <a:prstGeom prst="rect">
                <a:avLst/>
              </a:prstGeom>
              <a:noFill/>
              <a:ln>
                <a:noFill/>
              </a:ln>
            </p:spPr>
            <p:txBody>
              <a:bodyPr wrap="square" rtlCol="0">
                <a:spAutoFit/>
              </a:bodyPr>
              <a:lstStyle/>
              <a:p>
                <a:pPr defTabSz="457189">
                  <a:defRPr/>
                </a:pPr>
                <a:r>
                  <a:rPr lang="ru" sz="1200" b="1" baseline="30000" dirty="0">
                    <a:solidFill>
                      <a:srgbClr val="C4D600"/>
                    </a:solidFill>
                    <a:latin typeface="Arial"/>
                  </a:rPr>
                  <a:t>2</a:t>
                </a:r>
                <a:endParaRPr lang="en-GB" sz="1200" b="1" dirty="0">
                  <a:solidFill>
                    <a:srgbClr val="C4D600"/>
                  </a:solidFill>
                  <a:latin typeface="Arial"/>
                </a:endParaRPr>
              </a:p>
            </p:txBody>
          </p:sp>
        </p:grpSp>
        <p:sp>
          <p:nvSpPr>
            <p:cNvPr id="102" name="TextBox 101">
              <a:extLst>
                <a:ext uri="{FF2B5EF4-FFF2-40B4-BE49-F238E27FC236}">
                  <a16:creationId xmlns:a16="http://schemas.microsoft.com/office/drawing/2014/main" xmlns="" id="{628A0F58-AFB6-DBFD-C858-071BBE0B23D5}"/>
                </a:ext>
              </a:extLst>
            </p:cNvPr>
            <p:cNvSpPr txBox="1"/>
            <p:nvPr/>
          </p:nvSpPr>
          <p:spPr>
            <a:xfrm>
              <a:off x="5975465" y="1217749"/>
              <a:ext cx="1543976" cy="272415"/>
            </a:xfrm>
            <a:prstGeom prst="roundRect">
              <a:avLst/>
            </a:prstGeom>
            <a:noFill/>
            <a:ln>
              <a:noFill/>
              <a:prstDash val="sysDash"/>
            </a:ln>
          </p:spPr>
          <p:txBody>
            <a:bodyPr wrap="square" rtlCol="0">
              <a:spAutoFit/>
            </a:bodyPr>
            <a:lstStyle/>
            <a:p>
              <a:pPr algn="ctr" defTabSz="457189">
                <a:defRPr/>
              </a:pPr>
              <a:r>
                <a:rPr lang="ru" sz="1000" b="1">
                  <a:solidFill>
                    <a:srgbClr val="B6B8BB">
                      <a:lumMod val="50000"/>
                    </a:srgbClr>
                  </a:solidFill>
                  <a:latin typeface="Arial"/>
                </a:rPr>
                <a:t>Мутации гена </a:t>
              </a:r>
              <a:r>
                <a:rPr lang="en" sz="1000" b="1" i="1">
                  <a:solidFill>
                    <a:srgbClr val="B6B8BB">
                      <a:lumMod val="50000"/>
                    </a:srgbClr>
                  </a:solidFill>
                  <a:latin typeface="Arial"/>
                </a:rPr>
                <a:t>HER2</a:t>
              </a:r>
            </a:p>
          </p:txBody>
        </p:sp>
        <p:sp>
          <p:nvSpPr>
            <p:cNvPr id="103" name="Rounded Rectangle 93">
              <a:extLst>
                <a:ext uri="{FF2B5EF4-FFF2-40B4-BE49-F238E27FC236}">
                  <a16:creationId xmlns:a16="http://schemas.microsoft.com/office/drawing/2014/main" xmlns="" id="{3E3FF310-27C5-524B-3228-C4416B97F89F}"/>
                </a:ext>
              </a:extLst>
            </p:cNvPr>
            <p:cNvSpPr/>
            <p:nvPr/>
          </p:nvSpPr>
          <p:spPr>
            <a:xfrm>
              <a:off x="6036808" y="1670595"/>
              <a:ext cx="1254034" cy="400594"/>
            </a:xfrm>
            <a:prstGeom prst="roundRect">
              <a:avLst/>
            </a:prstGeom>
            <a:noFill/>
            <a:ln>
              <a:no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GB" b="1" dirty="0">
                <a:solidFill>
                  <a:srgbClr val="FFFFFF"/>
                </a:solidFill>
                <a:latin typeface="Arial"/>
              </a:endParaRPr>
            </a:p>
          </p:txBody>
        </p:sp>
        <p:grpSp>
          <p:nvGrpSpPr>
            <p:cNvPr id="104" name="Group 94">
              <a:extLst>
                <a:ext uri="{FF2B5EF4-FFF2-40B4-BE49-F238E27FC236}">
                  <a16:creationId xmlns:a16="http://schemas.microsoft.com/office/drawing/2014/main" xmlns="" id="{0A3EA429-474B-180C-3C1F-5680BCD9A149}"/>
                </a:ext>
              </a:extLst>
            </p:cNvPr>
            <p:cNvGrpSpPr/>
            <p:nvPr/>
          </p:nvGrpSpPr>
          <p:grpSpPr>
            <a:xfrm>
              <a:off x="5967140" y="2232844"/>
              <a:ext cx="1532708" cy="442674"/>
              <a:chOff x="2029098" y="2033996"/>
              <a:chExt cx="1532708" cy="442674"/>
            </a:xfrm>
          </p:grpSpPr>
          <p:sp>
            <p:nvSpPr>
              <p:cNvPr id="105" name="TextBox 104">
                <a:extLst>
                  <a:ext uri="{FF2B5EF4-FFF2-40B4-BE49-F238E27FC236}">
                    <a16:creationId xmlns:a16="http://schemas.microsoft.com/office/drawing/2014/main" xmlns="" id="{DA016730-CE77-BEF8-26E9-1B175A22795D}"/>
                  </a:ext>
                </a:extLst>
              </p:cNvPr>
              <p:cNvSpPr txBox="1"/>
              <p:nvPr/>
            </p:nvSpPr>
            <p:spPr>
              <a:xfrm>
                <a:off x="2029098" y="2033996"/>
                <a:ext cx="1532708" cy="442674"/>
              </a:xfrm>
              <a:prstGeom prst="roundRect">
                <a:avLst/>
              </a:prstGeom>
              <a:noFill/>
              <a:ln w="12700">
                <a:noFill/>
                <a:prstDash val="sysDash"/>
              </a:ln>
            </p:spPr>
            <p:txBody>
              <a:bodyPr wrap="square" rIns="144000" rtlCol="0">
                <a:spAutoFit/>
              </a:bodyPr>
              <a:lstStyle/>
              <a:p>
                <a:pPr algn="ctr" defTabSz="457178">
                  <a:defRPr/>
                </a:pPr>
                <a:r>
                  <a:rPr lang="ru" sz="2000" b="1" dirty="0">
                    <a:solidFill>
                      <a:srgbClr val="68D2DF">
                        <a:lumMod val="50000"/>
                      </a:srgbClr>
                    </a:solidFill>
                    <a:latin typeface="Arial"/>
                  </a:rPr>
                  <a:t>2–4 %</a:t>
                </a:r>
                <a:endParaRPr lang="en-US" sz="2000" b="1" baseline="30000" dirty="0">
                  <a:solidFill>
                    <a:srgbClr val="68D2DF">
                      <a:lumMod val="50000"/>
                    </a:srgbClr>
                  </a:solidFill>
                  <a:latin typeface="Arial"/>
                </a:endParaRPr>
              </a:p>
            </p:txBody>
          </p:sp>
          <p:sp>
            <p:nvSpPr>
              <p:cNvPr id="106" name="TextBox 105">
                <a:extLst>
                  <a:ext uri="{FF2B5EF4-FFF2-40B4-BE49-F238E27FC236}">
                    <a16:creationId xmlns:a16="http://schemas.microsoft.com/office/drawing/2014/main" xmlns="" id="{539AE60C-F936-AF11-5DAE-E02ECFC1DE67}"/>
                  </a:ext>
                </a:extLst>
              </p:cNvPr>
              <p:cNvSpPr txBox="1"/>
              <p:nvPr/>
            </p:nvSpPr>
            <p:spPr>
              <a:xfrm>
                <a:off x="3065414" y="2063931"/>
                <a:ext cx="357790" cy="276999"/>
              </a:xfrm>
              <a:prstGeom prst="rect">
                <a:avLst/>
              </a:prstGeom>
              <a:noFill/>
              <a:ln>
                <a:noFill/>
              </a:ln>
            </p:spPr>
            <p:txBody>
              <a:bodyPr wrap="none" rtlCol="0">
                <a:spAutoFit/>
              </a:bodyPr>
              <a:lstStyle/>
              <a:p>
                <a:pPr defTabSz="457189">
                  <a:defRPr/>
                </a:pPr>
                <a:r>
                  <a:rPr lang="ru" sz="1200" b="1" baseline="30000" dirty="0">
                    <a:solidFill>
                      <a:srgbClr val="68D2DF">
                        <a:lumMod val="50000"/>
                      </a:srgbClr>
                    </a:solidFill>
                    <a:latin typeface="Arial"/>
                  </a:rPr>
                  <a:t>3–5</a:t>
                </a:r>
                <a:endParaRPr lang="en-GB" sz="1200" b="1" dirty="0">
                  <a:solidFill>
                    <a:srgbClr val="000000"/>
                  </a:solidFill>
                  <a:latin typeface="Arial"/>
                </a:endParaRPr>
              </a:p>
            </p:txBody>
          </p:sp>
        </p:grpSp>
        <p:grpSp>
          <p:nvGrpSpPr>
            <p:cNvPr id="107" name="Group 97">
              <a:extLst>
                <a:ext uri="{FF2B5EF4-FFF2-40B4-BE49-F238E27FC236}">
                  <a16:creationId xmlns:a16="http://schemas.microsoft.com/office/drawing/2014/main" xmlns="" id="{B58D9079-6548-F821-09B0-185170126F62}"/>
                </a:ext>
              </a:extLst>
            </p:cNvPr>
            <p:cNvGrpSpPr/>
            <p:nvPr/>
          </p:nvGrpSpPr>
          <p:grpSpPr>
            <a:xfrm>
              <a:off x="6089060" y="2862040"/>
              <a:ext cx="1262743" cy="442674"/>
              <a:chOff x="2151017" y="2846070"/>
              <a:chExt cx="1262743" cy="442674"/>
            </a:xfrm>
          </p:grpSpPr>
          <p:sp>
            <p:nvSpPr>
              <p:cNvPr id="108" name="TextBox 107">
                <a:extLst>
                  <a:ext uri="{FF2B5EF4-FFF2-40B4-BE49-F238E27FC236}">
                    <a16:creationId xmlns:a16="http://schemas.microsoft.com/office/drawing/2014/main" xmlns="" id="{631E08E8-CCBD-7B60-DA10-AF2EDA8BB2CF}"/>
                  </a:ext>
                </a:extLst>
              </p:cNvPr>
              <p:cNvSpPr txBox="1"/>
              <p:nvPr/>
            </p:nvSpPr>
            <p:spPr>
              <a:xfrm>
                <a:off x="2151017" y="2846070"/>
                <a:ext cx="1262743" cy="442674"/>
              </a:xfrm>
              <a:prstGeom prst="roundRect">
                <a:avLst/>
              </a:prstGeom>
              <a:noFill/>
              <a:ln>
                <a:noFill/>
                <a:prstDash val="sysDash"/>
              </a:ln>
            </p:spPr>
            <p:txBody>
              <a:bodyPr wrap="square" rtlCol="0">
                <a:spAutoFit/>
              </a:bodyPr>
              <a:lstStyle/>
              <a:p>
                <a:pPr algn="ctr" defTabSz="457189">
                  <a:defRPr/>
                </a:pPr>
                <a:r>
                  <a:rPr lang="ru" sz="2000" b="1" dirty="0">
                    <a:solidFill>
                      <a:srgbClr val="41C5D7"/>
                    </a:solidFill>
                    <a:latin typeface="Arial"/>
                  </a:rPr>
                  <a:t>5 %</a:t>
                </a:r>
                <a:endParaRPr lang="en-GB" sz="2000" b="1" baseline="30000" dirty="0">
                  <a:solidFill>
                    <a:srgbClr val="41C5D7"/>
                  </a:solidFill>
                  <a:latin typeface="Arial"/>
                </a:endParaRPr>
              </a:p>
            </p:txBody>
          </p:sp>
          <p:sp>
            <p:nvSpPr>
              <p:cNvPr id="109" name="TextBox 108">
                <a:extLst>
                  <a:ext uri="{FF2B5EF4-FFF2-40B4-BE49-F238E27FC236}">
                    <a16:creationId xmlns:a16="http://schemas.microsoft.com/office/drawing/2014/main" xmlns="" id="{CBEE54CF-2659-64D2-D735-114347DD239C}"/>
                  </a:ext>
                </a:extLst>
              </p:cNvPr>
              <p:cNvSpPr txBox="1"/>
              <p:nvPr/>
            </p:nvSpPr>
            <p:spPr>
              <a:xfrm>
                <a:off x="2897775" y="2852724"/>
                <a:ext cx="242374" cy="276999"/>
              </a:xfrm>
              <a:prstGeom prst="rect">
                <a:avLst/>
              </a:prstGeom>
              <a:noFill/>
              <a:ln>
                <a:noFill/>
              </a:ln>
            </p:spPr>
            <p:txBody>
              <a:bodyPr wrap="none" rtlCol="0">
                <a:spAutoFit/>
              </a:bodyPr>
              <a:lstStyle/>
              <a:p>
                <a:pPr defTabSz="457189">
                  <a:defRPr/>
                </a:pPr>
                <a:r>
                  <a:rPr lang="ru" sz="1200" b="1" baseline="30000" dirty="0">
                    <a:solidFill>
                      <a:srgbClr val="41C5D7"/>
                    </a:solidFill>
                    <a:latin typeface="Arial"/>
                  </a:rPr>
                  <a:t>8</a:t>
                </a:r>
                <a:endParaRPr lang="en-GB" sz="1200" b="1" dirty="0">
                  <a:solidFill>
                    <a:srgbClr val="41C5D7"/>
                  </a:solidFill>
                  <a:latin typeface="Arial"/>
                </a:endParaRPr>
              </a:p>
            </p:txBody>
          </p:sp>
        </p:grpSp>
        <p:grpSp>
          <p:nvGrpSpPr>
            <p:cNvPr id="110" name="Group 100">
              <a:extLst>
                <a:ext uri="{FF2B5EF4-FFF2-40B4-BE49-F238E27FC236}">
                  <a16:creationId xmlns:a16="http://schemas.microsoft.com/office/drawing/2014/main" xmlns="" id="{1877FA02-7996-2FDA-DD2B-478EB02E3023}"/>
                </a:ext>
              </a:extLst>
            </p:cNvPr>
            <p:cNvGrpSpPr/>
            <p:nvPr/>
          </p:nvGrpSpPr>
          <p:grpSpPr>
            <a:xfrm>
              <a:off x="6080351" y="3421267"/>
              <a:ext cx="1271451" cy="442674"/>
              <a:chOff x="2142309" y="3579468"/>
              <a:chExt cx="1271451" cy="442674"/>
            </a:xfrm>
          </p:grpSpPr>
          <p:sp>
            <p:nvSpPr>
              <p:cNvPr id="111" name="TextBox 110">
                <a:extLst>
                  <a:ext uri="{FF2B5EF4-FFF2-40B4-BE49-F238E27FC236}">
                    <a16:creationId xmlns:a16="http://schemas.microsoft.com/office/drawing/2014/main" xmlns="" id="{64DEE3CC-A338-32D6-0E00-4FD5F8F2DCEE}"/>
                  </a:ext>
                </a:extLst>
              </p:cNvPr>
              <p:cNvSpPr txBox="1"/>
              <p:nvPr/>
            </p:nvSpPr>
            <p:spPr>
              <a:xfrm>
                <a:off x="2142309" y="3579468"/>
                <a:ext cx="1271451" cy="442674"/>
              </a:xfrm>
              <a:prstGeom prst="roundRect">
                <a:avLst/>
              </a:prstGeom>
              <a:noFill/>
              <a:ln>
                <a:noFill/>
                <a:prstDash val="sysDash"/>
              </a:ln>
            </p:spPr>
            <p:txBody>
              <a:bodyPr wrap="square" rtlCol="0">
                <a:spAutoFit/>
              </a:bodyPr>
              <a:lstStyle/>
              <a:p>
                <a:pPr algn="ctr" defTabSz="457178">
                  <a:defRPr/>
                </a:pPr>
                <a:r>
                  <a:rPr lang="ru" sz="2000" b="1" dirty="0">
                    <a:solidFill>
                      <a:srgbClr val="003865">
                        <a:lumMod val="90000"/>
                        <a:lumOff val="10000"/>
                      </a:srgbClr>
                    </a:solidFill>
                    <a:latin typeface="Arial"/>
                  </a:rPr>
                  <a:t>~2 %</a:t>
                </a:r>
                <a:endParaRPr lang="en-GB" sz="2000" b="1" baseline="30000" dirty="0">
                  <a:solidFill>
                    <a:srgbClr val="003865">
                      <a:lumMod val="90000"/>
                      <a:lumOff val="10000"/>
                    </a:srgbClr>
                  </a:solidFill>
                  <a:latin typeface="Arial"/>
                </a:endParaRPr>
              </a:p>
            </p:txBody>
          </p:sp>
          <p:sp>
            <p:nvSpPr>
              <p:cNvPr id="112" name="TextBox 111">
                <a:extLst>
                  <a:ext uri="{FF2B5EF4-FFF2-40B4-BE49-F238E27FC236}">
                    <a16:creationId xmlns:a16="http://schemas.microsoft.com/office/drawing/2014/main" xmlns="" id="{C7C7FC31-A262-5EE8-09B8-038A8F76C8C4}"/>
                  </a:ext>
                </a:extLst>
              </p:cNvPr>
              <p:cNvSpPr txBox="1"/>
              <p:nvPr/>
            </p:nvSpPr>
            <p:spPr>
              <a:xfrm>
                <a:off x="2959724" y="3580843"/>
                <a:ext cx="418011" cy="276999"/>
              </a:xfrm>
              <a:prstGeom prst="rect">
                <a:avLst/>
              </a:prstGeom>
              <a:noFill/>
              <a:ln>
                <a:noFill/>
              </a:ln>
            </p:spPr>
            <p:txBody>
              <a:bodyPr wrap="square" rtlCol="0">
                <a:spAutoFit/>
              </a:bodyPr>
              <a:lstStyle/>
              <a:p>
                <a:pPr defTabSz="457189">
                  <a:defRPr/>
                </a:pPr>
                <a:r>
                  <a:rPr lang="ru" sz="1200" b="1" baseline="30000" dirty="0">
                    <a:solidFill>
                      <a:srgbClr val="003865"/>
                    </a:solidFill>
                    <a:latin typeface="Arial"/>
                  </a:rPr>
                  <a:t>11</a:t>
                </a:r>
                <a:endParaRPr lang="en-GB" sz="1200" b="1" dirty="0">
                  <a:solidFill>
                    <a:srgbClr val="003865"/>
                  </a:solidFill>
                  <a:latin typeface="Arial"/>
                </a:endParaRPr>
              </a:p>
            </p:txBody>
          </p:sp>
        </p:grpSp>
        <p:grpSp>
          <p:nvGrpSpPr>
            <p:cNvPr id="113" name="Group 103">
              <a:extLst>
                <a:ext uri="{FF2B5EF4-FFF2-40B4-BE49-F238E27FC236}">
                  <a16:creationId xmlns:a16="http://schemas.microsoft.com/office/drawing/2014/main" xmlns="" id="{5354C7BF-DC7A-31AA-3DF9-B9C5B1E04C35}"/>
                </a:ext>
              </a:extLst>
            </p:cNvPr>
            <p:cNvGrpSpPr/>
            <p:nvPr/>
          </p:nvGrpSpPr>
          <p:grpSpPr>
            <a:xfrm>
              <a:off x="5958028" y="1651042"/>
              <a:ext cx="1550930" cy="428916"/>
              <a:chOff x="2019986" y="1304151"/>
              <a:chExt cx="1550930" cy="428915"/>
            </a:xfrm>
          </p:grpSpPr>
          <p:sp>
            <p:nvSpPr>
              <p:cNvPr id="114" name="TextBox 113">
                <a:extLst>
                  <a:ext uri="{FF2B5EF4-FFF2-40B4-BE49-F238E27FC236}">
                    <a16:creationId xmlns:a16="http://schemas.microsoft.com/office/drawing/2014/main" xmlns="" id="{6FBFEA07-0AC3-0E52-A194-14C7539BECBB}"/>
                  </a:ext>
                </a:extLst>
              </p:cNvPr>
              <p:cNvSpPr txBox="1"/>
              <p:nvPr/>
            </p:nvSpPr>
            <p:spPr>
              <a:xfrm>
                <a:off x="2019986" y="1332957"/>
                <a:ext cx="1550930" cy="400109"/>
              </a:xfrm>
              <a:prstGeom prst="rect">
                <a:avLst/>
              </a:prstGeom>
              <a:noFill/>
              <a:ln>
                <a:noFill/>
              </a:ln>
            </p:spPr>
            <p:txBody>
              <a:bodyPr wrap="square" rtlCol="0">
                <a:spAutoFit/>
              </a:bodyPr>
              <a:lstStyle/>
              <a:p>
                <a:pPr algn="ctr" defTabSz="457189">
                  <a:defRPr/>
                </a:pPr>
                <a:r>
                  <a:rPr lang="ru" sz="2000" b="1">
                    <a:solidFill>
                      <a:srgbClr val="C4D600"/>
                    </a:solidFill>
                    <a:latin typeface="Arial"/>
                  </a:rPr>
                  <a:t>~2 %</a:t>
                </a:r>
                <a:endParaRPr lang="en-GB" sz="2000" b="1" baseline="30000" dirty="0">
                  <a:solidFill>
                    <a:srgbClr val="C4D600"/>
                  </a:solidFill>
                  <a:latin typeface="Arial"/>
                </a:endParaRPr>
              </a:p>
            </p:txBody>
          </p:sp>
          <p:sp>
            <p:nvSpPr>
              <p:cNvPr id="115" name="TextBox 114">
                <a:extLst>
                  <a:ext uri="{FF2B5EF4-FFF2-40B4-BE49-F238E27FC236}">
                    <a16:creationId xmlns:a16="http://schemas.microsoft.com/office/drawing/2014/main" xmlns="" id="{5C56165D-0670-81AC-724D-E635EF9DACA2}"/>
                  </a:ext>
                </a:extLst>
              </p:cNvPr>
              <p:cNvSpPr txBox="1"/>
              <p:nvPr/>
            </p:nvSpPr>
            <p:spPr>
              <a:xfrm>
                <a:off x="2991576" y="1304151"/>
                <a:ext cx="304800" cy="276998"/>
              </a:xfrm>
              <a:prstGeom prst="rect">
                <a:avLst/>
              </a:prstGeom>
              <a:noFill/>
              <a:ln>
                <a:noFill/>
              </a:ln>
            </p:spPr>
            <p:txBody>
              <a:bodyPr wrap="square" rtlCol="0">
                <a:spAutoFit/>
              </a:bodyPr>
              <a:lstStyle/>
              <a:p>
                <a:pPr defTabSz="457189">
                  <a:defRPr/>
                </a:pPr>
                <a:r>
                  <a:rPr lang="ru" sz="1200" b="1" baseline="30000" dirty="0">
                    <a:solidFill>
                      <a:srgbClr val="C4D600"/>
                    </a:solidFill>
                    <a:latin typeface="Arial"/>
                  </a:rPr>
                  <a:t>2</a:t>
                </a:r>
                <a:endParaRPr lang="en-GB" sz="1200" b="1" dirty="0">
                  <a:solidFill>
                    <a:srgbClr val="C4D600"/>
                  </a:solidFill>
                  <a:latin typeface="Arial"/>
                </a:endParaRPr>
              </a:p>
            </p:txBody>
          </p:sp>
        </p:grpSp>
        <p:cxnSp>
          <p:nvCxnSpPr>
            <p:cNvPr id="116" name="Straight Connector 112">
              <a:extLst>
                <a:ext uri="{FF2B5EF4-FFF2-40B4-BE49-F238E27FC236}">
                  <a16:creationId xmlns:a16="http://schemas.microsoft.com/office/drawing/2014/main" xmlns="" id="{CE43021C-60EC-799A-BC92-6B7920AB13C8}"/>
                </a:ext>
              </a:extLst>
            </p:cNvPr>
            <p:cNvCxnSpPr>
              <a:cxnSpLocks/>
            </p:cNvCxnSpPr>
            <p:nvPr/>
          </p:nvCxnSpPr>
          <p:spPr>
            <a:xfrm>
              <a:off x="3916996" y="1229361"/>
              <a:ext cx="0" cy="284480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5">
              <a:extLst>
                <a:ext uri="{FF2B5EF4-FFF2-40B4-BE49-F238E27FC236}">
                  <a16:creationId xmlns:a16="http://schemas.microsoft.com/office/drawing/2014/main" xmlns="" id="{8D10A4FF-8B27-61C3-DAAD-6E019F380D35}"/>
                </a:ext>
              </a:extLst>
            </p:cNvPr>
            <p:cNvCxnSpPr>
              <a:cxnSpLocks/>
            </p:cNvCxnSpPr>
            <p:nvPr/>
          </p:nvCxnSpPr>
          <p:spPr>
            <a:xfrm>
              <a:off x="5816916" y="1229361"/>
              <a:ext cx="0" cy="284480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8" name="Straight Connector 116">
              <a:extLst>
                <a:ext uri="{FF2B5EF4-FFF2-40B4-BE49-F238E27FC236}">
                  <a16:creationId xmlns:a16="http://schemas.microsoft.com/office/drawing/2014/main" xmlns="" id="{6BA09228-37AF-0688-2741-0E844919D4B5}"/>
                </a:ext>
              </a:extLst>
            </p:cNvPr>
            <p:cNvCxnSpPr>
              <a:cxnSpLocks/>
            </p:cNvCxnSpPr>
            <p:nvPr/>
          </p:nvCxnSpPr>
          <p:spPr>
            <a:xfrm flipH="1">
              <a:off x="2362516" y="1564640"/>
              <a:ext cx="1432560" cy="0"/>
            </a:xfrm>
            <a:prstGeom prst="line">
              <a:avLst/>
            </a:prstGeom>
            <a:ln w="15875">
              <a:solidFill>
                <a:schemeClr val="tx2">
                  <a:alpha val="46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9" name="Straight Connector 119">
              <a:extLst>
                <a:ext uri="{FF2B5EF4-FFF2-40B4-BE49-F238E27FC236}">
                  <a16:creationId xmlns:a16="http://schemas.microsoft.com/office/drawing/2014/main" xmlns="" id="{E3FB19E0-6E3E-E29A-A66D-AEAD79BE4026}"/>
                </a:ext>
              </a:extLst>
            </p:cNvPr>
            <p:cNvCxnSpPr>
              <a:cxnSpLocks/>
            </p:cNvCxnSpPr>
            <p:nvPr/>
          </p:nvCxnSpPr>
          <p:spPr>
            <a:xfrm flipH="1">
              <a:off x="4064316" y="1564640"/>
              <a:ext cx="1554480" cy="0"/>
            </a:xfrm>
            <a:prstGeom prst="line">
              <a:avLst/>
            </a:prstGeom>
            <a:ln w="15875">
              <a:solidFill>
                <a:schemeClr val="tx2">
                  <a:alpha val="46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0" name="Straight Connector 120">
              <a:extLst>
                <a:ext uri="{FF2B5EF4-FFF2-40B4-BE49-F238E27FC236}">
                  <a16:creationId xmlns:a16="http://schemas.microsoft.com/office/drawing/2014/main" xmlns="" id="{F36EEF8A-0DB4-1FF1-D40D-05F667F35947}"/>
                </a:ext>
              </a:extLst>
            </p:cNvPr>
            <p:cNvCxnSpPr>
              <a:cxnSpLocks/>
            </p:cNvCxnSpPr>
            <p:nvPr/>
          </p:nvCxnSpPr>
          <p:spPr>
            <a:xfrm flipH="1">
              <a:off x="5969316" y="1564640"/>
              <a:ext cx="1554480" cy="0"/>
            </a:xfrm>
            <a:prstGeom prst="line">
              <a:avLst/>
            </a:prstGeom>
            <a:ln w="15875">
              <a:solidFill>
                <a:schemeClr val="tx2">
                  <a:alpha val="46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1" name="Straight Connector 121">
              <a:extLst>
                <a:ext uri="{FF2B5EF4-FFF2-40B4-BE49-F238E27FC236}">
                  <a16:creationId xmlns:a16="http://schemas.microsoft.com/office/drawing/2014/main" xmlns="" id="{8DC60579-3305-6396-ACA6-88E006AD6A30}"/>
                </a:ext>
              </a:extLst>
            </p:cNvPr>
            <p:cNvCxnSpPr>
              <a:cxnSpLocks/>
            </p:cNvCxnSpPr>
            <p:nvPr/>
          </p:nvCxnSpPr>
          <p:spPr>
            <a:xfrm flipH="1">
              <a:off x="343216" y="2134870"/>
              <a:ext cx="345186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2" name="Straight Connector 122">
              <a:extLst>
                <a:ext uri="{FF2B5EF4-FFF2-40B4-BE49-F238E27FC236}">
                  <a16:creationId xmlns:a16="http://schemas.microsoft.com/office/drawing/2014/main" xmlns="" id="{4B95C336-2B32-1FBF-27FD-23576F11DE1F}"/>
                </a:ext>
              </a:extLst>
            </p:cNvPr>
            <p:cNvCxnSpPr>
              <a:cxnSpLocks/>
            </p:cNvCxnSpPr>
            <p:nvPr/>
          </p:nvCxnSpPr>
          <p:spPr>
            <a:xfrm flipH="1">
              <a:off x="4064316" y="2134870"/>
              <a:ext cx="155448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3">
              <a:extLst>
                <a:ext uri="{FF2B5EF4-FFF2-40B4-BE49-F238E27FC236}">
                  <a16:creationId xmlns:a16="http://schemas.microsoft.com/office/drawing/2014/main" xmlns="" id="{DD0A51CF-79CD-926D-5F55-5CD9BABB350D}"/>
                </a:ext>
              </a:extLst>
            </p:cNvPr>
            <p:cNvCxnSpPr>
              <a:cxnSpLocks/>
            </p:cNvCxnSpPr>
            <p:nvPr/>
          </p:nvCxnSpPr>
          <p:spPr>
            <a:xfrm flipH="1">
              <a:off x="5969316" y="2134870"/>
              <a:ext cx="155448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4" name="Straight Connector 124">
              <a:extLst>
                <a:ext uri="{FF2B5EF4-FFF2-40B4-BE49-F238E27FC236}">
                  <a16:creationId xmlns:a16="http://schemas.microsoft.com/office/drawing/2014/main" xmlns="" id="{38508AC2-FB9F-D211-ADFB-D56C7089199B}"/>
                </a:ext>
              </a:extLst>
            </p:cNvPr>
            <p:cNvCxnSpPr>
              <a:cxnSpLocks/>
            </p:cNvCxnSpPr>
            <p:nvPr/>
          </p:nvCxnSpPr>
          <p:spPr>
            <a:xfrm flipH="1">
              <a:off x="343216" y="2757170"/>
              <a:ext cx="347726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5" name="Straight Connector 125">
              <a:extLst>
                <a:ext uri="{FF2B5EF4-FFF2-40B4-BE49-F238E27FC236}">
                  <a16:creationId xmlns:a16="http://schemas.microsoft.com/office/drawing/2014/main" xmlns="" id="{09784101-E8FE-FE41-30D8-44691B1CE60F}"/>
                </a:ext>
              </a:extLst>
            </p:cNvPr>
            <p:cNvCxnSpPr>
              <a:cxnSpLocks/>
            </p:cNvCxnSpPr>
            <p:nvPr/>
          </p:nvCxnSpPr>
          <p:spPr>
            <a:xfrm flipH="1">
              <a:off x="4064316" y="2744470"/>
              <a:ext cx="155448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6" name="Straight Connector 126">
              <a:extLst>
                <a:ext uri="{FF2B5EF4-FFF2-40B4-BE49-F238E27FC236}">
                  <a16:creationId xmlns:a16="http://schemas.microsoft.com/office/drawing/2014/main" xmlns="" id="{CB3E3492-63CF-4854-A62F-201D25FBB933}"/>
                </a:ext>
              </a:extLst>
            </p:cNvPr>
            <p:cNvCxnSpPr>
              <a:cxnSpLocks/>
            </p:cNvCxnSpPr>
            <p:nvPr/>
          </p:nvCxnSpPr>
          <p:spPr>
            <a:xfrm flipH="1">
              <a:off x="5969316" y="2744470"/>
              <a:ext cx="155448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7" name="Straight Connector 127">
              <a:extLst>
                <a:ext uri="{FF2B5EF4-FFF2-40B4-BE49-F238E27FC236}">
                  <a16:creationId xmlns:a16="http://schemas.microsoft.com/office/drawing/2014/main" xmlns="" id="{CAA040BE-51CA-FE8E-E0AD-892800979834}"/>
                </a:ext>
              </a:extLst>
            </p:cNvPr>
            <p:cNvCxnSpPr>
              <a:cxnSpLocks/>
            </p:cNvCxnSpPr>
            <p:nvPr/>
          </p:nvCxnSpPr>
          <p:spPr>
            <a:xfrm flipH="1">
              <a:off x="343216" y="3354070"/>
              <a:ext cx="345186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8" name="Straight Connector 128">
              <a:extLst>
                <a:ext uri="{FF2B5EF4-FFF2-40B4-BE49-F238E27FC236}">
                  <a16:creationId xmlns:a16="http://schemas.microsoft.com/office/drawing/2014/main" xmlns="" id="{600C0DD1-8742-B266-C528-793BC26A4233}"/>
                </a:ext>
              </a:extLst>
            </p:cNvPr>
            <p:cNvCxnSpPr>
              <a:cxnSpLocks/>
            </p:cNvCxnSpPr>
            <p:nvPr/>
          </p:nvCxnSpPr>
          <p:spPr>
            <a:xfrm flipH="1">
              <a:off x="4064316" y="3354070"/>
              <a:ext cx="155448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9" name="Straight Connector 129">
              <a:extLst>
                <a:ext uri="{FF2B5EF4-FFF2-40B4-BE49-F238E27FC236}">
                  <a16:creationId xmlns:a16="http://schemas.microsoft.com/office/drawing/2014/main" xmlns="" id="{A196443F-E182-3B4B-39C8-1EF6DCAC1ACB}"/>
                </a:ext>
              </a:extLst>
            </p:cNvPr>
            <p:cNvCxnSpPr>
              <a:cxnSpLocks/>
            </p:cNvCxnSpPr>
            <p:nvPr/>
          </p:nvCxnSpPr>
          <p:spPr>
            <a:xfrm flipH="1">
              <a:off x="5969316" y="3354070"/>
              <a:ext cx="155448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0" name="Straight Connector 130">
              <a:extLst>
                <a:ext uri="{FF2B5EF4-FFF2-40B4-BE49-F238E27FC236}">
                  <a16:creationId xmlns:a16="http://schemas.microsoft.com/office/drawing/2014/main" xmlns="" id="{772B4091-ED46-F6D2-7317-D89F0856698E}"/>
                </a:ext>
              </a:extLst>
            </p:cNvPr>
            <p:cNvCxnSpPr>
              <a:cxnSpLocks/>
            </p:cNvCxnSpPr>
            <p:nvPr/>
          </p:nvCxnSpPr>
          <p:spPr>
            <a:xfrm flipH="1">
              <a:off x="343216" y="3879305"/>
              <a:ext cx="345186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1">
              <a:extLst>
                <a:ext uri="{FF2B5EF4-FFF2-40B4-BE49-F238E27FC236}">
                  <a16:creationId xmlns:a16="http://schemas.microsoft.com/office/drawing/2014/main" xmlns="" id="{D7ADC16F-C5B5-D2CD-EFB1-EC5B959679F5}"/>
                </a:ext>
              </a:extLst>
            </p:cNvPr>
            <p:cNvCxnSpPr>
              <a:cxnSpLocks/>
            </p:cNvCxnSpPr>
            <p:nvPr/>
          </p:nvCxnSpPr>
          <p:spPr>
            <a:xfrm flipH="1">
              <a:off x="4064316" y="3887470"/>
              <a:ext cx="1554480" cy="0"/>
            </a:xfrm>
            <a:prstGeom prst="line">
              <a:avLst/>
            </a:prstGeom>
            <a:ln w="15875">
              <a:solidFill>
                <a:schemeClr val="tx2">
                  <a:alpha val="13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32">
              <a:extLst>
                <a:ext uri="{FF2B5EF4-FFF2-40B4-BE49-F238E27FC236}">
                  <a16:creationId xmlns:a16="http://schemas.microsoft.com/office/drawing/2014/main" xmlns="" id="{AB99044F-F1C8-34BE-7A30-CB98EB22472E}"/>
                </a:ext>
              </a:extLst>
            </p:cNvPr>
            <p:cNvCxnSpPr>
              <a:cxnSpLocks/>
            </p:cNvCxnSpPr>
            <p:nvPr/>
          </p:nvCxnSpPr>
          <p:spPr>
            <a:xfrm flipH="1">
              <a:off x="5975465" y="3887470"/>
              <a:ext cx="1554480" cy="0"/>
            </a:xfrm>
            <a:prstGeom prst="line">
              <a:avLst/>
            </a:prstGeom>
            <a:noFill/>
            <a:ln w="15875" cap="flat" cmpd="sng" algn="ctr">
              <a:solidFill>
                <a:srgbClr val="820048">
                  <a:alpha val="13000"/>
                </a:srgbClr>
              </a:solidFill>
              <a:prstDash val="solid"/>
              <a:miter lim="800000"/>
            </a:ln>
            <a:effectLst/>
          </p:spPr>
        </p:cxnSp>
      </p:grpSp>
      <p:cxnSp>
        <p:nvCxnSpPr>
          <p:cNvPr id="35" name="Straight Connector 132">
            <a:extLst>
              <a:ext uri="{FF2B5EF4-FFF2-40B4-BE49-F238E27FC236}">
                <a16:creationId xmlns:a16="http://schemas.microsoft.com/office/drawing/2014/main" xmlns="" id="{86B996D3-4420-8C8A-E37D-9CFEFF71BAD3}"/>
              </a:ext>
            </a:extLst>
          </p:cNvPr>
          <p:cNvCxnSpPr>
            <a:cxnSpLocks/>
          </p:cNvCxnSpPr>
          <p:nvPr/>
        </p:nvCxnSpPr>
        <p:spPr>
          <a:xfrm flipH="1">
            <a:off x="6530327" y="4750710"/>
            <a:ext cx="1554480" cy="0"/>
          </a:xfrm>
          <a:prstGeom prst="line">
            <a:avLst/>
          </a:prstGeom>
          <a:noFill/>
          <a:ln w="15875" cap="flat" cmpd="sng" algn="ctr">
            <a:solidFill>
              <a:srgbClr val="820048">
                <a:alpha val="13000"/>
              </a:srgbClr>
            </a:solidFill>
            <a:prstDash val="solid"/>
            <a:miter lim="800000"/>
          </a:ln>
          <a:effectLst/>
        </p:spPr>
      </p:cxnSp>
    </p:spTree>
    <p:extLst>
      <p:ext uri="{BB962C8B-B14F-4D97-AF65-F5344CB8AC3E}">
        <p14:creationId xmlns:p14="http://schemas.microsoft.com/office/powerpoint/2010/main" val="3866896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7D6695-0FA5-4D13-AE90-01E1A4A35236}"/>
              </a:ext>
            </a:extLst>
          </p:cNvPr>
          <p:cNvSpPr>
            <a:spLocks noGrp="1"/>
          </p:cNvSpPr>
          <p:nvPr>
            <p:ph type="title"/>
          </p:nvPr>
        </p:nvSpPr>
        <p:spPr>
          <a:xfrm>
            <a:off x="216001" y="1211078"/>
            <a:ext cx="7780686" cy="1005910"/>
          </a:xfrm>
        </p:spPr>
        <p:txBody>
          <a:bodyPr/>
          <a:lstStyle/>
          <a:p>
            <a:r>
              <a:rPr lang="ru-RU" dirty="0"/>
              <a:t>Морфологическая диагностика РМЖ</a:t>
            </a:r>
            <a:r>
              <a:rPr lang="ru-RU" baseline="30000" dirty="0"/>
              <a:t>*</a:t>
            </a:r>
            <a:br>
              <a:rPr lang="ru-RU" baseline="30000" dirty="0"/>
            </a:br>
            <a:r>
              <a:rPr lang="ru-RU" dirty="0"/>
              <a:t>Современные подходы и перспективы</a:t>
            </a:r>
            <a:endParaRPr lang="en-US" dirty="0"/>
          </a:p>
        </p:txBody>
      </p:sp>
      <p:sp>
        <p:nvSpPr>
          <p:cNvPr id="4" name="TextBox 3">
            <a:extLst>
              <a:ext uri="{FF2B5EF4-FFF2-40B4-BE49-F238E27FC236}">
                <a16:creationId xmlns:a16="http://schemas.microsoft.com/office/drawing/2014/main" xmlns="" id="{EB435FA0-38E2-4E57-BD3B-6BEDA594FCDB}"/>
              </a:ext>
            </a:extLst>
          </p:cNvPr>
          <p:cNvSpPr txBox="1"/>
          <p:nvPr/>
        </p:nvSpPr>
        <p:spPr>
          <a:xfrm>
            <a:off x="216001" y="2572828"/>
            <a:ext cx="4117563" cy="213403"/>
          </a:xfrm>
          <a:prstGeom prst="rect">
            <a:avLst/>
          </a:prstGeom>
          <a:noFill/>
        </p:spPr>
        <p:txBody>
          <a:bodyPr wrap="none" rtlCol="0">
            <a:noAutofit/>
          </a:bodyPr>
          <a:lstStyle/>
          <a:p>
            <a:pPr algn="l">
              <a:lnSpc>
                <a:spcPct val="90000"/>
              </a:lnSpc>
              <a:spcAft>
                <a:spcPts val="600"/>
              </a:spcAft>
            </a:pPr>
            <a:r>
              <a:rPr lang="ru-RU" sz="1200" i="1" dirty="0">
                <a:solidFill>
                  <a:schemeClr val="tx1">
                    <a:lumMod val="50000"/>
                    <a:lumOff val="50000"/>
                  </a:schemeClr>
                </a:solidFill>
              </a:rPr>
              <a:t>*РМЖ – Рак Молочной Железы</a:t>
            </a:r>
          </a:p>
        </p:txBody>
      </p:sp>
    </p:spTree>
    <p:extLst>
      <p:ext uri="{BB962C8B-B14F-4D97-AF65-F5344CB8AC3E}">
        <p14:creationId xmlns:p14="http://schemas.microsoft.com/office/powerpoint/2010/main" val="266443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1">
            <a:extLst>
              <a:ext uri="{FF2B5EF4-FFF2-40B4-BE49-F238E27FC236}">
                <a16:creationId xmlns:a16="http://schemas.microsoft.com/office/drawing/2014/main" xmlns="" id="{3BB5CD86-3FCD-4BAF-A939-077A5D589126}"/>
              </a:ext>
            </a:extLst>
          </p:cNvPr>
          <p:cNvSpPr txBox="1">
            <a:spLocks/>
          </p:cNvSpPr>
          <p:nvPr/>
        </p:nvSpPr>
        <p:spPr>
          <a:xfrm>
            <a:off x="153584" y="99024"/>
            <a:ext cx="8886900" cy="1158774"/>
          </a:xfrm>
          <a:prstGeom prst="rect">
            <a:avLst/>
          </a:prstGeom>
        </p:spPr>
        <p:txBody>
          <a:bodyPr vert="horz">
            <a:normAutofit fontScale="97500"/>
          </a:bodyPr>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ru-RU" dirty="0"/>
              <a:t>Рак молочной железы: </a:t>
            </a:r>
            <a:r>
              <a:rPr lang="ru-RU" b="0" dirty="0"/>
              <a:t>рекомендации</a:t>
            </a:r>
            <a:br>
              <a:rPr lang="ru-RU" b="0" dirty="0"/>
            </a:br>
            <a:endParaRPr lang="ru-RU" sz="2000" b="0" dirty="0"/>
          </a:p>
        </p:txBody>
      </p:sp>
      <p:grpSp>
        <p:nvGrpSpPr>
          <p:cNvPr id="9" name="Group 11">
            <a:extLst>
              <a:ext uri="{FF2B5EF4-FFF2-40B4-BE49-F238E27FC236}">
                <a16:creationId xmlns:a16="http://schemas.microsoft.com/office/drawing/2014/main" xmlns="" id="{17A13515-CC6D-4DE1-B651-7308D25C925C}"/>
              </a:ext>
            </a:extLst>
          </p:cNvPr>
          <p:cNvGrpSpPr/>
          <p:nvPr/>
        </p:nvGrpSpPr>
        <p:grpSpPr>
          <a:xfrm>
            <a:off x="188958" y="678411"/>
            <a:ext cx="8342898" cy="1723603"/>
            <a:chOff x="140565" y="2788170"/>
            <a:chExt cx="11132348" cy="2821552"/>
          </a:xfrm>
        </p:grpSpPr>
        <p:pic>
          <p:nvPicPr>
            <p:cNvPr id="10" name="Picture 9">
              <a:extLst>
                <a:ext uri="{FF2B5EF4-FFF2-40B4-BE49-F238E27FC236}">
                  <a16:creationId xmlns:a16="http://schemas.microsoft.com/office/drawing/2014/main" xmlns="" id="{ED943D9B-F5FE-4FC2-BD40-816ABCF20C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988903" y="2788170"/>
              <a:ext cx="1601040" cy="946873"/>
            </a:xfrm>
            <a:prstGeom prst="rect">
              <a:avLst/>
            </a:prstGeom>
          </p:spPr>
        </p:pic>
        <p:pic>
          <p:nvPicPr>
            <p:cNvPr id="11" name="Picture 10">
              <a:extLst>
                <a:ext uri="{FF2B5EF4-FFF2-40B4-BE49-F238E27FC236}">
                  <a16:creationId xmlns:a16="http://schemas.microsoft.com/office/drawing/2014/main" xmlns="" id="{7267A3BF-D2A9-4FE1-A46B-DFBE2379A75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54574" y="2788170"/>
              <a:ext cx="2249008" cy="789897"/>
            </a:xfrm>
            <a:prstGeom prst="rect">
              <a:avLst/>
            </a:prstGeom>
          </p:spPr>
        </p:pic>
        <p:pic>
          <p:nvPicPr>
            <p:cNvPr id="12" name="Picture 2" descr="The Japanese Society of Interventional Radiology">
              <a:extLst>
                <a:ext uri="{FF2B5EF4-FFF2-40B4-BE49-F238E27FC236}">
                  <a16:creationId xmlns:a16="http://schemas.microsoft.com/office/drawing/2014/main" xmlns="" id="{313F323C-C0D2-44E3-AB95-98F10DBA19F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106071" y="2788170"/>
              <a:ext cx="876985" cy="876985"/>
            </a:xfrm>
            <a:prstGeom prst="ellipse">
              <a:avLst/>
            </a:prstGeom>
            <a:noFill/>
            <a:ln w="28575">
              <a:solidFill>
                <a:srgbClr val="993433"/>
              </a:solidFill>
            </a:ln>
            <a:extLst>
              <a:ext uri="{909E8E84-426E-40DD-AFC4-6F175D3DCCD1}">
                <a14:hiddenFill xmlns:a14="http://schemas.microsoft.com/office/drawing/2010/main">
                  <a:solidFill>
                    <a:srgbClr val="FFFFFF"/>
                  </a:solidFill>
                </a14:hiddenFill>
              </a:ext>
            </a:extLst>
          </p:spPr>
        </p:pic>
        <p:sp>
          <p:nvSpPr>
            <p:cNvPr id="13" name="Content Placeholder 9">
              <a:extLst>
                <a:ext uri="{FF2B5EF4-FFF2-40B4-BE49-F238E27FC236}">
                  <a16:creationId xmlns:a16="http://schemas.microsoft.com/office/drawing/2014/main" xmlns="" id="{DBB83644-16E4-4E0E-B965-68BB110C1B9F}"/>
                </a:ext>
              </a:extLst>
            </p:cNvPr>
            <p:cNvSpPr txBox="1">
              <a:spLocks/>
            </p:cNvSpPr>
            <p:nvPr/>
          </p:nvSpPr>
          <p:spPr>
            <a:xfrm>
              <a:off x="140565" y="3871401"/>
              <a:ext cx="2320158" cy="898982"/>
            </a:xfrm>
            <a:prstGeom prst="rect">
              <a:avLst/>
            </a:prstGeom>
          </p:spPr>
          <p:txBody>
            <a:bodyPr lIns="0" rIns="0" rtlCol="0"/>
            <a:lstStyle>
              <a:defPPr>
                <a:defRPr lang="en-US"/>
              </a:defPPr>
              <a:lvl1pPr marL="115879" indent="-115879" defTabSz="457166">
                <a:spcBef>
                  <a:spcPts val="600"/>
                </a:spcBef>
                <a:buClr>
                  <a:srgbClr val="C4D600"/>
                </a:buClr>
                <a:buFont typeface="Arial"/>
                <a:buChar char="•"/>
                <a:defRPr kumimoji="1" sz="1100">
                  <a:solidFill>
                    <a:srgbClr val="3F4444"/>
                  </a:solidFill>
                  <a:latin typeface="Arial"/>
                </a:defRPr>
              </a:lvl1pPr>
              <a:lvl2pPr marL="685800" indent="-457200" defTabSz="457200">
                <a:spcBef>
                  <a:spcPct val="20000"/>
                </a:spcBef>
                <a:buFont typeface="Arial"/>
                <a:buChar char="–"/>
                <a:defRPr kumimoji="1" sz="2800"/>
              </a:lvl2pPr>
              <a:lvl3pPr marL="742950" indent="-285750" defTabSz="457200">
                <a:spcBef>
                  <a:spcPct val="20000"/>
                </a:spcBef>
                <a:buFont typeface="Arial"/>
                <a:buChar char="•"/>
                <a:defRPr kumimoji="1" sz="1800">
                  <a:solidFill>
                    <a:schemeClr val="tx2"/>
                  </a:solidFill>
                </a:defRPr>
              </a:lvl3pPr>
              <a:lvl4pPr marL="971550" indent="-285750" defTabSz="457200">
                <a:spcBef>
                  <a:spcPct val="20000"/>
                </a:spcBef>
                <a:buFont typeface="Arial"/>
                <a:buChar char="–"/>
                <a:defRPr kumimoji="1" sz="1400">
                  <a:solidFill>
                    <a:schemeClr val="tx2"/>
                  </a:solidFill>
                </a:defRPr>
              </a:lvl4pPr>
              <a:lvl5pPr marL="2057400" indent="-228600" defTabSz="457200">
                <a:spcBef>
                  <a:spcPct val="20000"/>
                </a:spcBef>
                <a:buFont typeface="Arial"/>
                <a:buChar char="»"/>
                <a:defRPr kumimoji="1" sz="1400">
                  <a:solidFill>
                    <a:schemeClr val="tx2"/>
                  </a:solidFill>
                </a:defRPr>
              </a:lvl5pPr>
              <a:lvl6pPr marL="2514600" indent="-228600" defTabSz="457200">
                <a:spcBef>
                  <a:spcPct val="20000"/>
                </a:spcBef>
                <a:buFont typeface="Arial"/>
                <a:buChar char="•"/>
                <a:defRPr kumimoji="1" sz="2000"/>
              </a:lvl6pPr>
              <a:lvl7pPr marL="2971800" indent="-228600" defTabSz="457200">
                <a:spcBef>
                  <a:spcPct val="20000"/>
                </a:spcBef>
                <a:buFont typeface="Arial"/>
                <a:buChar char="•"/>
                <a:defRPr kumimoji="1" sz="2000"/>
              </a:lvl7pPr>
              <a:lvl8pPr marL="3429000" indent="-228600" defTabSz="457200">
                <a:spcBef>
                  <a:spcPct val="20000"/>
                </a:spcBef>
                <a:buFont typeface="Arial"/>
                <a:buChar char="•"/>
                <a:defRPr kumimoji="1" sz="2000"/>
              </a:lvl8pPr>
              <a:lvl9pPr marL="3886200" indent="-228600" defTabSz="457200">
                <a:spcBef>
                  <a:spcPct val="20000"/>
                </a:spcBef>
                <a:buFont typeface="Arial"/>
                <a:buChar char="•"/>
                <a:defRPr kumimoji="1" sz="2000"/>
              </a:lvl9pPr>
            </a:lstStyle>
            <a:p>
              <a:pPr marL="0" marR="0" lvl="0" indent="0" algn="l" defTabSz="457166" rtl="0" eaLnBrk="1" fontAlgn="auto" latinLnBrk="0" hangingPunct="1">
                <a:lnSpc>
                  <a:spcPct val="100000"/>
                </a:lnSpc>
                <a:spcBef>
                  <a:spcPts val="600"/>
                </a:spcBef>
                <a:spcAft>
                  <a:spcPts val="0"/>
                </a:spcAft>
                <a:buClr>
                  <a:srgbClr val="68D2DF"/>
                </a:buClr>
                <a:buSzTx/>
                <a:buFont typeface="Arial"/>
                <a:buNone/>
                <a:tabLst/>
                <a:defRPr/>
              </a:pPr>
              <a:r>
                <a:rPr kumimoji="1" lang="ru" sz="1400" b="0" i="0" u="none" strike="noStrike" kern="1200" cap="none" spc="0" normalizeH="0" baseline="0" noProof="0" dirty="0">
                  <a:ln>
                    <a:noFill/>
                  </a:ln>
                  <a:solidFill>
                    <a:srgbClr val="000000"/>
                  </a:solidFill>
                  <a:effectLst/>
                  <a:uLnTx/>
                  <a:uFillTx/>
                  <a:latin typeface="Arial"/>
                  <a:ea typeface="+mn-ea"/>
                  <a:cs typeface="+mn-cs"/>
                </a:rPr>
                <a:t>Анализ на HER2 следует проводить при выявлении всех новых или первичных очагов метастатического рака молочной железы</a:t>
              </a:r>
              <a:r>
                <a:rPr kumimoji="1" lang="ru" sz="1400" b="0" i="0" u="none" strike="noStrike" kern="1200" cap="none" spc="0" normalizeH="0" baseline="30000" noProof="0" dirty="0">
                  <a:ln>
                    <a:noFill/>
                  </a:ln>
                  <a:solidFill>
                    <a:srgbClr val="000000"/>
                  </a:solidFill>
                  <a:effectLst/>
                  <a:uLnTx/>
                  <a:uFillTx/>
                  <a:latin typeface="Arial"/>
                  <a:ea typeface="+mn-ea"/>
                  <a:cs typeface="+mn-cs"/>
                </a:rPr>
                <a:t>2</a:t>
              </a:r>
            </a:p>
          </p:txBody>
        </p:sp>
        <p:sp>
          <p:nvSpPr>
            <p:cNvPr id="14" name="Content Placeholder 9">
              <a:extLst>
                <a:ext uri="{FF2B5EF4-FFF2-40B4-BE49-F238E27FC236}">
                  <a16:creationId xmlns:a16="http://schemas.microsoft.com/office/drawing/2014/main" xmlns="" id="{430D6450-E0B7-4733-A16D-59D21AC2A6C1}"/>
                </a:ext>
              </a:extLst>
            </p:cNvPr>
            <p:cNvSpPr txBox="1">
              <a:spLocks/>
            </p:cNvSpPr>
            <p:nvPr/>
          </p:nvSpPr>
          <p:spPr>
            <a:xfrm>
              <a:off x="5661327" y="3871401"/>
              <a:ext cx="2548941" cy="1652634"/>
            </a:xfrm>
            <a:prstGeom prst="rect">
              <a:avLst/>
            </a:prstGeom>
          </p:spPr>
          <p:txBody>
            <a:bodyPr lIns="0" rIns="0" rtlCol="0"/>
            <a:lstStyle>
              <a:lvl1pPr marL="342900" indent="-342900" algn="l" defTabSz="457200" rtl="0" eaLnBrk="1" latinLnBrk="0" hangingPunct="1">
                <a:spcBef>
                  <a:spcPct val="20000"/>
                </a:spcBef>
                <a:buFont typeface="Arial"/>
                <a:buChar char="•"/>
                <a:defRPr kumimoji="1" lang="en-US" sz="2000" kern="1200" dirty="0" smtClean="0">
                  <a:solidFill>
                    <a:schemeClr val="tx2"/>
                  </a:solidFill>
                  <a:latin typeface="+mn-lt"/>
                  <a:ea typeface="+mn-ea"/>
                  <a:cs typeface="+mn-cs"/>
                </a:defRPr>
              </a:lvl1pPr>
              <a:lvl2pPr marL="685800" indent="-457200" algn="l" defTabSz="457200" rtl="0" eaLnBrk="1" latinLnBrk="0" hangingPunct="1">
                <a:spcBef>
                  <a:spcPct val="20000"/>
                </a:spcBef>
                <a:buFont typeface="Arial"/>
                <a:buChar char="–"/>
                <a:defRPr kumimoji="1" sz="2800" kern="1200">
                  <a:solidFill>
                    <a:schemeClr val="tx1"/>
                  </a:solidFill>
                  <a:latin typeface="+mn-lt"/>
                  <a:ea typeface="+mn-ea"/>
                  <a:cs typeface="+mn-cs"/>
                </a:defRPr>
              </a:lvl2pPr>
              <a:lvl3pPr marL="742950" indent="-285750" algn="l" defTabSz="457200" rtl="0" eaLnBrk="1" latinLnBrk="0" hangingPunct="1">
                <a:spcBef>
                  <a:spcPct val="20000"/>
                </a:spcBef>
                <a:buFont typeface="Arial"/>
                <a:buChar char="•"/>
                <a:defRPr kumimoji="1" lang="en-US" sz="1800" kern="1200" dirty="0" smtClean="0">
                  <a:solidFill>
                    <a:schemeClr val="tx2"/>
                  </a:solidFill>
                  <a:latin typeface="+mn-lt"/>
                  <a:ea typeface="+mn-ea"/>
                  <a:cs typeface="+mn-cs"/>
                </a:defRPr>
              </a:lvl3pPr>
              <a:lvl4pPr marL="971550" indent="-285750" algn="l" defTabSz="457200" rtl="0" eaLnBrk="1" latinLnBrk="0" hangingPunct="1">
                <a:spcBef>
                  <a:spcPct val="20000"/>
                </a:spcBef>
                <a:buFont typeface="Arial"/>
                <a:buChar char="–"/>
                <a:defRPr kumimoji="1" lang="en-US" sz="1400" kern="1200" dirty="0" smtClean="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kumimoji="1" lang="en-US" sz="1400" kern="1200" dirty="0" smtClean="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166" rtl="0" eaLnBrk="1" fontAlgn="auto" latinLnBrk="0" hangingPunct="1">
                <a:lnSpc>
                  <a:spcPct val="100000"/>
                </a:lnSpc>
                <a:spcBef>
                  <a:spcPts val="600"/>
                </a:spcBef>
                <a:spcAft>
                  <a:spcPts val="0"/>
                </a:spcAft>
                <a:buClr>
                  <a:srgbClr val="68D2DF"/>
                </a:buClr>
                <a:buSzTx/>
                <a:buFont typeface="Arial"/>
                <a:buNone/>
                <a:tabLst/>
                <a:defRPr/>
              </a:pPr>
              <a:r>
                <a:rPr kumimoji="1" lang="ru" sz="1400" b="0" i="0" u="none" strike="noStrike" kern="1200" cap="none" spc="0" normalizeH="0" baseline="0" noProof="0" dirty="0">
                  <a:ln>
                    <a:noFill/>
                  </a:ln>
                  <a:solidFill>
                    <a:srgbClr val="000000"/>
                  </a:solidFill>
                  <a:effectLst/>
                  <a:uLnTx/>
                  <a:uFillTx/>
                  <a:latin typeface="Arial"/>
                  <a:ea typeface="+mn-ea"/>
                  <a:cs typeface="+mn-cs"/>
                </a:rPr>
                <a:t>Гистологическое заключение должно включать оценку на HER2 (при инвазивном раке)</a:t>
              </a:r>
              <a:r>
                <a:rPr kumimoji="1" lang="ru" sz="1400" b="0" i="0" u="none" strike="noStrike" kern="1200" cap="none" spc="0" normalizeH="0" baseline="30000" noProof="0" dirty="0">
                  <a:ln>
                    <a:noFill/>
                  </a:ln>
                  <a:solidFill>
                    <a:srgbClr val="000000"/>
                  </a:solidFill>
                  <a:effectLst/>
                  <a:uLnTx/>
                  <a:uFillTx/>
                  <a:latin typeface="Arial"/>
                  <a:ea typeface="+mn-ea"/>
                  <a:cs typeface="+mn-cs"/>
                </a:rPr>
                <a:t>4</a:t>
              </a:r>
              <a:r>
                <a:rPr kumimoji="1" lang="ru" sz="1400" b="0" i="0" u="none" strike="noStrike" kern="1200" cap="none" spc="0" normalizeH="0" baseline="0" noProof="0" dirty="0">
                  <a:ln>
                    <a:noFill/>
                  </a:ln>
                  <a:solidFill>
                    <a:srgbClr val="000000"/>
                  </a:solidFill>
                  <a:effectLst/>
                  <a:uLnTx/>
                  <a:uFillTx/>
                  <a:latin typeface="Arial"/>
                  <a:ea typeface="+mn-ea"/>
                  <a:cs typeface="+mn-cs"/>
                </a:rPr>
                <a:t> </a:t>
              </a:r>
              <a:r>
                <a:rPr kumimoji="1" lang="en-GB" sz="1400" b="0" i="0" u="none" strike="noStrike" kern="1200" cap="none" spc="0" normalizeH="0" baseline="0" noProof="0" dirty="0">
                  <a:ln>
                    <a:noFill/>
                  </a:ln>
                  <a:solidFill>
                    <a:srgbClr val="000000"/>
                  </a:solidFill>
                  <a:effectLst/>
                  <a:uLnTx/>
                  <a:uFillTx/>
                  <a:latin typeface="Arial"/>
                  <a:ea typeface="+mn-ea"/>
                  <a:cs typeface="+mn-cs"/>
                </a:rPr>
                <a:t/>
              </a:r>
              <a:br>
                <a:rPr kumimoji="1" lang="en-GB" sz="1400" b="0" i="0" u="none" strike="noStrike" kern="1200" cap="none" spc="0" normalizeH="0" baseline="0" noProof="0" dirty="0">
                  <a:ln>
                    <a:noFill/>
                  </a:ln>
                  <a:solidFill>
                    <a:srgbClr val="000000"/>
                  </a:solidFill>
                  <a:effectLst/>
                  <a:uLnTx/>
                  <a:uFillTx/>
                  <a:latin typeface="Arial"/>
                  <a:ea typeface="+mn-ea"/>
                  <a:cs typeface="+mn-cs"/>
                </a:rPr>
              </a:br>
              <a:endParaRPr kumimoji="1"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166" rtl="0" eaLnBrk="1" fontAlgn="auto" latinLnBrk="0" hangingPunct="1">
                <a:lnSpc>
                  <a:spcPct val="100000"/>
                </a:lnSpc>
                <a:spcBef>
                  <a:spcPts val="600"/>
                </a:spcBef>
                <a:spcAft>
                  <a:spcPts val="0"/>
                </a:spcAft>
                <a:buClr>
                  <a:srgbClr val="68D2DF"/>
                </a:buClr>
                <a:buSzTx/>
                <a:buFont typeface="Arial"/>
                <a:buNone/>
                <a:tabLst/>
                <a:defRPr/>
              </a:pPr>
              <a:r>
                <a:rPr kumimoji="1" lang="ru" sz="1400" b="0" i="0" u="none" strike="noStrike" kern="1200" cap="none" spc="0" normalizeH="0" baseline="0" noProof="0" dirty="0">
                  <a:ln>
                    <a:noFill/>
                  </a:ln>
                  <a:solidFill>
                    <a:srgbClr val="000000"/>
                  </a:solidFill>
                  <a:effectLst/>
                  <a:uLnTx/>
                  <a:uFillTx/>
                  <a:latin typeface="Arial"/>
                  <a:ea typeface="+mn-ea"/>
                  <a:cs typeface="+mn-cs"/>
                </a:rPr>
                <a:t>При метастазировании оценка биологических маркеров должна быть проведена повторно хотя бы один раз, если это клинически возможно</a:t>
              </a:r>
              <a:r>
                <a:rPr kumimoji="1" lang="ru" sz="1400" b="0" i="0" u="none" strike="noStrike" kern="1200" cap="none" spc="0" normalizeH="0" baseline="30000" noProof="0" dirty="0">
                  <a:ln>
                    <a:noFill/>
                  </a:ln>
                  <a:solidFill>
                    <a:srgbClr val="000000"/>
                  </a:solidFill>
                  <a:effectLst/>
                  <a:uLnTx/>
                  <a:uFillTx/>
                  <a:latin typeface="Arial"/>
                  <a:ea typeface="+mn-ea"/>
                  <a:cs typeface="+mn-cs"/>
                </a:rPr>
                <a:t>5</a:t>
              </a:r>
              <a:endParaRPr kumimoji="1"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Content Placeholder 9">
              <a:extLst>
                <a:ext uri="{FF2B5EF4-FFF2-40B4-BE49-F238E27FC236}">
                  <a16:creationId xmlns:a16="http://schemas.microsoft.com/office/drawing/2014/main" xmlns="" id="{9706B0C8-D605-4112-B645-EAC85EB6370B}"/>
                </a:ext>
              </a:extLst>
            </p:cNvPr>
            <p:cNvSpPr txBox="1">
              <a:spLocks/>
            </p:cNvSpPr>
            <p:nvPr/>
          </p:nvSpPr>
          <p:spPr>
            <a:xfrm>
              <a:off x="8396470" y="3871401"/>
              <a:ext cx="2876443" cy="1738321"/>
            </a:xfrm>
            <a:prstGeom prst="rect">
              <a:avLst/>
            </a:prstGeom>
          </p:spPr>
          <p:txBody>
            <a:bodyPr rtlCol="0"/>
            <a:lstStyle>
              <a:lvl1pPr marL="457189" indent="-457189" algn="l" defTabSz="609585" rtl="0" eaLnBrk="1" latinLnBrk="0" hangingPunct="1">
                <a:spcBef>
                  <a:spcPct val="20000"/>
                </a:spcBef>
                <a:buFont typeface="Arial"/>
                <a:buChar char="•"/>
                <a:defRPr kumimoji="1"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kumimoji="1"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kumimoji="1"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609540" rtl="0" eaLnBrk="1" fontAlgn="auto" latinLnBrk="0" hangingPunct="1">
                <a:lnSpc>
                  <a:spcPct val="100000"/>
                </a:lnSpc>
                <a:spcBef>
                  <a:spcPts val="600"/>
                </a:spcBef>
                <a:spcAft>
                  <a:spcPts val="0"/>
                </a:spcAft>
                <a:buClr>
                  <a:srgbClr val="68D2DF"/>
                </a:buClr>
                <a:buSzTx/>
                <a:buFont typeface="Arial"/>
                <a:buNone/>
                <a:tabLst/>
                <a:defRPr/>
              </a:pPr>
              <a:r>
                <a:rPr kumimoji="1" lang="ru" sz="1400" b="0" i="0" u="none" strike="noStrike" kern="1200" cap="none" spc="0" normalizeH="0" baseline="0" noProof="0" dirty="0">
                  <a:ln>
                    <a:noFill/>
                  </a:ln>
                  <a:solidFill>
                    <a:srgbClr val="000000"/>
                  </a:solidFill>
                  <a:effectLst/>
                  <a:uLnTx/>
                  <a:uFillTx/>
                  <a:latin typeface="Arial"/>
                  <a:ea typeface="+mn-ea"/>
                  <a:cs typeface="+mn-cs"/>
                </a:rPr>
                <a:t>Настоятельно рекомендуется проводить анализ на HER2 у пациентов с воспалительным или метастатическим раком молочной железы</a:t>
              </a:r>
              <a:r>
                <a:rPr kumimoji="1" lang="ru" sz="1400" b="0" i="0" u="none" strike="noStrike" kern="1200" cap="none" spc="0" normalizeH="0" baseline="30000" noProof="0" dirty="0">
                  <a:ln>
                    <a:noFill/>
                  </a:ln>
                  <a:solidFill>
                    <a:srgbClr val="000000"/>
                  </a:solidFill>
                  <a:effectLst/>
                  <a:uLnTx/>
                  <a:uFillTx/>
                  <a:latin typeface="Arial"/>
                  <a:ea typeface="+mn-ea"/>
                  <a:cs typeface="+mn-cs"/>
                </a:rPr>
                <a:t>6 </a:t>
              </a:r>
              <a:r>
                <a:rPr kumimoji="1" lang="en-US" sz="1400" b="0" i="0" u="none" strike="noStrike" kern="1200" cap="none" spc="0" normalizeH="0" baseline="0" noProof="0" dirty="0">
                  <a:ln>
                    <a:noFill/>
                  </a:ln>
                  <a:solidFill>
                    <a:srgbClr val="000000"/>
                  </a:solidFill>
                  <a:effectLst/>
                  <a:uLnTx/>
                  <a:uFillTx/>
                  <a:latin typeface="Arial"/>
                  <a:ea typeface="+mn-ea"/>
                  <a:cs typeface="+mn-cs"/>
                </a:rPr>
                <a:t/>
              </a:r>
              <a:br>
                <a:rPr kumimoji="1" lang="en-US" sz="1400" b="0" i="0" u="none" strike="noStrike" kern="1200" cap="none" spc="0" normalizeH="0" baseline="0" noProof="0" dirty="0">
                  <a:ln>
                    <a:noFill/>
                  </a:ln>
                  <a:solidFill>
                    <a:srgbClr val="000000"/>
                  </a:solidFill>
                  <a:effectLst/>
                  <a:uLnTx/>
                  <a:uFillTx/>
                  <a:latin typeface="Arial"/>
                  <a:ea typeface="+mn-ea"/>
                  <a:cs typeface="+mn-cs"/>
                </a:rPr>
              </a:br>
              <a:endParaRPr kumimoji="1"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09540" rtl="0" eaLnBrk="1" fontAlgn="auto" latinLnBrk="0" hangingPunct="1">
                <a:lnSpc>
                  <a:spcPct val="100000"/>
                </a:lnSpc>
                <a:spcBef>
                  <a:spcPts val="600"/>
                </a:spcBef>
                <a:spcAft>
                  <a:spcPts val="0"/>
                </a:spcAft>
                <a:buClr>
                  <a:srgbClr val="68D2DF"/>
                </a:buClr>
                <a:buSzTx/>
                <a:buFont typeface="Arial"/>
                <a:buNone/>
                <a:tabLst/>
                <a:defRPr/>
              </a:pPr>
              <a:r>
                <a:rPr kumimoji="1" lang="ru" sz="1400" b="0" i="0" u="none" strike="noStrike" kern="1200" cap="none" spc="0" normalizeH="0" baseline="0" noProof="0" dirty="0">
                  <a:ln>
                    <a:noFill/>
                  </a:ln>
                  <a:solidFill>
                    <a:srgbClr val="000000"/>
                  </a:solidFill>
                  <a:effectLst/>
                  <a:uLnTx/>
                  <a:uFillTx/>
                  <a:latin typeface="Arial"/>
                  <a:ea typeface="+mn-ea"/>
                  <a:cs typeface="+mn-cs"/>
                </a:rPr>
                <a:t>При рецидивирующих или метастатических опухолях часто требуется повторное обследование</a:t>
              </a:r>
              <a:r>
                <a:rPr kumimoji="1" lang="ru" sz="1400" b="0" i="0" u="none" strike="noStrike" kern="1200" cap="none" spc="0" normalizeH="0" baseline="30000" noProof="0" dirty="0">
                  <a:ln>
                    <a:noFill/>
                  </a:ln>
                  <a:solidFill>
                    <a:srgbClr val="000000"/>
                  </a:solidFill>
                  <a:effectLst/>
                  <a:uLnTx/>
                  <a:uFillTx/>
                  <a:latin typeface="Arial"/>
                  <a:ea typeface="+mn-ea"/>
                  <a:cs typeface="+mn-cs"/>
                </a:rPr>
                <a:t>6</a:t>
              </a:r>
            </a:p>
          </p:txBody>
        </p:sp>
        <p:sp>
          <p:nvSpPr>
            <p:cNvPr id="16" name="Content Placeholder 9">
              <a:extLst>
                <a:ext uri="{FF2B5EF4-FFF2-40B4-BE49-F238E27FC236}">
                  <a16:creationId xmlns:a16="http://schemas.microsoft.com/office/drawing/2014/main" xmlns="" id="{8E17DFA3-ED80-4B87-A6F1-58788020727F}"/>
                </a:ext>
              </a:extLst>
            </p:cNvPr>
            <p:cNvSpPr txBox="1">
              <a:spLocks/>
            </p:cNvSpPr>
            <p:nvPr/>
          </p:nvSpPr>
          <p:spPr>
            <a:xfrm>
              <a:off x="2799328" y="3871401"/>
              <a:ext cx="2548941" cy="898982"/>
            </a:xfrm>
            <a:prstGeom prst="rect">
              <a:avLst/>
            </a:prstGeom>
          </p:spPr>
          <p:txBody>
            <a:bodyPr lIns="0" rIns="0" rtlCol="0"/>
            <a:lstStyle>
              <a:defPPr>
                <a:defRPr lang="en-US"/>
              </a:defPPr>
              <a:lvl1pPr marL="115879" indent="-115879" defTabSz="457166">
                <a:spcBef>
                  <a:spcPts val="600"/>
                </a:spcBef>
                <a:buClr>
                  <a:srgbClr val="C4D600"/>
                </a:buClr>
                <a:buFont typeface="Arial"/>
                <a:buChar char="•"/>
                <a:defRPr kumimoji="1" sz="1100">
                  <a:solidFill>
                    <a:srgbClr val="3F4444"/>
                  </a:solidFill>
                  <a:latin typeface="Arial"/>
                </a:defRPr>
              </a:lvl1pPr>
              <a:lvl2pPr marL="685800" indent="-457200" defTabSz="457200">
                <a:spcBef>
                  <a:spcPct val="20000"/>
                </a:spcBef>
                <a:buFont typeface="Arial"/>
                <a:buChar char="–"/>
                <a:defRPr kumimoji="1" sz="2800"/>
              </a:lvl2pPr>
              <a:lvl3pPr marL="742950" indent="-285750" defTabSz="457200">
                <a:spcBef>
                  <a:spcPct val="20000"/>
                </a:spcBef>
                <a:buFont typeface="Arial"/>
                <a:buChar char="•"/>
                <a:defRPr kumimoji="1" sz="1800">
                  <a:solidFill>
                    <a:schemeClr val="tx2"/>
                  </a:solidFill>
                </a:defRPr>
              </a:lvl3pPr>
              <a:lvl4pPr marL="971550" indent="-285750" defTabSz="457200">
                <a:spcBef>
                  <a:spcPct val="20000"/>
                </a:spcBef>
                <a:buFont typeface="Arial"/>
                <a:buChar char="–"/>
                <a:defRPr kumimoji="1" sz="1400">
                  <a:solidFill>
                    <a:schemeClr val="tx2"/>
                  </a:solidFill>
                </a:defRPr>
              </a:lvl4pPr>
              <a:lvl5pPr marL="2057400" indent="-228600" defTabSz="457200">
                <a:spcBef>
                  <a:spcPct val="20000"/>
                </a:spcBef>
                <a:buFont typeface="Arial"/>
                <a:buChar char="»"/>
                <a:defRPr kumimoji="1" sz="1400">
                  <a:solidFill>
                    <a:schemeClr val="tx2"/>
                  </a:solidFill>
                </a:defRPr>
              </a:lvl5pPr>
              <a:lvl6pPr marL="2514600" indent="-228600" defTabSz="457200">
                <a:spcBef>
                  <a:spcPct val="20000"/>
                </a:spcBef>
                <a:buFont typeface="Arial"/>
                <a:buChar char="•"/>
                <a:defRPr kumimoji="1" sz="2000"/>
              </a:lvl6pPr>
              <a:lvl7pPr marL="2971800" indent="-228600" defTabSz="457200">
                <a:spcBef>
                  <a:spcPct val="20000"/>
                </a:spcBef>
                <a:buFont typeface="Arial"/>
                <a:buChar char="•"/>
                <a:defRPr kumimoji="1" sz="2000"/>
              </a:lvl7pPr>
              <a:lvl8pPr marL="3429000" indent="-228600" defTabSz="457200">
                <a:spcBef>
                  <a:spcPct val="20000"/>
                </a:spcBef>
                <a:buFont typeface="Arial"/>
                <a:buChar char="•"/>
                <a:defRPr kumimoji="1" sz="2000"/>
              </a:lvl8pPr>
              <a:lvl9pPr marL="3886200" indent="-228600" defTabSz="457200">
                <a:spcBef>
                  <a:spcPct val="20000"/>
                </a:spcBef>
                <a:buFont typeface="Arial"/>
                <a:buChar char="•"/>
                <a:defRPr kumimoji="1" sz="2000"/>
              </a:lvl9pPr>
            </a:lstStyle>
            <a:p>
              <a:pPr marL="0" marR="0" lvl="0" indent="0" algn="l" defTabSz="457166" rtl="0" eaLnBrk="1" fontAlgn="auto" latinLnBrk="0" hangingPunct="1">
                <a:lnSpc>
                  <a:spcPct val="100000"/>
                </a:lnSpc>
                <a:spcBef>
                  <a:spcPts val="600"/>
                </a:spcBef>
                <a:spcAft>
                  <a:spcPts val="0"/>
                </a:spcAft>
                <a:buClr>
                  <a:srgbClr val="68D2DF"/>
                </a:buClr>
                <a:buSzTx/>
                <a:buFont typeface="Arial"/>
                <a:buNone/>
                <a:tabLst/>
                <a:defRPr/>
              </a:pPr>
              <a:r>
                <a:rPr kumimoji="1" lang="ru" sz="1400" b="0" i="0" u="none" strike="noStrike" kern="1200" cap="none" spc="0" normalizeH="0" baseline="0" noProof="0" dirty="0">
                  <a:ln>
                    <a:noFill/>
                  </a:ln>
                  <a:solidFill>
                    <a:srgbClr val="000000"/>
                  </a:solidFill>
                  <a:effectLst/>
                  <a:uLnTx/>
                  <a:uFillTx/>
                  <a:latin typeface="Arial"/>
                  <a:ea typeface="+mn-ea"/>
                  <a:cs typeface="+mn-cs"/>
                </a:rPr>
                <a:t>Всем пациентам с впервые установленным диагнозом рака молочной железы необходимо провести анализ на HER2. </a:t>
              </a:r>
              <a:br>
                <a:rPr kumimoji="1" lang="ru" sz="1400" b="0" i="0" u="none" strike="noStrike" kern="1200" cap="none" spc="0" normalizeH="0" baseline="0" noProof="0" dirty="0">
                  <a:ln>
                    <a:noFill/>
                  </a:ln>
                  <a:solidFill>
                    <a:srgbClr val="000000"/>
                  </a:solidFill>
                  <a:effectLst/>
                  <a:uLnTx/>
                  <a:uFillTx/>
                  <a:latin typeface="Arial"/>
                  <a:ea typeface="+mn-ea"/>
                  <a:cs typeface="+mn-cs"/>
                </a:rPr>
              </a:br>
              <a:r>
                <a:rPr kumimoji="1" lang="ru" sz="1400" b="0" i="0" u="none" strike="noStrike" kern="1200" cap="none" spc="0" normalizeH="0" baseline="0" noProof="0" dirty="0">
                  <a:ln>
                    <a:noFill/>
                  </a:ln>
                  <a:solidFill>
                    <a:srgbClr val="000000"/>
                  </a:solidFill>
                  <a:effectLst/>
                  <a:uLnTx/>
                  <a:uFillTx/>
                  <a:latin typeface="Arial"/>
                  <a:ea typeface="+mn-ea"/>
                  <a:cs typeface="+mn-cs"/>
                </a:rPr>
                <a:t>В случае развития метастатического заболевания образец ткани метастаза, при его наличии, следует отправить на анализ HER2</a:t>
              </a:r>
              <a:r>
                <a:rPr kumimoji="1" lang="ru" sz="1400" b="0" i="0" u="none" strike="noStrike" kern="1200" cap="none" spc="0" normalizeH="0" baseline="30000" noProof="0" dirty="0">
                  <a:ln>
                    <a:noFill/>
                  </a:ln>
                  <a:solidFill>
                    <a:srgbClr val="000000"/>
                  </a:solidFill>
                  <a:effectLst/>
                  <a:uLnTx/>
                  <a:uFillTx/>
                  <a:latin typeface="Arial"/>
                  <a:ea typeface="+mn-ea"/>
                  <a:cs typeface="+mn-cs"/>
                </a:rPr>
                <a:t>1</a:t>
              </a:r>
            </a:p>
          </p:txBody>
        </p:sp>
        <p:pic>
          <p:nvPicPr>
            <p:cNvPr id="17" name="Picture 2" descr="Highest paying jobs at College of American Pathologists">
              <a:extLst>
                <a:ext uri="{FF2B5EF4-FFF2-40B4-BE49-F238E27FC236}">
                  <a16:creationId xmlns:a16="http://schemas.microsoft.com/office/drawing/2014/main" xmlns="" id="{7091E451-6B4D-4616-8B60-155FEB34F676}"/>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3983028" y="2788170"/>
              <a:ext cx="1373462" cy="102865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Thought Challenge: ASCO Logo Refresh on Behance">
              <a:extLst>
                <a:ext uri="{FF2B5EF4-FFF2-40B4-BE49-F238E27FC236}">
                  <a16:creationId xmlns:a16="http://schemas.microsoft.com/office/drawing/2014/main" xmlns="" id="{0E5E7A75-E3FA-49B4-8583-06D24F3ED40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32112" y="2788170"/>
              <a:ext cx="1767734" cy="733487"/>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Подзаголовок 4">
            <a:extLst>
              <a:ext uri="{FF2B5EF4-FFF2-40B4-BE49-F238E27FC236}">
                <a16:creationId xmlns:a16="http://schemas.microsoft.com/office/drawing/2014/main" xmlns="" id="{D6373781-7744-45E6-B74C-46A9EFD5D380}"/>
              </a:ext>
            </a:extLst>
          </p:cNvPr>
          <p:cNvSpPr txBox="1">
            <a:spLocks/>
          </p:cNvSpPr>
          <p:nvPr/>
        </p:nvSpPr>
        <p:spPr>
          <a:xfrm>
            <a:off x="188958" y="4580626"/>
            <a:ext cx="8050256" cy="386212"/>
          </a:xfrm>
          <a:prstGeom prst="rect">
            <a:avLst/>
          </a:prstGeom>
        </p:spPr>
        <p:txBody>
          <a:bodyPr vert="horz" lIns="91440" tIns="45720" rIns="91440" bIns="45720" rtlCol="0" anchor="b" anchorCtr="0">
            <a:normAutofit/>
          </a:bodyPr>
          <a:lstStyle>
            <a:lvl1pPr marL="0" indent="0" algn="r" defTabSz="914400" rtl="0" eaLnBrk="1" latinLnBrk="0" hangingPunct="1">
              <a:lnSpc>
                <a:spcPct val="90000"/>
              </a:lnSpc>
              <a:spcBef>
                <a:spcPts val="1000"/>
              </a:spcBef>
              <a:buFont typeface="Arial" panose="020B0604020202020204" pitchFamily="34" charset="0"/>
              <a:buNone/>
              <a:defRPr sz="1800" b="0" kern="1200">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20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1. Wolff AC, et al. J Clin Oncol. 2018;36(20):2105-2122. 2. </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Приводится с разрешения авторов клинических рекомендаций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NCCN </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в области онкологии по диагностике и лечению инвазивного рака молочной железы версии 2. 2023. © Национальная сеть многопрофильных онкологических учреждений США, Инк. 2023. Все права защищены. По состоянию на </a:t>
            </a:r>
            <a:r>
              <a:rPr lang="ru-RU" sz="600" dirty="0">
                <a:solidFill>
                  <a:srgbClr val="000000"/>
                </a:solidFill>
              </a:rPr>
              <a:t>7.02.</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2023 г.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3. Gutierrez C, Schiff R. Arch </a:t>
            </a:r>
            <a:r>
              <a:rPr kumimoji="0" lang="en-US" sz="600" b="0" i="0" u="none" strike="noStrike" kern="1200" cap="none" spc="0" normalizeH="0" baseline="0" noProof="0" dirty="0" err="1">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Pathol</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 Lab Med. 2011;135(1):55-62. 4. Cardoso F et al. Ann Oncol. 2019;30(8):1194-1220. 5. Cardoso F et al. Ann Oncol. 2020;31(12):1623-1649. 6. Horii R, et al. Breast Cancer. 2016;23(3):391-399. </a:t>
            </a:r>
          </a:p>
        </p:txBody>
      </p:sp>
    </p:spTree>
    <p:extLst>
      <p:ext uri="{BB962C8B-B14F-4D97-AF65-F5344CB8AC3E}">
        <p14:creationId xmlns:p14="http://schemas.microsoft.com/office/powerpoint/2010/main" val="4290883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D90CD0C-86A2-4696-8295-511DF309EBB1}"/>
              </a:ext>
            </a:extLst>
          </p:cNvPr>
          <p:cNvSpPr>
            <a:spLocks noGrp="1"/>
          </p:cNvSpPr>
          <p:nvPr>
            <p:ph type="title"/>
          </p:nvPr>
        </p:nvSpPr>
        <p:spPr/>
        <p:txBody>
          <a:bodyPr/>
          <a:lstStyle/>
          <a:p>
            <a:pPr marL="342900">
              <a:lnSpc>
                <a:spcPct val="107000"/>
              </a:lnSpc>
              <a:spcAft>
                <a:spcPts val="600"/>
              </a:spcAft>
            </a:pPr>
            <a:r>
              <a:rPr lang="ru-RU" dirty="0"/>
              <a:t>Основы морфологической диагностики РМЖ*</a:t>
            </a:r>
          </a:p>
        </p:txBody>
      </p:sp>
      <p:sp>
        <p:nvSpPr>
          <p:cNvPr id="6" name="TextBox 5">
            <a:extLst>
              <a:ext uri="{FF2B5EF4-FFF2-40B4-BE49-F238E27FC236}">
                <a16:creationId xmlns:a16="http://schemas.microsoft.com/office/drawing/2014/main" xmlns="" id="{DC366906-F454-41F8-BC9C-A056E9F4BF75}"/>
              </a:ext>
            </a:extLst>
          </p:cNvPr>
          <p:cNvSpPr txBox="1"/>
          <p:nvPr/>
        </p:nvSpPr>
        <p:spPr>
          <a:xfrm>
            <a:off x="673662" y="1945396"/>
            <a:ext cx="5711952" cy="2531462"/>
          </a:xfrm>
          <a:prstGeom prst="rect">
            <a:avLst/>
          </a:prstGeom>
          <a:noFill/>
        </p:spPr>
        <p:txBody>
          <a:bodyPr wrap="square">
            <a:spAutoFit/>
          </a:bodyPr>
          <a:lstStyle/>
          <a:p>
            <a:r>
              <a:rPr lang="ru-RU" sz="1350" b="1" i="1" dirty="0">
                <a:solidFill>
                  <a:srgbClr val="EE7722"/>
                </a:solidFill>
              </a:rPr>
              <a:t>Общие принципы:</a:t>
            </a:r>
          </a:p>
          <a:p>
            <a:pPr marL="285750" indent="-285750">
              <a:buClr>
                <a:schemeClr val="accent3">
                  <a:lumMod val="60000"/>
                  <a:lumOff val="40000"/>
                </a:schemeClr>
              </a:buClr>
              <a:buFont typeface="Wingdings" panose="05000000000000000000" pitchFamily="2" charset="2"/>
              <a:buChar char="Ø"/>
            </a:pPr>
            <a:endParaRPr lang="ru-RU" i="1" dirty="0"/>
          </a:p>
          <a:p>
            <a:pPr marL="285750" indent="-285750">
              <a:buClr>
                <a:schemeClr val="accent3">
                  <a:lumMod val="60000"/>
                  <a:lumOff val="40000"/>
                </a:schemeClr>
              </a:buClr>
              <a:buFont typeface="Wingdings" panose="05000000000000000000" pitchFamily="2" charset="2"/>
              <a:buChar char="Ø"/>
            </a:pPr>
            <a:r>
              <a:rPr lang="ru-RU" baseline="30000" dirty="0">
                <a:latin typeface="Calibri" panose="020F0502020204030204" pitchFamily="34" charset="0"/>
                <a:cs typeface="Times New Roman" panose="02020603050405020304" pitchFamily="18" charset="0"/>
              </a:rPr>
              <a:t>Биопсия проводится под контролем пальца или под УЗИ-контролем</a:t>
            </a:r>
          </a:p>
          <a:p>
            <a:pPr marL="285750" indent="-285750">
              <a:buClr>
                <a:schemeClr val="accent3">
                  <a:lumMod val="60000"/>
                  <a:lumOff val="40000"/>
                </a:schemeClr>
              </a:buClr>
              <a:buFont typeface="Wingdings" panose="05000000000000000000" pitchFamily="2" charset="2"/>
              <a:buChar char="Ø"/>
            </a:pPr>
            <a:r>
              <a:rPr lang="ru-RU" baseline="30000" dirty="0">
                <a:latin typeface="Calibri" panose="020F0502020204030204" pitchFamily="34" charset="0"/>
                <a:cs typeface="Times New Roman" panose="02020603050405020304" pitchFamily="18" charset="0"/>
              </a:rPr>
              <a:t>Для уточнения участка для биопсии используются стереотаксические снимки молочной железы в разных плоскостях, полученные при маммографии </a:t>
            </a:r>
          </a:p>
          <a:p>
            <a:pPr marL="285750" indent="-285750">
              <a:buClr>
                <a:schemeClr val="accent3">
                  <a:lumMod val="60000"/>
                  <a:lumOff val="40000"/>
                </a:schemeClr>
              </a:buClr>
              <a:buFont typeface="Wingdings" panose="05000000000000000000" pitchFamily="2" charset="2"/>
              <a:buChar char="Ø"/>
            </a:pPr>
            <a:r>
              <a:rPr lang="ru-RU" baseline="30000" dirty="0" err="1">
                <a:latin typeface="Calibri" panose="020F0502020204030204" pitchFamily="34" charset="0"/>
                <a:cs typeface="Times New Roman" panose="02020603050405020304" pitchFamily="18" charset="0"/>
              </a:rPr>
              <a:t>Трепанобиопсия</a:t>
            </a:r>
            <a:r>
              <a:rPr lang="ru-RU" baseline="30000" dirty="0">
                <a:latin typeface="Calibri" panose="020F0502020204030204" pitchFamily="34" charset="0"/>
                <a:cs typeface="Times New Roman" panose="02020603050405020304" pitchFamily="18" charset="0"/>
              </a:rPr>
              <a:t> также может проводиться под контролем маммографии, МРТ или УЗИ.</a:t>
            </a:r>
          </a:p>
          <a:p>
            <a:pPr marL="285750" indent="-285750">
              <a:buClr>
                <a:schemeClr val="accent3">
                  <a:lumMod val="60000"/>
                  <a:lumOff val="40000"/>
                </a:schemeClr>
              </a:buClr>
              <a:buFont typeface="Wingdings" panose="05000000000000000000" pitchFamily="2" charset="2"/>
              <a:buChar char="Ø"/>
            </a:pPr>
            <a:r>
              <a:rPr lang="ru-RU" baseline="30000" dirty="0">
                <a:latin typeface="Calibri" panose="020F0502020204030204" pitchFamily="34" charset="0"/>
                <a:cs typeface="Times New Roman" panose="02020603050405020304" pitchFamily="18" charset="0"/>
              </a:rPr>
              <a:t>После забора материала ткань следует немедленно поместить в 10% рН-нейтральный забуференный формалин. Оптимальной время фиксации - 6-8 часов.</a:t>
            </a:r>
          </a:p>
          <a:p>
            <a:pPr marL="285750" indent="-285750">
              <a:buClr>
                <a:schemeClr val="accent3">
                  <a:lumMod val="60000"/>
                  <a:lumOff val="40000"/>
                </a:schemeClr>
              </a:buClr>
              <a:buFont typeface="Wingdings" panose="05000000000000000000" pitchFamily="2" charset="2"/>
              <a:buChar char="Ø"/>
            </a:pPr>
            <a:r>
              <a:rPr lang="ru-RU" baseline="30000" dirty="0">
                <a:latin typeface="Calibri" panose="020F0502020204030204" pitchFamily="34" charset="0"/>
                <a:cs typeface="Times New Roman" panose="02020603050405020304" pitchFamily="18" charset="0"/>
              </a:rPr>
              <a:t>Макроскопическое описание должно отражать количество </a:t>
            </a:r>
            <a:r>
              <a:rPr lang="ru-RU" baseline="30000" dirty="0" err="1">
                <a:latin typeface="Calibri" panose="020F0502020204030204" pitchFamily="34" charset="0"/>
                <a:cs typeface="Times New Roman" panose="02020603050405020304" pitchFamily="18" charset="0"/>
              </a:rPr>
              <a:t>биоптатов</a:t>
            </a:r>
            <a:r>
              <a:rPr lang="ru-RU" baseline="30000" dirty="0">
                <a:latin typeface="Calibri" panose="020F0502020204030204" pitchFamily="34" charset="0"/>
                <a:cs typeface="Times New Roman" panose="02020603050405020304" pitchFamily="18" charset="0"/>
              </a:rPr>
              <a:t>, размер, цвет.</a:t>
            </a:r>
            <a:endParaRPr lang="en-GB" baseline="30000" dirty="0">
              <a:latin typeface="Calibri" panose="020F0502020204030204" pitchFamily="34" charset="0"/>
              <a:cs typeface="Times New Roman" panose="02020603050405020304" pitchFamily="18" charset="0"/>
            </a:endParaRPr>
          </a:p>
          <a:p>
            <a:endParaRPr lang="ru-RU" sz="1050" baseline="30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xmlns="" id="{6B8A2DF4-690F-4D1F-A7E4-7C6241FCF135}"/>
              </a:ext>
            </a:extLst>
          </p:cNvPr>
          <p:cNvSpPr txBox="1"/>
          <p:nvPr/>
        </p:nvSpPr>
        <p:spPr>
          <a:xfrm>
            <a:off x="162546" y="594484"/>
            <a:ext cx="8457931" cy="1184940"/>
          </a:xfrm>
          <a:prstGeom prst="rect">
            <a:avLst/>
          </a:prstGeom>
          <a:noFill/>
        </p:spPr>
        <p:txBody>
          <a:bodyPr wrap="square" rtlCol="0">
            <a:spAutoFit/>
          </a:bodyPr>
          <a:lstStyle/>
          <a:p>
            <a:pPr>
              <a:spcAft>
                <a:spcPts val="600"/>
              </a:spcAft>
            </a:pPr>
            <a:r>
              <a:rPr lang="ru-RU" sz="1950" b="1" dirty="0">
                <a:solidFill>
                  <a:schemeClr val="accent1">
                    <a:lumMod val="50000"/>
                    <a:lumOff val="50000"/>
                  </a:schemeClr>
                </a:solidFill>
              </a:rPr>
              <a:t>Для постановки диагноза необходимо получение образца опухоли для гистологического исследования:</a:t>
            </a:r>
          </a:p>
          <a:p>
            <a:pPr marL="214313" indent="-214313">
              <a:buClr>
                <a:schemeClr val="accent3">
                  <a:lumMod val="75000"/>
                </a:schemeClr>
              </a:buClr>
              <a:buFont typeface="Arial" panose="020B0604020202020204" pitchFamily="34" charset="0"/>
              <a:buChar char="•"/>
            </a:pPr>
            <a:r>
              <a:rPr lang="ru-RU" sz="1350" b="1" dirty="0" err="1">
                <a:solidFill>
                  <a:srgbClr val="002060"/>
                </a:solidFill>
              </a:rPr>
              <a:t>Толстоигольная</a:t>
            </a:r>
            <a:r>
              <a:rPr lang="ru-RU" sz="1350" b="1" dirty="0">
                <a:solidFill>
                  <a:srgbClr val="002060"/>
                </a:solidFill>
              </a:rPr>
              <a:t> аспирационная биопсия  (ТАБ)</a:t>
            </a:r>
            <a:endParaRPr lang="en-US" sz="1350" b="1" dirty="0">
              <a:solidFill>
                <a:srgbClr val="002060"/>
              </a:solidFill>
            </a:endParaRPr>
          </a:p>
          <a:p>
            <a:pPr marL="214313" indent="-214313">
              <a:buClr>
                <a:schemeClr val="accent3">
                  <a:lumMod val="75000"/>
                </a:schemeClr>
              </a:buClr>
              <a:buFont typeface="Arial" panose="020B0604020202020204" pitchFamily="34" charset="0"/>
              <a:buChar char="•"/>
            </a:pPr>
            <a:r>
              <a:rPr lang="ru-RU" sz="1350" b="1" dirty="0">
                <a:solidFill>
                  <a:srgbClr val="002060"/>
                </a:solidFill>
              </a:rPr>
              <a:t>Биопсия толстой иглой - </a:t>
            </a:r>
            <a:r>
              <a:rPr lang="ru-RU" sz="1350" b="1" dirty="0" err="1">
                <a:solidFill>
                  <a:srgbClr val="002060"/>
                </a:solidFill>
              </a:rPr>
              <a:t>трепанобиопсия</a:t>
            </a:r>
            <a:r>
              <a:rPr lang="ru-RU" sz="1350" b="1" dirty="0">
                <a:solidFill>
                  <a:srgbClr val="002060"/>
                </a:solidFill>
              </a:rPr>
              <a:t>  (ТБ)</a:t>
            </a:r>
            <a:endParaRPr lang="en-US" sz="1350" dirty="0">
              <a:solidFill>
                <a:schemeClr val="accent1">
                  <a:lumMod val="50000"/>
                  <a:lumOff val="50000"/>
                </a:schemeClr>
              </a:solidFill>
            </a:endParaRPr>
          </a:p>
        </p:txBody>
      </p:sp>
      <p:pic>
        <p:nvPicPr>
          <p:cNvPr id="15" name="Picture 2">
            <a:extLst>
              <a:ext uri="{FF2B5EF4-FFF2-40B4-BE49-F238E27FC236}">
                <a16:creationId xmlns:a16="http://schemas.microsoft.com/office/drawing/2014/main" xmlns="" id="{F699E34B-1B90-49F6-90BF-D5CD0D3E6DA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4561" t="38619" r="28298" b="23135"/>
          <a:stretch/>
        </p:blipFill>
        <p:spPr bwMode="auto">
          <a:xfrm>
            <a:off x="6726882" y="963647"/>
            <a:ext cx="1812986" cy="1656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a:extLst>
              <a:ext uri="{FF2B5EF4-FFF2-40B4-BE49-F238E27FC236}">
                <a16:creationId xmlns:a16="http://schemas.microsoft.com/office/drawing/2014/main" xmlns="" id="{C9A06B58-30EB-4AF3-AD60-1B3A3BB625C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4282" t="35687" r="26399" b="26865"/>
          <a:stretch/>
        </p:blipFill>
        <p:spPr bwMode="auto">
          <a:xfrm>
            <a:off x="6726883" y="2622456"/>
            <a:ext cx="2102792" cy="1463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7">
            <a:extLst>
              <a:ext uri="{FF2B5EF4-FFF2-40B4-BE49-F238E27FC236}">
                <a16:creationId xmlns:a16="http://schemas.microsoft.com/office/drawing/2014/main" xmlns="" id="{2CA802D8-D7AB-4C44-9FE7-19CA810A1D30}"/>
              </a:ext>
            </a:extLst>
          </p:cNvPr>
          <p:cNvPicPr>
            <a:picLocks noChangeAspect="1"/>
          </p:cNvPicPr>
          <p:nvPr/>
        </p:nvPicPr>
        <p:blipFill>
          <a:blip r:embed="rId5"/>
          <a:stretch>
            <a:fillRect/>
          </a:stretch>
        </p:blipFill>
        <p:spPr>
          <a:xfrm>
            <a:off x="6385615" y="3609499"/>
            <a:ext cx="938713" cy="952936"/>
          </a:xfrm>
          <a:prstGeom prst="rect">
            <a:avLst/>
          </a:prstGeom>
        </p:spPr>
      </p:pic>
      <p:sp>
        <p:nvSpPr>
          <p:cNvPr id="10" name="TextBox 9">
            <a:extLst>
              <a:ext uri="{FF2B5EF4-FFF2-40B4-BE49-F238E27FC236}">
                <a16:creationId xmlns:a16="http://schemas.microsoft.com/office/drawing/2014/main" xmlns="" id="{D2593BBF-2FCC-4682-B928-0B9A52F97DC1}"/>
              </a:ext>
            </a:extLst>
          </p:cNvPr>
          <p:cNvSpPr txBox="1"/>
          <p:nvPr/>
        </p:nvSpPr>
        <p:spPr>
          <a:xfrm>
            <a:off x="254420" y="4335613"/>
            <a:ext cx="4117563" cy="213403"/>
          </a:xfrm>
          <a:prstGeom prst="rect">
            <a:avLst/>
          </a:prstGeom>
          <a:noFill/>
        </p:spPr>
        <p:txBody>
          <a:bodyPr wrap="none" rtlCol="0">
            <a:noAutofit/>
          </a:bodyPr>
          <a:lstStyle/>
          <a:p>
            <a:pPr algn="l">
              <a:lnSpc>
                <a:spcPct val="90000"/>
              </a:lnSpc>
              <a:spcAft>
                <a:spcPts val="600"/>
              </a:spcAft>
            </a:pPr>
            <a:r>
              <a:rPr lang="ru-RU" sz="1050" i="1" dirty="0">
                <a:solidFill>
                  <a:schemeClr val="tx1">
                    <a:lumMod val="50000"/>
                    <a:lumOff val="50000"/>
                  </a:schemeClr>
                </a:solidFill>
              </a:rPr>
              <a:t>*РМЖ – Рак Молочной Железы</a:t>
            </a:r>
          </a:p>
        </p:txBody>
      </p:sp>
      <p:sp>
        <p:nvSpPr>
          <p:cNvPr id="2" name="TextBox 1">
            <a:extLst>
              <a:ext uri="{FF2B5EF4-FFF2-40B4-BE49-F238E27FC236}">
                <a16:creationId xmlns:a16="http://schemas.microsoft.com/office/drawing/2014/main" xmlns="" id="{215BF92C-51B2-BE5E-C02A-62E38A162A40}"/>
              </a:ext>
            </a:extLst>
          </p:cNvPr>
          <p:cNvSpPr txBox="1"/>
          <p:nvPr/>
        </p:nvSpPr>
        <p:spPr>
          <a:xfrm>
            <a:off x="162546" y="4781329"/>
            <a:ext cx="6094070" cy="276999"/>
          </a:xfrm>
          <a:prstGeom prst="rect">
            <a:avLst/>
          </a:prstGeom>
          <a:noFill/>
        </p:spPr>
        <p:txBody>
          <a:bodyPr wrap="square">
            <a:spAutoFit/>
          </a:bodyPr>
          <a:lstStyle/>
          <a:p>
            <a:pPr defTabSz="905622">
              <a:defRPr/>
            </a:pPr>
            <a:r>
              <a:rPr lang="en-GB" sz="600" dirty="0">
                <a:cs typeface="Arial" panose="020B0604020202020204" pitchFamily="34" charset="0"/>
              </a:rPr>
              <a:t>American Cancer Society. For women facing a breast biopsy. </a:t>
            </a:r>
            <a:r>
              <a:rPr lang="ru-RU" sz="600" dirty="0">
                <a:cs typeface="Arial" panose="020B0604020202020204" pitchFamily="34" charset="0"/>
              </a:rPr>
              <a:t>Электронный ресурс: </a:t>
            </a:r>
            <a:r>
              <a:rPr lang="en-GB" sz="600" dirty="0">
                <a:cs typeface="Arial" panose="020B0604020202020204" pitchFamily="34" charset="0"/>
                <a:hlinkClick r:id="rId6"/>
              </a:rPr>
              <a:t>http://www.cancer.org/treatment/understandingyourdiagnosis/examsandtestdescriptions/forwomenfacingabreastbiopsy/breast-biopsy-pdf</a:t>
            </a:r>
            <a:r>
              <a:rPr lang="en-GB" sz="600" dirty="0">
                <a:cs typeface="Arial" panose="020B0604020202020204" pitchFamily="34" charset="0"/>
              </a:rPr>
              <a:t> </a:t>
            </a:r>
            <a:r>
              <a:rPr lang="en-GB" sz="600" dirty="0">
                <a:ea typeface="MS Mincho"/>
                <a:cs typeface="Arial" panose="020B0604020202020204" pitchFamily="34" charset="0"/>
              </a:rPr>
              <a:t>(</a:t>
            </a:r>
            <a:r>
              <a:rPr lang="ru-RU" sz="600" dirty="0">
                <a:ea typeface="MS Mincho"/>
                <a:cs typeface="Arial" panose="020B0604020202020204" pitchFamily="34" charset="0"/>
              </a:rPr>
              <a:t>дата обращения 22.03.2023</a:t>
            </a:r>
            <a:r>
              <a:rPr lang="en-GB" sz="600" dirty="0">
                <a:ea typeface="MS Mincho"/>
                <a:cs typeface="Arial" panose="020B0604020202020204" pitchFamily="34" charset="0"/>
              </a:rPr>
              <a:t>).</a:t>
            </a:r>
          </a:p>
        </p:txBody>
      </p:sp>
    </p:spTree>
    <p:extLst>
      <p:ext uri="{BB962C8B-B14F-4D97-AF65-F5344CB8AC3E}">
        <p14:creationId xmlns:p14="http://schemas.microsoft.com/office/powerpoint/2010/main" val="1320470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D90CD0C-86A2-4696-8295-511DF309EBB1}"/>
              </a:ext>
            </a:extLst>
          </p:cNvPr>
          <p:cNvSpPr>
            <a:spLocks noGrp="1"/>
          </p:cNvSpPr>
          <p:nvPr>
            <p:ph type="title"/>
          </p:nvPr>
        </p:nvSpPr>
        <p:spPr>
          <a:xfrm>
            <a:off x="-11351" y="141305"/>
            <a:ext cx="8765651" cy="504000"/>
          </a:xfrm>
        </p:spPr>
        <p:txBody>
          <a:bodyPr/>
          <a:lstStyle/>
          <a:p>
            <a:pPr marL="342900">
              <a:lnSpc>
                <a:spcPct val="107000"/>
              </a:lnSpc>
              <a:spcAft>
                <a:spcPts val="600"/>
              </a:spcAft>
            </a:pPr>
            <a:r>
              <a:rPr lang="ru-RU" dirty="0"/>
              <a:t>Что происходит в ПАО?</a:t>
            </a:r>
          </a:p>
        </p:txBody>
      </p:sp>
      <p:sp>
        <p:nvSpPr>
          <p:cNvPr id="6" name="TextBox 5">
            <a:extLst>
              <a:ext uri="{FF2B5EF4-FFF2-40B4-BE49-F238E27FC236}">
                <a16:creationId xmlns:a16="http://schemas.microsoft.com/office/drawing/2014/main" xmlns="" id="{DC366906-F454-41F8-BC9C-A056E9F4BF75}"/>
              </a:ext>
            </a:extLst>
          </p:cNvPr>
          <p:cNvSpPr txBox="1"/>
          <p:nvPr/>
        </p:nvSpPr>
        <p:spPr>
          <a:xfrm>
            <a:off x="304800" y="1353623"/>
            <a:ext cx="5616806" cy="2246769"/>
          </a:xfrm>
          <a:prstGeom prst="rect">
            <a:avLst/>
          </a:prstGeom>
          <a:noFill/>
        </p:spPr>
        <p:txBody>
          <a:bodyPr wrap="square">
            <a:spAutoFit/>
          </a:bodyPr>
          <a:lstStyle/>
          <a:p>
            <a:pPr>
              <a:spcAft>
                <a:spcPts val="600"/>
              </a:spcAft>
            </a:pPr>
            <a:r>
              <a:rPr lang="ru-RU" sz="1350" b="1" dirty="0">
                <a:solidFill>
                  <a:srgbClr val="EE7722"/>
                </a:solidFill>
              </a:rPr>
              <a:t>Морфологические параметры, оцениваемые в </a:t>
            </a:r>
            <a:r>
              <a:rPr lang="ru-RU" sz="1350" b="1" dirty="0" err="1">
                <a:solidFill>
                  <a:srgbClr val="EE7722"/>
                </a:solidFill>
              </a:rPr>
              <a:t>биопсийном</a:t>
            </a:r>
            <a:r>
              <a:rPr lang="ru-RU" sz="1350" b="1" dirty="0">
                <a:solidFill>
                  <a:srgbClr val="EE7722"/>
                </a:solidFill>
              </a:rPr>
              <a:t> материале:</a:t>
            </a:r>
            <a:endParaRPr lang="ru-RU" sz="1350" b="1" i="1" dirty="0">
              <a:solidFill>
                <a:srgbClr val="EE7722"/>
              </a:solidFill>
            </a:endParaRPr>
          </a:p>
          <a:p>
            <a:r>
              <a:rPr lang="ru-RU" sz="1350" i="1" u="sng" dirty="0"/>
              <a:t>1 этап: гистологическое исследование (3 дня)</a:t>
            </a:r>
          </a:p>
          <a:p>
            <a:endParaRPr lang="ru-RU" sz="1350" i="1" dirty="0"/>
          </a:p>
          <a:p>
            <a:r>
              <a:rPr lang="ru-RU" sz="1350" i="1" dirty="0"/>
              <a:t>Светооптический уровень гематоксилин</a:t>
            </a:r>
            <a:r>
              <a:rPr lang="en-US" sz="1350" i="1" dirty="0"/>
              <a:t>/’</a:t>
            </a:r>
            <a:r>
              <a:rPr lang="ru-RU" sz="1350" i="1" dirty="0"/>
              <a:t>эозин </a:t>
            </a:r>
          </a:p>
          <a:p>
            <a:pPr marL="214313" indent="-214313">
              <a:buFont typeface="Wingdings" panose="05000000000000000000" pitchFamily="2" charset="2"/>
              <a:buChar char="Ø"/>
            </a:pPr>
            <a:r>
              <a:rPr lang="ru-RU" sz="1350" dirty="0"/>
              <a:t>Т – гистологический тип;</a:t>
            </a:r>
          </a:p>
          <a:p>
            <a:pPr marL="214313" indent="-214313">
              <a:buFont typeface="Wingdings" panose="05000000000000000000" pitchFamily="2" charset="2"/>
              <a:buChar char="Ø"/>
            </a:pPr>
            <a:r>
              <a:rPr lang="en-US" sz="1350" dirty="0"/>
              <a:t>G</a:t>
            </a:r>
            <a:r>
              <a:rPr lang="ru-RU" sz="1350" dirty="0"/>
              <a:t> – степень злокачественности (в инвазивном компоненте);</a:t>
            </a:r>
          </a:p>
          <a:p>
            <a:pPr marL="214313" indent="-214313">
              <a:buFont typeface="Wingdings" panose="05000000000000000000" pitchFamily="2" charset="2"/>
              <a:buChar char="Ø"/>
            </a:pPr>
            <a:r>
              <a:rPr lang="ru-RU" sz="1350" dirty="0" err="1"/>
              <a:t>Эмболы</a:t>
            </a:r>
            <a:r>
              <a:rPr lang="ru-RU" sz="1350" dirty="0"/>
              <a:t> – </a:t>
            </a:r>
            <a:r>
              <a:rPr lang="ru-RU" sz="1350" dirty="0" err="1"/>
              <a:t>перитуморальная</a:t>
            </a:r>
            <a:r>
              <a:rPr lang="ru-RU" sz="1350" dirty="0"/>
              <a:t> сосудистая инвазия;</a:t>
            </a:r>
          </a:p>
          <a:p>
            <a:pPr marL="214313" indent="-214313">
              <a:buFont typeface="Wingdings" panose="05000000000000000000" pitchFamily="2" charset="2"/>
              <a:buChar char="Ø"/>
            </a:pPr>
            <a:r>
              <a:rPr lang="ru-RU" sz="1350" dirty="0"/>
              <a:t>Гистологическая градация клеток РМЖ (степень дифференцировки)</a:t>
            </a:r>
          </a:p>
        </p:txBody>
      </p:sp>
      <p:sp>
        <p:nvSpPr>
          <p:cNvPr id="17" name="TextBox 16">
            <a:extLst>
              <a:ext uri="{FF2B5EF4-FFF2-40B4-BE49-F238E27FC236}">
                <a16:creationId xmlns:a16="http://schemas.microsoft.com/office/drawing/2014/main" xmlns="" id="{3FE3EBA6-F1DF-4B37-8604-47C7C9BB533F}"/>
              </a:ext>
            </a:extLst>
          </p:cNvPr>
          <p:cNvSpPr txBox="1"/>
          <p:nvPr/>
        </p:nvSpPr>
        <p:spPr>
          <a:xfrm>
            <a:off x="4886356" y="189998"/>
            <a:ext cx="4166558" cy="478849"/>
          </a:xfrm>
          <a:prstGeom prst="rect">
            <a:avLst/>
          </a:prstGeom>
          <a:noFill/>
        </p:spPr>
        <p:txBody>
          <a:bodyPr wrap="square">
            <a:spAutoFit/>
          </a:bodyPr>
          <a:lstStyle/>
          <a:p>
            <a:pPr marL="685800">
              <a:lnSpc>
                <a:spcPct val="107000"/>
              </a:lnSpc>
            </a:pPr>
            <a:r>
              <a:rPr lang="ru-RU" sz="1200" i="1" dirty="0">
                <a:latin typeface="Calibri" panose="020F0502020204030204" pitchFamily="34" charset="0"/>
                <a:ea typeface="Calibri" panose="020F0502020204030204" pitchFamily="34" charset="0"/>
                <a:cs typeface="Times New Roman" panose="02020603050405020304" pitchFamily="18" charset="0"/>
              </a:rPr>
              <a:t>РМЖ –  рак молочной железы</a:t>
            </a:r>
          </a:p>
          <a:p>
            <a:pPr marL="685800">
              <a:lnSpc>
                <a:spcPct val="107000"/>
              </a:lnSpc>
            </a:pPr>
            <a:r>
              <a:rPr lang="ru-RU" sz="1200" i="1" dirty="0">
                <a:latin typeface="Calibri" panose="020F0502020204030204" pitchFamily="34" charset="0"/>
                <a:ea typeface="Calibri" panose="020F0502020204030204" pitchFamily="34" charset="0"/>
                <a:cs typeface="Times New Roman" panose="02020603050405020304" pitchFamily="18" charset="0"/>
              </a:rPr>
              <a:t>ПАО – патологоанатомическое отделение </a:t>
            </a:r>
          </a:p>
        </p:txBody>
      </p:sp>
      <p:pic>
        <p:nvPicPr>
          <p:cNvPr id="12" name="Picture 11">
            <a:extLst>
              <a:ext uri="{FF2B5EF4-FFF2-40B4-BE49-F238E27FC236}">
                <a16:creationId xmlns:a16="http://schemas.microsoft.com/office/drawing/2014/main" xmlns="" id="{8198C438-654B-4338-A387-9C5B1CB0A381}"/>
              </a:ext>
            </a:extLst>
          </p:cNvPr>
          <p:cNvPicPr>
            <a:picLocks noChangeAspect="1"/>
          </p:cNvPicPr>
          <p:nvPr/>
        </p:nvPicPr>
        <p:blipFill>
          <a:blip r:embed="rId3"/>
          <a:stretch>
            <a:fillRect/>
          </a:stretch>
        </p:blipFill>
        <p:spPr>
          <a:xfrm>
            <a:off x="6168370" y="1297045"/>
            <a:ext cx="2884544" cy="3216897"/>
          </a:xfrm>
          <a:prstGeom prst="rect">
            <a:avLst/>
          </a:prstGeom>
        </p:spPr>
      </p:pic>
      <p:sp>
        <p:nvSpPr>
          <p:cNvPr id="14" name="TextBox 13">
            <a:extLst>
              <a:ext uri="{FF2B5EF4-FFF2-40B4-BE49-F238E27FC236}">
                <a16:creationId xmlns:a16="http://schemas.microsoft.com/office/drawing/2014/main" xmlns="" id="{5F852C3F-CAEC-4280-8D16-4A59C96C7D64}"/>
              </a:ext>
            </a:extLst>
          </p:cNvPr>
          <p:cNvSpPr txBox="1"/>
          <p:nvPr/>
        </p:nvSpPr>
        <p:spPr>
          <a:xfrm>
            <a:off x="53676" y="4664840"/>
            <a:ext cx="8060195" cy="461665"/>
          </a:xfrm>
          <a:prstGeom prst="rect">
            <a:avLst/>
          </a:prstGeom>
          <a:noFill/>
        </p:spPr>
        <p:txBody>
          <a:bodyPr wrap="square">
            <a:spAutoFit/>
          </a:bodyPr>
          <a:lstStyle/>
          <a:p>
            <a:pPr defTabSz="679217">
              <a:defRPr/>
            </a:pPr>
            <a:r>
              <a:rPr lang="en-GB" sz="600" dirty="0"/>
              <a:t>Decision Resources, Breast Cancer August 2013</a:t>
            </a:r>
          </a:p>
          <a:p>
            <a:pPr defTabSz="679217">
              <a:defRPr/>
            </a:pPr>
            <a:r>
              <a:rPr lang="en-US" sz="600" dirty="0">
                <a:solidFill>
                  <a:srgbClr val="000000"/>
                </a:solidFill>
              </a:rPr>
              <a:t>National cancer institute (an official website of the United States government) </a:t>
            </a:r>
            <a:r>
              <a:rPr lang="en-GB" sz="600" dirty="0" err="1">
                <a:solidFill>
                  <a:srgbClr val="000000"/>
                </a:solidFill>
              </a:rPr>
              <a:t>Tumor</a:t>
            </a:r>
            <a:r>
              <a:rPr lang="en-GB" sz="600" dirty="0">
                <a:solidFill>
                  <a:srgbClr val="000000"/>
                </a:solidFill>
              </a:rPr>
              <a:t> Grade </a:t>
            </a:r>
            <a:r>
              <a:rPr lang="en-US" sz="600" dirty="0">
                <a:solidFill>
                  <a:srgbClr val="000000"/>
                </a:solidFill>
              </a:rPr>
              <a:t>(</a:t>
            </a:r>
            <a:r>
              <a:rPr lang="ru-RU" sz="600" dirty="0">
                <a:solidFill>
                  <a:srgbClr val="000000"/>
                </a:solidFill>
              </a:rPr>
              <a:t>электронный ресурс)</a:t>
            </a:r>
            <a:r>
              <a:rPr lang="en-US" sz="600" dirty="0">
                <a:solidFill>
                  <a:srgbClr val="000000"/>
                </a:solidFill>
              </a:rPr>
              <a:t> </a:t>
            </a:r>
            <a:r>
              <a:rPr lang="en-GB" sz="600" dirty="0">
                <a:solidFill>
                  <a:srgbClr val="000000"/>
                </a:solidFill>
                <a:hlinkClick r:id="rId4">
                  <a:extLst>
                    <a:ext uri="{A12FA001-AC4F-418D-AE19-62706E023703}">
                      <ahyp:hlinkClr xmlns:ahyp="http://schemas.microsoft.com/office/drawing/2018/hyperlinkcolor" xmlns="" val="tx"/>
                    </a:ext>
                  </a:extLst>
                </a:hlinkClick>
              </a:rPr>
              <a:t>www.cancer.gov/cancertopics/factsheet/detection/tumor-grade</a:t>
            </a:r>
            <a:r>
              <a:rPr lang="en-GB" sz="600" dirty="0">
                <a:solidFill>
                  <a:srgbClr val="000000"/>
                </a:solidFill>
              </a:rPr>
              <a:t> (</a:t>
            </a:r>
            <a:r>
              <a:rPr lang="ru-RU" sz="600" dirty="0">
                <a:solidFill>
                  <a:srgbClr val="000000"/>
                </a:solidFill>
              </a:rPr>
              <a:t>дата обращения 22.03.2023) </a:t>
            </a:r>
            <a:r>
              <a:rPr lang="en-GB" sz="600" dirty="0">
                <a:solidFill>
                  <a:srgbClr val="000000"/>
                </a:solidFill>
              </a:rPr>
              <a:t> </a:t>
            </a:r>
          </a:p>
          <a:p>
            <a:pPr defTabSz="679217">
              <a:defRPr/>
            </a:pPr>
            <a:r>
              <a:rPr lang="en-GB" sz="600" dirty="0">
                <a:cs typeface="Arial" panose="020B0604020202020204" pitchFamily="34" charset="0"/>
              </a:rPr>
              <a:t>American Cancer Society. Breast cancer. </a:t>
            </a:r>
            <a:r>
              <a:rPr lang="ru-RU" sz="600" dirty="0">
                <a:cs typeface="Arial" panose="020B0604020202020204" pitchFamily="34" charset="0"/>
              </a:rPr>
              <a:t>(электронный ресурс)</a:t>
            </a:r>
            <a:r>
              <a:rPr lang="en-GB" sz="600" dirty="0">
                <a:cs typeface="Arial" panose="020B0604020202020204" pitchFamily="34" charset="0"/>
              </a:rPr>
              <a:t>: </a:t>
            </a:r>
            <a:r>
              <a:rPr lang="en-GB" sz="600" dirty="0">
                <a:cs typeface="Arial" panose="020B0604020202020204" pitchFamily="34" charset="0"/>
                <a:hlinkClick r:id="rId5"/>
              </a:rPr>
              <a:t>http://www.cancer.org/cancer/breastcancer/detailedguide/breast-cancer-pdf2</a:t>
            </a:r>
            <a:r>
              <a:rPr lang="en-GB" sz="600" dirty="0">
                <a:cs typeface="Arial" panose="020B0604020202020204" pitchFamily="34" charset="0"/>
              </a:rPr>
              <a:t> </a:t>
            </a:r>
            <a:r>
              <a:rPr lang="en-GB" sz="600" dirty="0">
                <a:ea typeface="MS Mincho"/>
                <a:cs typeface="Arial" panose="020B0604020202020204" pitchFamily="34" charset="0"/>
              </a:rPr>
              <a:t>(</a:t>
            </a:r>
            <a:r>
              <a:rPr lang="ru-RU" sz="600" dirty="0">
                <a:ea typeface="MS Mincho"/>
                <a:cs typeface="Arial" panose="020B0604020202020204" pitchFamily="34" charset="0"/>
              </a:rPr>
              <a:t>дата обращения 22.03.2023</a:t>
            </a:r>
            <a:r>
              <a:rPr lang="en-GB" sz="600" dirty="0">
                <a:ea typeface="MS Mincho"/>
                <a:cs typeface="Arial" panose="020B0604020202020204" pitchFamily="34" charset="0"/>
              </a:rPr>
              <a:t>). </a:t>
            </a:r>
          </a:p>
          <a:p>
            <a:pPr defTabSz="679217">
              <a:defRPr/>
            </a:pPr>
            <a:r>
              <a:rPr lang="en-GB" sz="600" dirty="0">
                <a:ea typeface="MS Mincho"/>
                <a:cs typeface="Arial" panose="020B0604020202020204" pitchFamily="34" charset="0"/>
              </a:rPr>
              <a:t>Breastcancer.org. </a:t>
            </a:r>
            <a:r>
              <a:rPr lang="ru-RU" sz="600" dirty="0">
                <a:ea typeface="MS Mincho"/>
                <a:cs typeface="Arial" panose="020B0604020202020204" pitchFamily="34" charset="0"/>
              </a:rPr>
              <a:t>(электронный ресурс)</a:t>
            </a:r>
            <a:r>
              <a:rPr lang="en-GB" sz="600" dirty="0">
                <a:ea typeface="MS Mincho"/>
                <a:cs typeface="Arial" panose="020B0604020202020204" pitchFamily="34" charset="0"/>
              </a:rPr>
              <a:t>: </a:t>
            </a:r>
            <a:r>
              <a:rPr lang="en-GB" sz="600" dirty="0">
                <a:ea typeface="MS Mincho"/>
                <a:cs typeface="Arial" panose="020B0604020202020204" pitchFamily="34" charset="0"/>
                <a:hlinkClick r:id="rId6"/>
              </a:rPr>
              <a:t>http://www.breastcancer.org/symptoms/diagnosis/cell_grade</a:t>
            </a:r>
            <a:r>
              <a:rPr lang="en-GB" sz="600" dirty="0">
                <a:ea typeface="MS Mincho"/>
                <a:cs typeface="Arial" panose="020B0604020202020204" pitchFamily="34" charset="0"/>
              </a:rPr>
              <a:t> (</a:t>
            </a:r>
            <a:r>
              <a:rPr lang="ru-RU" sz="600" dirty="0">
                <a:ea typeface="MS Mincho"/>
                <a:cs typeface="Arial" panose="020B0604020202020204" pitchFamily="34" charset="0"/>
              </a:rPr>
              <a:t>дата обращения 22.03.2023</a:t>
            </a:r>
            <a:r>
              <a:rPr lang="en-GB" sz="600" dirty="0">
                <a:ea typeface="MS Mincho"/>
                <a:cs typeface="Arial" panose="020B0604020202020204" pitchFamily="34" charset="0"/>
              </a:rPr>
              <a:t>).</a:t>
            </a:r>
          </a:p>
        </p:txBody>
      </p:sp>
      <p:sp>
        <p:nvSpPr>
          <p:cNvPr id="20" name="Content Placeholder 2">
            <a:extLst>
              <a:ext uri="{FF2B5EF4-FFF2-40B4-BE49-F238E27FC236}">
                <a16:creationId xmlns:a16="http://schemas.microsoft.com/office/drawing/2014/main" xmlns="" id="{53265BEE-68A5-435B-8541-BD08EBD2FE9F}"/>
              </a:ext>
            </a:extLst>
          </p:cNvPr>
          <p:cNvSpPr txBox="1">
            <a:spLocks/>
          </p:cNvSpPr>
          <p:nvPr/>
        </p:nvSpPr>
        <p:spPr>
          <a:xfrm>
            <a:off x="432532" y="3564685"/>
            <a:ext cx="5735837" cy="966673"/>
          </a:xfrm>
          <a:noFill/>
          <a:ln>
            <a:noFill/>
          </a:ln>
          <a:effectLst>
            <a:outerShdw blurRad="107950" dist="12700" dir="5400000" algn="ctr">
              <a:srgbClr val="000000"/>
            </a:outerShdw>
          </a:effectLst>
        </p:spPr>
        <p:txBody>
          <a:bodyPr>
            <a:noAutofit/>
          </a:bodyPr>
          <a:lstStyle>
            <a:lvl1pPr marL="457178" indent="-457178" algn="l" defTabSz="609570" rtl="0" eaLnBrk="1" latinLnBrk="0" hangingPunct="1">
              <a:spcBef>
                <a:spcPct val="20000"/>
              </a:spcBef>
              <a:buFont typeface="Arial"/>
              <a:buChar char="•"/>
              <a:defRPr kumimoji="1"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kumimoji="1"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kumimoji="1"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9pPr>
          </a:lstStyle>
          <a:p>
            <a:pPr marL="0" indent="0" algn="r">
              <a:buNone/>
            </a:pPr>
            <a:r>
              <a:rPr lang="ru-RU" sz="1350" i="1" dirty="0">
                <a:solidFill>
                  <a:schemeClr val="accent1"/>
                </a:solidFill>
              </a:rPr>
              <a:t>Грейд опухоли (степень дифференцировки) может быть использован для определения потребности в дополнительном лечении после операции, и может помочь предсказать прогноз пациента.</a:t>
            </a:r>
            <a:r>
              <a:rPr lang="ru-RU" sz="1350" b="1" i="1" dirty="0">
                <a:solidFill>
                  <a:schemeClr val="accent1"/>
                </a:solidFill>
                <a:latin typeface="Calibri" panose="020F0502020204030204" pitchFamily="34" charset="0"/>
                <a:cs typeface="Calibri" panose="020F0502020204030204" pitchFamily="34" charset="0"/>
              </a:rPr>
              <a:t> </a:t>
            </a:r>
            <a:r>
              <a:rPr lang="ru-RU" sz="1350" b="1" i="1" dirty="0" err="1">
                <a:solidFill>
                  <a:schemeClr val="accent1"/>
                </a:solidFill>
                <a:latin typeface="Calibri" panose="020F0502020204030204" pitchFamily="34" charset="0"/>
                <a:cs typeface="Calibri" panose="020F0502020204030204" pitchFamily="34" charset="0"/>
              </a:rPr>
              <a:t>Микроинвазивная</a:t>
            </a:r>
            <a:r>
              <a:rPr lang="ru-RU" sz="1350" b="1" i="1" dirty="0">
                <a:solidFill>
                  <a:schemeClr val="accent1"/>
                </a:solidFill>
                <a:latin typeface="Calibri" panose="020F0502020204030204" pitchFamily="34" charset="0"/>
                <a:cs typeface="Calibri" panose="020F0502020204030204" pitchFamily="34" charset="0"/>
              </a:rPr>
              <a:t> карцинома не градируется.</a:t>
            </a:r>
            <a:endParaRPr lang="ru-RU" sz="1350" i="1" dirty="0">
              <a:solidFill>
                <a:schemeClr val="accent1"/>
              </a:solidFill>
            </a:endParaRPr>
          </a:p>
        </p:txBody>
      </p:sp>
      <p:sp>
        <p:nvSpPr>
          <p:cNvPr id="4" name="TextBox 3">
            <a:extLst>
              <a:ext uri="{FF2B5EF4-FFF2-40B4-BE49-F238E27FC236}">
                <a16:creationId xmlns:a16="http://schemas.microsoft.com/office/drawing/2014/main" xmlns="" id="{5F1176F2-F88A-4C99-9BC4-D170FA44B37C}"/>
              </a:ext>
            </a:extLst>
          </p:cNvPr>
          <p:cNvSpPr txBox="1"/>
          <p:nvPr/>
        </p:nvSpPr>
        <p:spPr>
          <a:xfrm>
            <a:off x="263147" y="712134"/>
            <a:ext cx="8060195" cy="507831"/>
          </a:xfrm>
          <a:prstGeom prst="rect">
            <a:avLst/>
          </a:prstGeom>
          <a:noFill/>
        </p:spPr>
        <p:txBody>
          <a:bodyPr wrap="square" rtlCol="0">
            <a:spAutoFit/>
          </a:bodyPr>
          <a:lstStyle/>
          <a:p>
            <a:r>
              <a:rPr lang="ru-RU" sz="1350" dirty="0"/>
              <a:t>Образец опухоли «берут в проводку»: проводят специальную обработку образца опухолевой ткани для дальнейшей морфологической диагностики и архивации</a:t>
            </a:r>
            <a:endParaRPr lang="en-US" sz="1350" dirty="0"/>
          </a:p>
        </p:txBody>
      </p:sp>
    </p:spTree>
    <p:extLst>
      <p:ext uri="{BB962C8B-B14F-4D97-AF65-F5344CB8AC3E}">
        <p14:creationId xmlns:p14="http://schemas.microsoft.com/office/powerpoint/2010/main" val="498757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Текст 2"/>
          <p:cNvSpPr>
            <a:spLocks noGrp="1"/>
          </p:cNvSpPr>
          <p:nvPr>
            <p:ph type="body" sz="quarter" idx="11"/>
          </p:nvPr>
        </p:nvSpPr>
        <p:spPr/>
        <p:txBody>
          <a:bodyPr/>
          <a:lstStyle/>
          <a:p>
            <a:endParaRPr lang="ru-RU"/>
          </a:p>
        </p:txBody>
      </p:sp>
      <p:sp>
        <p:nvSpPr>
          <p:cNvPr id="4" name="Текст 3"/>
          <p:cNvSpPr>
            <a:spLocks noGrp="1"/>
          </p:cNvSpPr>
          <p:nvPr>
            <p:ph type="body" sz="quarter" idx="12"/>
          </p:nvPr>
        </p:nvSpPr>
        <p:spPr>
          <a:xfrm>
            <a:off x="399911" y="4669154"/>
            <a:ext cx="6644564" cy="72645"/>
          </a:xfrm>
        </p:spPr>
        <p:txBody>
          <a:bodyPr/>
          <a:lstStyle/>
          <a:p>
            <a:endParaRPr lang="ru-RU" dirty="0"/>
          </a:p>
        </p:txBody>
      </p:sp>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5472" t="32187" r="8176" b="16226"/>
          <a:stretch/>
        </p:blipFill>
        <p:spPr bwMode="auto">
          <a:xfrm>
            <a:off x="51436" y="577301"/>
            <a:ext cx="7692390" cy="448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65660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D90CD0C-86A2-4696-8295-511DF309EBB1}"/>
              </a:ext>
            </a:extLst>
          </p:cNvPr>
          <p:cNvSpPr>
            <a:spLocks noGrp="1"/>
          </p:cNvSpPr>
          <p:nvPr>
            <p:ph type="title"/>
          </p:nvPr>
        </p:nvSpPr>
        <p:spPr>
          <a:xfrm>
            <a:off x="227039" y="124353"/>
            <a:ext cx="8765651" cy="720883"/>
          </a:xfrm>
        </p:spPr>
        <p:txBody>
          <a:bodyPr/>
          <a:lstStyle/>
          <a:p>
            <a:pPr defTabSz="685800">
              <a:spcBef>
                <a:spcPts val="0"/>
              </a:spcBef>
              <a:spcAft>
                <a:spcPts val="1200"/>
              </a:spcAft>
              <a:defRPr/>
            </a:pPr>
            <a:r>
              <a:rPr lang="ru-RU" dirty="0"/>
              <a:t>ИГХ – современный стандарт диагностики РМЖ</a:t>
            </a:r>
            <a:br>
              <a:rPr lang="ru-RU" dirty="0"/>
            </a:br>
            <a:r>
              <a:rPr lang="ru-RU" sz="1350" b="0" i="1" u="sng" dirty="0">
                <a:solidFill>
                  <a:srgbClr val="000000"/>
                </a:solidFill>
                <a:latin typeface="Arial"/>
                <a:ea typeface="+mn-ea"/>
                <a:cs typeface="+mn-cs"/>
              </a:rPr>
              <a:t>2 этап, в основном рефлексное тестирование: до 7 дней</a:t>
            </a:r>
            <a:r>
              <a:rPr lang="ru-RU" sz="1350" b="0" i="1" dirty="0">
                <a:solidFill>
                  <a:srgbClr val="000000"/>
                </a:solidFill>
                <a:latin typeface="Arial"/>
                <a:ea typeface="+mn-ea"/>
                <a:cs typeface="+mn-cs"/>
              </a:rPr>
              <a:t/>
            </a:r>
            <a:br>
              <a:rPr lang="ru-RU" sz="1350" b="0" i="1" dirty="0">
                <a:solidFill>
                  <a:srgbClr val="000000"/>
                </a:solidFill>
                <a:latin typeface="Arial"/>
                <a:ea typeface="+mn-ea"/>
                <a:cs typeface="+mn-cs"/>
              </a:rPr>
            </a:br>
            <a:r>
              <a:rPr lang="ru-RU" dirty="0"/>
              <a:t/>
            </a:r>
            <a:br>
              <a:rPr lang="ru-RU" dirty="0"/>
            </a:br>
            <a:endParaRPr lang="ru-RU" sz="2100" b="0" dirty="0"/>
          </a:p>
        </p:txBody>
      </p:sp>
      <p:sp>
        <p:nvSpPr>
          <p:cNvPr id="6" name="TextBox 5">
            <a:extLst>
              <a:ext uri="{FF2B5EF4-FFF2-40B4-BE49-F238E27FC236}">
                <a16:creationId xmlns:a16="http://schemas.microsoft.com/office/drawing/2014/main" xmlns="" id="{DC366906-F454-41F8-BC9C-A056E9F4BF75}"/>
              </a:ext>
            </a:extLst>
          </p:cNvPr>
          <p:cNvSpPr txBox="1"/>
          <p:nvPr/>
        </p:nvSpPr>
        <p:spPr>
          <a:xfrm>
            <a:off x="304800" y="899759"/>
            <a:ext cx="8610130" cy="3100849"/>
          </a:xfrm>
          <a:prstGeom prst="rect">
            <a:avLst/>
          </a:prstGeom>
          <a:noFill/>
        </p:spPr>
        <p:txBody>
          <a:bodyPr wrap="square">
            <a:spAutoFit/>
          </a:bodyPr>
          <a:lstStyle/>
          <a:p>
            <a:r>
              <a:rPr lang="ru-RU" sz="1350" b="1" dirty="0">
                <a:solidFill>
                  <a:srgbClr val="EE7722"/>
                </a:solidFill>
              </a:rPr>
              <a:t>Экспрессия </a:t>
            </a:r>
            <a:r>
              <a:rPr lang="ru-RU" sz="1350" b="1" dirty="0" err="1">
                <a:solidFill>
                  <a:srgbClr val="EE7722"/>
                </a:solidFill>
              </a:rPr>
              <a:t>биомаркеров</a:t>
            </a:r>
            <a:r>
              <a:rPr lang="ru-RU" sz="1350" b="1" dirty="0">
                <a:solidFill>
                  <a:srgbClr val="EE7722"/>
                </a:solidFill>
              </a:rPr>
              <a:t> при раке молочной железы:</a:t>
            </a:r>
            <a:endParaRPr lang="ru-RU" sz="1350" b="1" i="1" dirty="0">
              <a:solidFill>
                <a:srgbClr val="EE7722"/>
              </a:solidFill>
            </a:endParaRPr>
          </a:p>
          <a:p>
            <a:endParaRPr lang="ru-RU" sz="1350" i="1" dirty="0"/>
          </a:p>
          <a:p>
            <a:pPr marL="214313" indent="-214313">
              <a:spcAft>
                <a:spcPts val="600"/>
              </a:spcAft>
              <a:buFont typeface="Wingdings" panose="05000000000000000000" pitchFamily="2" charset="2"/>
              <a:buChar char="Ø"/>
            </a:pPr>
            <a:r>
              <a:rPr lang="ru-RU" sz="1350" dirty="0"/>
              <a:t>Рак молочной железы дополнительно классифицируется на основе профилей экспрессии белков или генов (молекулярных сигнатур). Категоризация рака молочной железы с использованием экспрессии белка основана на </a:t>
            </a:r>
            <a:r>
              <a:rPr lang="ru-RU" sz="1350" dirty="0" err="1"/>
              <a:t>иммуногистохимическом</a:t>
            </a:r>
            <a:r>
              <a:rPr lang="ru-RU" sz="1350" dirty="0"/>
              <a:t> окрашивании образцов ткани опухоли молочной железы на специфические </a:t>
            </a:r>
            <a:r>
              <a:rPr lang="ru-RU" sz="1350" dirty="0" err="1"/>
              <a:t>биомаркеры</a:t>
            </a:r>
            <a:r>
              <a:rPr lang="ru-RU" sz="1350" dirty="0"/>
              <a:t>. Может также использоваться гибридизация in </a:t>
            </a:r>
            <a:r>
              <a:rPr lang="ru-RU" sz="1350" dirty="0" err="1"/>
              <a:t>situ</a:t>
            </a:r>
            <a:r>
              <a:rPr lang="ru-RU" sz="1350" dirty="0"/>
              <a:t> (ISH).</a:t>
            </a:r>
          </a:p>
          <a:p>
            <a:pPr marL="214313" indent="-214313">
              <a:spcAft>
                <a:spcPts val="600"/>
              </a:spcAft>
              <a:buFont typeface="Wingdings" panose="05000000000000000000" pitchFamily="2" charset="2"/>
              <a:buChar char="Ø"/>
            </a:pPr>
            <a:r>
              <a:rPr lang="ru-RU" sz="1350" dirty="0"/>
              <a:t>Гормональные рецепторы — стероидные рецепторы</a:t>
            </a:r>
            <a:r>
              <a:rPr lang="en-US" sz="1350" dirty="0"/>
              <a:t>: </a:t>
            </a:r>
            <a:r>
              <a:rPr lang="ru-RU" sz="1350" b="1" dirty="0">
                <a:solidFill>
                  <a:schemeClr val="accent3">
                    <a:lumMod val="75000"/>
                  </a:schemeClr>
                </a:solidFill>
              </a:rPr>
              <a:t>рецептор эстрогена (ER) и рецептор прогестерона (PR). </a:t>
            </a:r>
          </a:p>
          <a:p>
            <a:pPr marL="214313" indent="-214313">
              <a:spcAft>
                <a:spcPts val="600"/>
              </a:spcAft>
              <a:buFont typeface="Wingdings" panose="05000000000000000000" pitchFamily="2" charset="2"/>
              <a:buChar char="Ø"/>
            </a:pPr>
            <a:r>
              <a:rPr lang="ru-RU" sz="1350" b="1" dirty="0">
                <a:solidFill>
                  <a:schemeClr val="accent3">
                    <a:lumMod val="75000"/>
                  </a:schemeClr>
                </a:solidFill>
              </a:rPr>
              <a:t>Рецептор эпидермального фактора роста человека 2-го типа (HER2) </a:t>
            </a:r>
            <a:r>
              <a:rPr lang="ru-RU" sz="1350" dirty="0"/>
              <a:t>— поверхностный рецептор </a:t>
            </a:r>
            <a:r>
              <a:rPr lang="ru-RU" sz="1350" dirty="0" err="1"/>
              <a:t>тирозинкиназы</a:t>
            </a:r>
            <a:r>
              <a:rPr lang="ru-RU" sz="1350" dirty="0"/>
              <a:t>, который экспрессируется во многих опухолях молочной железы.</a:t>
            </a:r>
          </a:p>
          <a:p>
            <a:pPr marL="214313" indent="-214313">
              <a:spcAft>
                <a:spcPts val="600"/>
              </a:spcAft>
              <a:buFont typeface="Wingdings" panose="05000000000000000000" pitchFamily="2" charset="2"/>
              <a:buChar char="Ø"/>
            </a:pPr>
            <a:r>
              <a:rPr lang="ru-RU" sz="1350" b="1" dirty="0">
                <a:solidFill>
                  <a:schemeClr val="accent3">
                    <a:lumMod val="75000"/>
                  </a:schemeClr>
                </a:solidFill>
              </a:rPr>
              <a:t>Ki67</a:t>
            </a:r>
            <a:r>
              <a:rPr lang="ru-RU" sz="1350" dirty="0"/>
              <a:t> — используется в качестве индикатора активной клеточной пролиферации и связан с более высокой долей активно делящихся клеток. </a:t>
            </a:r>
          </a:p>
          <a:p>
            <a:pPr marL="214313" indent="-214313">
              <a:spcAft>
                <a:spcPts val="600"/>
              </a:spcAft>
              <a:buFont typeface="Wingdings" panose="05000000000000000000" pitchFamily="2" charset="2"/>
              <a:buChar char="Ø"/>
            </a:pPr>
            <a:r>
              <a:rPr lang="ru-RU" sz="1350" dirty="0"/>
              <a:t>Вместе эти </a:t>
            </a:r>
            <a:r>
              <a:rPr lang="ru-RU" sz="1350" dirty="0" err="1"/>
              <a:t>биомаркеры</a:t>
            </a:r>
            <a:r>
              <a:rPr lang="ru-RU" sz="1350" dirty="0"/>
              <a:t> могут быть использованы для </a:t>
            </a:r>
            <a:r>
              <a:rPr lang="ru-RU" sz="1350" b="1" dirty="0">
                <a:solidFill>
                  <a:schemeClr val="accent3">
                    <a:lumMod val="75000"/>
                  </a:schemeClr>
                </a:solidFill>
              </a:rPr>
              <a:t>классификации рака молочной железы</a:t>
            </a:r>
            <a:r>
              <a:rPr lang="ru-RU" sz="1350" dirty="0"/>
              <a:t>.</a:t>
            </a:r>
          </a:p>
        </p:txBody>
      </p:sp>
      <p:sp>
        <p:nvSpPr>
          <p:cNvPr id="17" name="TextBox 16">
            <a:extLst>
              <a:ext uri="{FF2B5EF4-FFF2-40B4-BE49-F238E27FC236}">
                <a16:creationId xmlns:a16="http://schemas.microsoft.com/office/drawing/2014/main" xmlns="" id="{3FE3EBA6-F1DF-4B37-8604-47C7C9BB533F}"/>
              </a:ext>
            </a:extLst>
          </p:cNvPr>
          <p:cNvSpPr txBox="1"/>
          <p:nvPr/>
        </p:nvSpPr>
        <p:spPr>
          <a:xfrm>
            <a:off x="4857836" y="4511316"/>
            <a:ext cx="3533996" cy="507831"/>
          </a:xfrm>
          <a:prstGeom prst="rect">
            <a:avLst/>
          </a:prstGeom>
          <a:noFill/>
        </p:spPr>
        <p:txBody>
          <a:bodyPr wrap="square">
            <a:spAutoFit/>
          </a:bodyPr>
          <a:lstStyle/>
          <a:p>
            <a:pPr marL="685800"/>
            <a:r>
              <a:rPr lang="ru-RU" sz="900" i="1" dirty="0">
                <a:latin typeface="Calibri" panose="020F0502020204030204" pitchFamily="34" charset="0"/>
                <a:ea typeface="Calibri" panose="020F0502020204030204" pitchFamily="34" charset="0"/>
                <a:cs typeface="Times New Roman" panose="02020603050405020304" pitchFamily="18" charset="0"/>
              </a:rPr>
              <a:t>РМЖ –  рак молочной железы</a:t>
            </a:r>
          </a:p>
          <a:p>
            <a:pPr marL="685800" algn="just"/>
            <a:r>
              <a:rPr lang="ru-RU" sz="900" i="1" dirty="0">
                <a:latin typeface="Calibri" panose="020F0502020204030204" pitchFamily="34" charset="0"/>
                <a:ea typeface="Calibri" panose="020F0502020204030204" pitchFamily="34" charset="0"/>
                <a:cs typeface="Times New Roman" panose="02020603050405020304" pitchFamily="18" charset="0"/>
              </a:rPr>
              <a:t>ПАО – патологоанатомическое отделение</a:t>
            </a:r>
          </a:p>
          <a:p>
            <a:pPr marL="685800"/>
            <a:r>
              <a:rPr lang="ru-RU" sz="900" i="1" dirty="0">
                <a:latin typeface="Calibri" panose="020F0502020204030204" pitchFamily="34" charset="0"/>
                <a:ea typeface="Calibri" panose="020F0502020204030204" pitchFamily="34" charset="0"/>
                <a:cs typeface="Times New Roman" panose="02020603050405020304" pitchFamily="18" charset="0"/>
              </a:rPr>
              <a:t>ИГХ– </a:t>
            </a:r>
            <a:r>
              <a:rPr lang="ru-RU" sz="900" i="1" dirty="0" err="1">
                <a:latin typeface="Calibri" panose="020F0502020204030204" pitchFamily="34" charset="0"/>
                <a:ea typeface="Calibri" panose="020F0502020204030204" pitchFamily="34" charset="0"/>
                <a:cs typeface="Times New Roman" panose="02020603050405020304" pitchFamily="18" charset="0"/>
              </a:rPr>
              <a:t>иммуногистохимическое</a:t>
            </a:r>
            <a:r>
              <a:rPr lang="ru-RU" sz="900" i="1" dirty="0">
                <a:latin typeface="Calibri" panose="020F0502020204030204" pitchFamily="34" charset="0"/>
                <a:ea typeface="Calibri" panose="020F0502020204030204" pitchFamily="34" charset="0"/>
                <a:cs typeface="Times New Roman" panose="02020603050405020304" pitchFamily="18" charset="0"/>
              </a:rPr>
              <a:t> исследование</a:t>
            </a:r>
          </a:p>
        </p:txBody>
      </p:sp>
      <p:sp>
        <p:nvSpPr>
          <p:cNvPr id="10" name="TextBox 9">
            <a:extLst>
              <a:ext uri="{FF2B5EF4-FFF2-40B4-BE49-F238E27FC236}">
                <a16:creationId xmlns:a16="http://schemas.microsoft.com/office/drawing/2014/main" xmlns="" id="{83F85A4A-E1A2-4C92-AFDA-9E4C8E3202F0}"/>
              </a:ext>
            </a:extLst>
          </p:cNvPr>
          <p:cNvSpPr txBox="1"/>
          <p:nvPr/>
        </p:nvSpPr>
        <p:spPr>
          <a:xfrm>
            <a:off x="487786" y="4649815"/>
            <a:ext cx="4570605" cy="369332"/>
          </a:xfrm>
          <a:prstGeom prst="rect">
            <a:avLst/>
          </a:prstGeom>
          <a:noFill/>
        </p:spPr>
        <p:txBody>
          <a:bodyPr wrap="square">
            <a:spAutoFit/>
          </a:bodyPr>
          <a:lstStyle/>
          <a:p>
            <a:pPr defTabSz="679217">
              <a:defRPr/>
            </a:pPr>
            <a:r>
              <a:rPr lang="en-GB" sz="600" dirty="0">
                <a:cs typeface="Arial" panose="020B0604020202020204" pitchFamily="34" charset="0"/>
              </a:rPr>
              <a:t>American Cancer Society. Breast cancer. </a:t>
            </a:r>
            <a:r>
              <a:rPr lang="ru-RU" sz="600" dirty="0">
                <a:cs typeface="Arial" panose="020B0604020202020204" pitchFamily="34" charset="0"/>
              </a:rPr>
              <a:t>(электронный ресурс)</a:t>
            </a:r>
            <a:r>
              <a:rPr lang="en-GB" sz="600" dirty="0">
                <a:cs typeface="Arial" panose="020B0604020202020204" pitchFamily="34" charset="0"/>
              </a:rPr>
              <a:t>: </a:t>
            </a:r>
            <a:r>
              <a:rPr lang="en-GB" sz="600" dirty="0">
                <a:cs typeface="Arial" panose="020B0604020202020204" pitchFamily="34" charset="0"/>
                <a:hlinkClick r:id="rId3"/>
              </a:rPr>
              <a:t>http://www.cancer.org/cancer/breastcancer/detailedguide/breast-cancer-pdf2</a:t>
            </a:r>
            <a:r>
              <a:rPr lang="en-GB" sz="600" dirty="0">
                <a:cs typeface="Arial" panose="020B0604020202020204" pitchFamily="34" charset="0"/>
              </a:rPr>
              <a:t> </a:t>
            </a:r>
            <a:r>
              <a:rPr lang="en-GB" sz="600" dirty="0">
                <a:ea typeface="MS Mincho"/>
                <a:cs typeface="Arial" panose="020B0604020202020204" pitchFamily="34" charset="0"/>
              </a:rPr>
              <a:t>(</a:t>
            </a:r>
            <a:r>
              <a:rPr lang="ru-RU" sz="600" dirty="0">
                <a:ea typeface="MS Mincho"/>
                <a:cs typeface="Arial" panose="020B0604020202020204" pitchFamily="34" charset="0"/>
              </a:rPr>
              <a:t>дата обращения 22.03.2023</a:t>
            </a:r>
            <a:r>
              <a:rPr lang="en-GB" sz="600" dirty="0">
                <a:ea typeface="MS Mincho"/>
                <a:cs typeface="Arial" panose="020B0604020202020204" pitchFamily="34" charset="0"/>
              </a:rPr>
              <a:t>). </a:t>
            </a:r>
          </a:p>
          <a:p>
            <a:r>
              <a:rPr lang="en-US" sz="600" dirty="0" err="1"/>
              <a:t>Inwald</a:t>
            </a:r>
            <a:r>
              <a:rPr lang="en-US" sz="600" dirty="0"/>
              <a:t> EC, et al. </a:t>
            </a:r>
            <a:r>
              <a:rPr lang="en-US" sz="600" i="1" dirty="0"/>
              <a:t>Breast Cancer Res Treat </a:t>
            </a:r>
            <a:r>
              <a:rPr lang="en-US" sz="600" dirty="0"/>
              <a:t>2015;153:647-58</a:t>
            </a:r>
            <a:endParaRPr lang="en-GB" sz="600" dirty="0"/>
          </a:p>
        </p:txBody>
      </p:sp>
      <p:sp>
        <p:nvSpPr>
          <p:cNvPr id="5" name="TextBox 4">
            <a:extLst>
              <a:ext uri="{FF2B5EF4-FFF2-40B4-BE49-F238E27FC236}">
                <a16:creationId xmlns:a16="http://schemas.microsoft.com/office/drawing/2014/main" xmlns="" id="{EC657965-5819-4E9D-A2C8-1449F43040BC}"/>
              </a:ext>
            </a:extLst>
          </p:cNvPr>
          <p:cNvSpPr txBox="1"/>
          <p:nvPr/>
        </p:nvSpPr>
        <p:spPr>
          <a:xfrm>
            <a:off x="439757" y="4025129"/>
            <a:ext cx="8340213" cy="461665"/>
          </a:xfrm>
          <a:prstGeom prst="rect">
            <a:avLst/>
          </a:prstGeom>
          <a:noFill/>
          <a:ln>
            <a:noFill/>
          </a:ln>
          <a:effectLst/>
        </p:spPr>
        <p:txBody>
          <a:bodyPr wrap="square" rtlCol="0">
            <a:spAutoFit/>
          </a:bodyPr>
          <a:lstStyle/>
          <a:p>
            <a:r>
              <a:rPr lang="ru-RU" sz="1200" dirty="0">
                <a:solidFill>
                  <a:schemeClr val="accent1"/>
                </a:solidFill>
              </a:rPr>
              <a:t>Практически во всех ПАО ИГХ исследование проводится на </a:t>
            </a:r>
            <a:r>
              <a:rPr lang="ru-RU" sz="1200" dirty="0" err="1">
                <a:solidFill>
                  <a:schemeClr val="accent1"/>
                </a:solidFill>
              </a:rPr>
              <a:t>иммуногистостейнере</a:t>
            </a:r>
            <a:r>
              <a:rPr lang="ru-RU" sz="1200" dirty="0">
                <a:solidFill>
                  <a:schemeClr val="accent1"/>
                </a:solidFill>
              </a:rPr>
              <a:t> </a:t>
            </a:r>
            <a:endParaRPr lang="en-US" sz="1200" dirty="0">
              <a:solidFill>
                <a:schemeClr val="accent1"/>
              </a:solidFill>
            </a:endParaRPr>
          </a:p>
          <a:p>
            <a:r>
              <a:rPr lang="en-US" sz="1200" dirty="0">
                <a:solidFill>
                  <a:schemeClr val="accent1"/>
                </a:solidFill>
              </a:rPr>
              <a:t>ROCHE Ventana</a:t>
            </a:r>
            <a:r>
              <a:rPr lang="ru-RU" sz="1200" dirty="0">
                <a:solidFill>
                  <a:schemeClr val="accent1"/>
                </a:solidFill>
              </a:rPr>
              <a:t>  </a:t>
            </a:r>
            <a:r>
              <a:rPr lang="en-US" sz="1200" dirty="0">
                <a:solidFill>
                  <a:schemeClr val="accent1"/>
                </a:solidFill>
              </a:rPr>
              <a:t>Pathway 4B5</a:t>
            </a:r>
            <a:r>
              <a:rPr lang="ru-RU" sz="1200" dirty="0">
                <a:solidFill>
                  <a:schemeClr val="accent1"/>
                </a:solidFill>
              </a:rPr>
              <a:t>, в котором используются стандартные наборы реагентов</a:t>
            </a:r>
            <a:endParaRPr lang="en-US" sz="1200" dirty="0">
              <a:solidFill>
                <a:schemeClr val="accent1"/>
              </a:solidFill>
            </a:endParaRPr>
          </a:p>
        </p:txBody>
      </p:sp>
    </p:spTree>
    <p:extLst>
      <p:ext uri="{BB962C8B-B14F-4D97-AF65-F5344CB8AC3E}">
        <p14:creationId xmlns:p14="http://schemas.microsoft.com/office/powerpoint/2010/main" val="2025072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09F06B8-9938-4A6D-98F7-D16F74EDED27}"/>
              </a:ext>
            </a:extLst>
          </p:cNvPr>
          <p:cNvSpPr>
            <a:spLocks noGrp="1"/>
          </p:cNvSpPr>
          <p:nvPr>
            <p:ph type="title"/>
          </p:nvPr>
        </p:nvSpPr>
        <p:spPr/>
        <p:txBody>
          <a:bodyPr/>
          <a:lstStyle/>
          <a:p>
            <a:r>
              <a:rPr lang="ru" sz="2200" dirty="0"/>
              <a:t>Онкомаркеры и клинические характеристики различных молекулярных подтипов рака молочной железы</a:t>
            </a:r>
            <a:r>
              <a:rPr lang="ru-RU" sz="1800" dirty="0"/>
              <a:t/>
            </a:r>
            <a:br>
              <a:rPr lang="ru-RU" sz="1800" dirty="0"/>
            </a:br>
            <a:endParaRPr lang="en-US" sz="1800" dirty="0"/>
          </a:p>
        </p:txBody>
      </p:sp>
      <p:graphicFrame>
        <p:nvGraphicFramePr>
          <p:cNvPr id="6" name="Table 5">
            <a:extLst>
              <a:ext uri="{FF2B5EF4-FFF2-40B4-BE49-F238E27FC236}">
                <a16:creationId xmlns:a16="http://schemas.microsoft.com/office/drawing/2014/main" xmlns="" id="{05823274-B262-4193-99B5-1766733F1125}"/>
              </a:ext>
            </a:extLst>
          </p:cNvPr>
          <p:cNvGraphicFramePr>
            <a:graphicFrameLocks noGrp="1"/>
          </p:cNvGraphicFramePr>
          <p:nvPr>
            <p:extLst>
              <p:ext uri="{D42A27DB-BD31-4B8C-83A1-F6EECF244321}">
                <p14:modId xmlns:p14="http://schemas.microsoft.com/office/powerpoint/2010/main" val="4221632879"/>
              </p:ext>
            </p:extLst>
          </p:nvPr>
        </p:nvGraphicFramePr>
        <p:xfrm>
          <a:off x="355641" y="877687"/>
          <a:ext cx="8276034" cy="2952750"/>
        </p:xfrm>
        <a:graphic>
          <a:graphicData uri="http://schemas.openxmlformats.org/drawingml/2006/table">
            <a:tbl>
              <a:tblPr firstRow="1" firstCol="1" lastRow="1" lastCol="1" bandRow="1" bandCol="1"/>
              <a:tblGrid>
                <a:gridCol w="1277064">
                  <a:extLst>
                    <a:ext uri="{9D8B030D-6E8A-4147-A177-3AD203B41FA5}">
                      <a16:colId xmlns:a16="http://schemas.microsoft.com/office/drawing/2014/main" xmlns="" val="2169566113"/>
                    </a:ext>
                  </a:extLst>
                </a:gridCol>
                <a:gridCol w="807720">
                  <a:extLst>
                    <a:ext uri="{9D8B030D-6E8A-4147-A177-3AD203B41FA5}">
                      <a16:colId xmlns:a16="http://schemas.microsoft.com/office/drawing/2014/main" xmlns="" val="1811153720"/>
                    </a:ext>
                  </a:extLst>
                </a:gridCol>
                <a:gridCol w="6191250">
                  <a:extLst>
                    <a:ext uri="{9D8B030D-6E8A-4147-A177-3AD203B41FA5}">
                      <a16:colId xmlns:a16="http://schemas.microsoft.com/office/drawing/2014/main" xmlns="" val="3518827671"/>
                    </a:ext>
                  </a:extLst>
                </a:gridCol>
              </a:tblGrid>
              <a:tr h="232410">
                <a:tc gridSpan="2">
                  <a:txBody>
                    <a:bodyPr/>
                    <a:lstStyle/>
                    <a:p>
                      <a:pPr marL="67945">
                        <a:spcBef>
                          <a:spcPts val="600"/>
                        </a:spcBef>
                        <a:spcAft>
                          <a:spcPts val="0"/>
                        </a:spcAft>
                      </a:pPr>
                      <a:r>
                        <a:rPr lang="ru-RU" sz="1400" b="1">
                          <a:solidFill>
                            <a:srgbClr val="FFFFFF"/>
                          </a:solidFill>
                          <a:effectLst/>
                          <a:latin typeface="Arial" panose="020B0604020202020204" pitchFamily="34" charset="0"/>
                          <a:ea typeface="Arial" panose="020B0604020202020204" pitchFamily="34" charset="0"/>
                          <a:cs typeface="Arial MT"/>
                        </a:rPr>
                        <a:t>Подтип биомаркера</a:t>
                      </a:r>
                      <a:endParaRPr lang="ru-RU" sz="1200">
                        <a:effectLst/>
                        <a:latin typeface="Arial MT"/>
                        <a:ea typeface="Arial MT"/>
                        <a:cs typeface="Arial MT"/>
                      </a:endParaRPr>
                    </a:p>
                  </a:txBody>
                  <a:tcPr marL="40481" marR="40481" marT="13335" marB="13335">
                    <a:lnL>
                      <a:noFill/>
                    </a:lnL>
                    <a:lnR>
                      <a:noFill/>
                    </a:lnR>
                    <a:lnT>
                      <a:noFill/>
                    </a:lnT>
                    <a:lnB>
                      <a:noFill/>
                    </a:lnB>
                    <a:solidFill>
                      <a:srgbClr val="15A4EA"/>
                    </a:solidFill>
                  </a:tcPr>
                </a:tc>
                <a:tc hMerge="1">
                  <a:txBody>
                    <a:bodyPr/>
                    <a:lstStyle/>
                    <a:p>
                      <a:endParaRPr lang="ru-RU"/>
                    </a:p>
                  </a:txBody>
                  <a:tcPr/>
                </a:tc>
                <a:tc>
                  <a:txBody>
                    <a:bodyPr/>
                    <a:lstStyle/>
                    <a:p>
                      <a:pPr marL="67945">
                        <a:spcBef>
                          <a:spcPts val="600"/>
                        </a:spcBef>
                        <a:spcAft>
                          <a:spcPts val="0"/>
                        </a:spcAft>
                      </a:pPr>
                      <a:r>
                        <a:rPr lang="ru-RU" sz="1400" b="1">
                          <a:solidFill>
                            <a:srgbClr val="FFFFFF"/>
                          </a:solidFill>
                          <a:effectLst/>
                          <a:latin typeface="Arial" panose="020B0604020202020204" pitchFamily="34" charset="0"/>
                          <a:ea typeface="Arial" panose="020B0604020202020204" pitchFamily="34" charset="0"/>
                          <a:cs typeface="Arial MT"/>
                        </a:rPr>
                        <a:t>Описание</a:t>
                      </a:r>
                      <a:endParaRPr lang="ru-RU" sz="1200">
                        <a:effectLst/>
                        <a:latin typeface="Arial MT"/>
                        <a:ea typeface="Arial MT"/>
                        <a:cs typeface="Arial MT"/>
                      </a:endParaRPr>
                    </a:p>
                  </a:txBody>
                  <a:tcPr marL="40481" marR="40481" marT="13335" marB="13335">
                    <a:lnL>
                      <a:noFill/>
                    </a:lnL>
                    <a:lnR>
                      <a:noFill/>
                    </a:lnR>
                    <a:lnT>
                      <a:noFill/>
                    </a:lnT>
                    <a:lnB>
                      <a:noFill/>
                    </a:lnB>
                    <a:solidFill>
                      <a:srgbClr val="15A4EA"/>
                    </a:solidFill>
                  </a:tcPr>
                </a:tc>
                <a:extLst>
                  <a:ext uri="{0D108BD9-81ED-4DB2-BD59-A6C34878D82A}">
                    <a16:rowId xmlns:a16="http://schemas.microsoft.com/office/drawing/2014/main" xmlns="" val="4145737343"/>
                  </a:ext>
                </a:extLst>
              </a:tr>
              <a:tr h="712470">
                <a:tc>
                  <a:txBody>
                    <a:bodyPr/>
                    <a:lstStyle/>
                    <a:p>
                      <a:pPr marL="67945" algn="ctr">
                        <a:spcBef>
                          <a:spcPts val="600"/>
                        </a:spcBef>
                        <a:spcAft>
                          <a:spcPts val="0"/>
                        </a:spcAft>
                      </a:pPr>
                      <a:r>
                        <a:rPr lang="ru-RU" sz="900" b="1" dirty="0" err="1">
                          <a:solidFill>
                            <a:srgbClr val="000000"/>
                          </a:solidFill>
                          <a:effectLst/>
                          <a:latin typeface="Arial" panose="020B0604020202020204" pitchFamily="34" charset="0"/>
                          <a:ea typeface="Arial" panose="020B0604020202020204" pitchFamily="34" charset="0"/>
                          <a:cs typeface="Arial MT"/>
                        </a:rPr>
                        <a:t>Люминальный</a:t>
                      </a:r>
                      <a:r>
                        <a:rPr lang="ru-RU" sz="900" b="1" dirty="0">
                          <a:solidFill>
                            <a:srgbClr val="000000"/>
                          </a:solidFill>
                          <a:effectLst/>
                          <a:latin typeface="Arial" panose="020B0604020202020204" pitchFamily="34" charset="0"/>
                          <a:ea typeface="Arial" panose="020B0604020202020204" pitchFamily="34" charset="0"/>
                          <a:cs typeface="Arial MT"/>
                        </a:rPr>
                        <a:t> А</a:t>
                      </a:r>
                      <a:endParaRPr lang="ru-RU" sz="12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a:noFill/>
                    </a:lnT>
                    <a:lnB w="12700" cap="flat" cmpd="sng" algn="ctr">
                      <a:solidFill>
                        <a:srgbClr val="71C7F1"/>
                      </a:solidFill>
                      <a:prstDash val="solid"/>
                      <a:round/>
                      <a:headEnd type="none" w="med" len="med"/>
                      <a:tailEnd type="none" w="med" len="med"/>
                    </a:lnB>
                    <a:solidFill>
                      <a:srgbClr val="D0EBF9"/>
                    </a:solidFill>
                  </a:tcPr>
                </a:tc>
                <a:tc>
                  <a:txBody>
                    <a:bodyPr/>
                    <a:lstStyle/>
                    <a:p>
                      <a:pPr marL="342900" lvl="0" indent="-342900">
                        <a:spcBef>
                          <a:spcPts val="60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ГР+</a:t>
                      </a:r>
                      <a:endParaRPr lang="ru-RU" sz="1200" dirty="0">
                        <a:effectLst/>
                        <a:latin typeface="Arial MT"/>
                        <a:ea typeface="Arial MT"/>
                        <a:cs typeface="Arial MT"/>
                      </a:endParaRPr>
                    </a:p>
                    <a:p>
                      <a:pPr marL="342900" lvl="0" indent="-342900">
                        <a:spcBef>
                          <a:spcPts val="60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HER2–</a:t>
                      </a:r>
                      <a:endParaRPr lang="ru-RU" sz="12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a:noFill/>
                    </a:lnT>
                    <a:lnB w="12700" cap="flat" cmpd="sng" algn="ctr">
                      <a:solidFill>
                        <a:srgbClr val="71C7F1"/>
                      </a:solidFill>
                      <a:prstDash val="solid"/>
                      <a:round/>
                      <a:headEnd type="none" w="med" len="med"/>
                      <a:tailEnd type="none" w="med" len="med"/>
                    </a:lnB>
                    <a:solidFill>
                      <a:srgbClr val="D0EBF9"/>
                    </a:solidFill>
                  </a:tcPr>
                </a:tc>
                <a:tc>
                  <a:txBody>
                    <a:bodyPr/>
                    <a:lstStyle/>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Составляет большинство случаев рака молочной железы (40–50 %).</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Экспрессируется либо РЭ либо PП, но не HER2.</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Имеет тенденцию к медленному росту.</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Имеет наиболее благоприятный прогноз, особенно в краткосрочной перспективе, отчасти потому что эти опухоли более восприимчивы к эндокринной терапии.</a:t>
                      </a:r>
                      <a:endParaRPr lang="ru-RU" sz="9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a:noFill/>
                    </a:lnT>
                    <a:lnB w="12700" cap="flat" cmpd="sng" algn="ctr">
                      <a:solidFill>
                        <a:srgbClr val="71C7F1"/>
                      </a:solidFill>
                      <a:prstDash val="solid"/>
                      <a:round/>
                      <a:headEnd type="none" w="med" len="med"/>
                      <a:tailEnd type="none" w="med" len="med"/>
                    </a:lnB>
                    <a:solidFill>
                      <a:srgbClr val="D0EBF9"/>
                    </a:solidFill>
                  </a:tcPr>
                </a:tc>
                <a:extLst>
                  <a:ext uri="{0D108BD9-81ED-4DB2-BD59-A6C34878D82A}">
                    <a16:rowId xmlns:a16="http://schemas.microsoft.com/office/drawing/2014/main" xmlns="" val="2324117745"/>
                  </a:ext>
                </a:extLst>
              </a:tr>
              <a:tr h="712470">
                <a:tc>
                  <a:txBody>
                    <a:bodyPr/>
                    <a:lstStyle/>
                    <a:p>
                      <a:pPr marL="67945" algn="ctr">
                        <a:spcBef>
                          <a:spcPts val="600"/>
                        </a:spcBef>
                        <a:spcAft>
                          <a:spcPts val="0"/>
                        </a:spcAft>
                      </a:pPr>
                      <a:r>
                        <a:rPr lang="ru-RU" sz="900" b="1" dirty="0" err="1">
                          <a:effectLst/>
                          <a:latin typeface="Arial" panose="020B0604020202020204" pitchFamily="34" charset="0"/>
                          <a:ea typeface="Arial" panose="020B0604020202020204" pitchFamily="34" charset="0"/>
                          <a:cs typeface="Arial MT"/>
                        </a:rPr>
                        <a:t>Люминальный</a:t>
                      </a:r>
                      <a:r>
                        <a:rPr lang="ru-RU" sz="900" b="1" dirty="0">
                          <a:effectLst/>
                          <a:latin typeface="Arial" panose="020B0604020202020204" pitchFamily="34" charset="0"/>
                          <a:ea typeface="Arial" panose="020B0604020202020204" pitchFamily="34" charset="0"/>
                          <a:cs typeface="Arial MT"/>
                        </a:rPr>
                        <a:t> В</a:t>
                      </a:r>
                      <a:endParaRPr lang="ru-RU" sz="12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tcPr>
                </a:tc>
                <a:tc>
                  <a:txBody>
                    <a:bodyPr/>
                    <a:lstStyle/>
                    <a:p>
                      <a:pPr marL="342900" lvl="0" indent="-342900">
                        <a:spcBef>
                          <a:spcPts val="60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ГР+</a:t>
                      </a:r>
                      <a:endParaRPr lang="ru-RU" sz="1200" dirty="0">
                        <a:effectLst/>
                        <a:latin typeface="Arial MT"/>
                        <a:ea typeface="Arial MT"/>
                        <a:cs typeface="Arial MT"/>
                      </a:endParaRPr>
                    </a:p>
                    <a:p>
                      <a:pPr marL="342900" lvl="0" indent="-342900">
                        <a:spcBef>
                          <a:spcPts val="60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HER2+</a:t>
                      </a:r>
                      <a:endParaRPr lang="ru-RU" sz="12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tcPr>
                </a:tc>
                <a:tc>
                  <a:txBody>
                    <a:bodyPr/>
                    <a:lstStyle/>
                    <a:p>
                      <a:pPr marL="342900" lvl="0" indent="-342900">
                        <a:spcBef>
                          <a:spcPts val="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Составляет около 20–30 % случаев рака молочной железы.</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Экспрессируется либо РЭ либо PП.</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Определяется высокий уровень Ki67 и/или HER2.</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Ассоциируется с более высокой степенью злокачественности и худшей выживаемостью, чем люминальный А рак.</a:t>
                      </a:r>
                      <a:endParaRPr lang="ru-RU" sz="9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tcPr>
                </a:tc>
                <a:extLst>
                  <a:ext uri="{0D108BD9-81ED-4DB2-BD59-A6C34878D82A}">
                    <a16:rowId xmlns:a16="http://schemas.microsoft.com/office/drawing/2014/main" xmlns="" val="3680016461"/>
                  </a:ext>
                </a:extLst>
              </a:tr>
              <a:tr h="712470">
                <a:tc>
                  <a:txBody>
                    <a:bodyPr/>
                    <a:lstStyle/>
                    <a:p>
                      <a:pPr marL="67945" algn="ctr">
                        <a:spcBef>
                          <a:spcPts val="600"/>
                        </a:spcBef>
                        <a:spcAft>
                          <a:spcPts val="0"/>
                        </a:spcAft>
                      </a:pPr>
                      <a:r>
                        <a:rPr lang="ru-RU" sz="900" b="1" dirty="0">
                          <a:solidFill>
                            <a:srgbClr val="000000"/>
                          </a:solidFill>
                          <a:effectLst/>
                          <a:latin typeface="Arial" panose="020B0604020202020204" pitchFamily="34" charset="0"/>
                          <a:ea typeface="Arial" panose="020B0604020202020204" pitchFamily="34" charset="0"/>
                          <a:cs typeface="Arial MT"/>
                        </a:rPr>
                        <a:t>HER2-положительный</a:t>
                      </a:r>
                      <a:endParaRPr lang="ru-RU" sz="12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solidFill>
                      <a:srgbClr val="D0EBF9"/>
                    </a:solidFill>
                  </a:tcPr>
                </a:tc>
                <a:tc>
                  <a:txBody>
                    <a:bodyPr/>
                    <a:lstStyle/>
                    <a:p>
                      <a:pPr marL="342900" lvl="0" indent="-342900">
                        <a:spcBef>
                          <a:spcPts val="60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ГР–</a:t>
                      </a:r>
                      <a:endParaRPr lang="ru-RU" sz="1200" dirty="0">
                        <a:effectLst/>
                        <a:latin typeface="Arial MT"/>
                        <a:ea typeface="Arial MT"/>
                        <a:cs typeface="Arial MT"/>
                      </a:endParaRPr>
                    </a:p>
                    <a:p>
                      <a:pPr marL="342900" lvl="0" indent="-342900">
                        <a:spcBef>
                          <a:spcPts val="60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HER2+</a:t>
                      </a:r>
                      <a:endParaRPr lang="ru-RU" sz="12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solidFill>
                      <a:srgbClr val="D0EBF9"/>
                    </a:solidFill>
                  </a:tcPr>
                </a:tc>
                <a:tc>
                  <a:txBody>
                    <a:bodyPr/>
                    <a:lstStyle/>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Составляет около 15–20 % случаев рака молочной железы.</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Высокий уровень экспрессии HER2, отсутствие экспрессии РЭ или PП.</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Имеет тенденцию к быстрому росту.</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solidFill>
                            <a:srgbClr val="000000"/>
                          </a:solidFill>
                          <a:effectLst/>
                          <a:latin typeface="Arial" panose="020B0604020202020204" pitchFamily="34" charset="0"/>
                          <a:ea typeface="Arial" panose="020B0604020202020204" pitchFamily="34" charset="0"/>
                          <a:cs typeface="Arial MT"/>
                        </a:rPr>
                        <a:t>Исторически ассоциируется с менее благоприятным прогнозом, особенно в краткосрочном плане, в настоящее время таргетная значительно улучшила исходы болезни.</a:t>
                      </a:r>
                      <a:endParaRPr lang="ru-RU" sz="9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solidFill>
                      <a:srgbClr val="D0EBF9"/>
                    </a:solidFill>
                  </a:tcPr>
                </a:tc>
                <a:extLst>
                  <a:ext uri="{0D108BD9-81ED-4DB2-BD59-A6C34878D82A}">
                    <a16:rowId xmlns:a16="http://schemas.microsoft.com/office/drawing/2014/main" xmlns="" val="1158520110"/>
                  </a:ext>
                </a:extLst>
              </a:tr>
              <a:tr h="575310">
                <a:tc>
                  <a:txBody>
                    <a:bodyPr/>
                    <a:lstStyle/>
                    <a:p>
                      <a:pPr marL="67945" algn="ctr">
                        <a:spcBef>
                          <a:spcPts val="600"/>
                        </a:spcBef>
                        <a:spcAft>
                          <a:spcPts val="0"/>
                        </a:spcAft>
                      </a:pPr>
                      <a:r>
                        <a:rPr lang="ru-RU" sz="900" b="1" dirty="0">
                          <a:effectLst/>
                          <a:latin typeface="Arial" panose="020B0604020202020204" pitchFamily="34" charset="0"/>
                          <a:ea typeface="Arial" panose="020B0604020202020204" pitchFamily="34" charset="0"/>
                          <a:cs typeface="Arial MT"/>
                        </a:rPr>
                        <a:t>Трижды негативный</a:t>
                      </a:r>
                      <a:endParaRPr lang="ru-RU" sz="12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tcPr>
                </a:tc>
                <a:tc>
                  <a:txBody>
                    <a:bodyPr/>
                    <a:lstStyle/>
                    <a:p>
                      <a:pPr marL="342900" lvl="0" indent="-342900">
                        <a:spcBef>
                          <a:spcPts val="600"/>
                        </a:spcBef>
                        <a:spcAft>
                          <a:spcPts val="0"/>
                        </a:spcAft>
                        <a:buSzPts val="1100"/>
                        <a:buFont typeface="Arial MT"/>
                        <a:buChar char="•"/>
                      </a:pPr>
                      <a:r>
                        <a:rPr lang="ru-RU" sz="900">
                          <a:effectLst/>
                          <a:latin typeface="Arial" panose="020B0604020202020204" pitchFamily="34" charset="0"/>
                          <a:ea typeface="Arial" panose="020B0604020202020204" pitchFamily="34" charset="0"/>
                          <a:cs typeface="Arial MT"/>
                        </a:rPr>
                        <a:t>HR–</a:t>
                      </a:r>
                      <a:endParaRPr lang="ru-RU" sz="1200">
                        <a:effectLst/>
                        <a:latin typeface="Arial MT"/>
                        <a:ea typeface="Arial MT"/>
                        <a:cs typeface="Arial MT"/>
                      </a:endParaRPr>
                    </a:p>
                    <a:p>
                      <a:pPr marL="342900" lvl="0" indent="-342900">
                        <a:spcBef>
                          <a:spcPts val="600"/>
                        </a:spcBef>
                        <a:spcAft>
                          <a:spcPts val="0"/>
                        </a:spcAft>
                        <a:buSzPts val="1100"/>
                        <a:buFont typeface="Arial MT"/>
                        <a:buChar char="•"/>
                      </a:pPr>
                      <a:r>
                        <a:rPr lang="ru-RU" sz="900">
                          <a:effectLst/>
                          <a:latin typeface="Arial" panose="020B0604020202020204" pitchFamily="34" charset="0"/>
                          <a:ea typeface="Arial" panose="020B0604020202020204" pitchFamily="34" charset="0"/>
                          <a:cs typeface="Arial MT"/>
                        </a:rPr>
                        <a:t>HER2–</a:t>
                      </a:r>
                      <a:endParaRPr lang="ru-RU" sz="120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tcPr>
                </a:tc>
                <a:tc>
                  <a:txBody>
                    <a:bodyPr/>
                    <a:lstStyle/>
                    <a:p>
                      <a:pPr marL="342900" lvl="0" indent="-342900">
                        <a:spcBef>
                          <a:spcPts val="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Составляет около 10–20 % случаев рака молочной железы.</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Отсутствует экспрессия РЭ, PП и HER2.</a:t>
                      </a:r>
                      <a:endParaRPr lang="ru-RU" sz="900" dirty="0">
                        <a:effectLst/>
                        <a:latin typeface="Arial MT"/>
                        <a:ea typeface="Arial MT"/>
                        <a:cs typeface="Arial MT"/>
                      </a:endParaRPr>
                    </a:p>
                    <a:p>
                      <a:pPr marL="342900" lvl="0" indent="-342900">
                        <a:spcBef>
                          <a:spcPts val="0"/>
                        </a:spcBef>
                        <a:spcAft>
                          <a:spcPts val="0"/>
                        </a:spcAft>
                        <a:buSzPts val="1100"/>
                        <a:buFont typeface="Arial MT"/>
                        <a:buChar char="•"/>
                      </a:pPr>
                      <a:r>
                        <a:rPr lang="ru-RU" sz="900" dirty="0">
                          <a:effectLst/>
                          <a:latin typeface="Arial" panose="020B0604020202020204" pitchFamily="34" charset="0"/>
                          <a:ea typeface="Arial" panose="020B0604020202020204" pitchFamily="34" charset="0"/>
                          <a:cs typeface="Arial MT"/>
                        </a:rPr>
                        <a:t>Ассоциируется с более плохим прогнозом, отчасти потому что достижения в лечении уступают в эффективности терапии, применяемой при других молекулярных подтипах.</a:t>
                      </a:r>
                      <a:endParaRPr lang="ru-RU" sz="900" dirty="0">
                        <a:effectLst/>
                        <a:latin typeface="Arial MT"/>
                        <a:ea typeface="Arial MT"/>
                        <a:cs typeface="Arial MT"/>
                      </a:endParaRPr>
                    </a:p>
                  </a:txBody>
                  <a:tcPr marL="40481" marR="40481" marT="13335" marB="13335">
                    <a:lnL w="12700" cap="flat" cmpd="sng" algn="ctr">
                      <a:solidFill>
                        <a:srgbClr val="71C7F1"/>
                      </a:solidFill>
                      <a:prstDash val="solid"/>
                      <a:round/>
                      <a:headEnd type="none" w="med" len="med"/>
                      <a:tailEnd type="none" w="med" len="med"/>
                    </a:lnL>
                    <a:lnR w="12700" cap="flat" cmpd="sng" algn="ctr">
                      <a:solidFill>
                        <a:srgbClr val="71C7F1"/>
                      </a:solidFill>
                      <a:prstDash val="solid"/>
                      <a:round/>
                      <a:headEnd type="none" w="med" len="med"/>
                      <a:tailEnd type="none" w="med" len="med"/>
                    </a:lnR>
                    <a:lnT w="12700" cap="flat" cmpd="sng" algn="ctr">
                      <a:solidFill>
                        <a:srgbClr val="71C7F1"/>
                      </a:solidFill>
                      <a:prstDash val="solid"/>
                      <a:round/>
                      <a:headEnd type="none" w="med" len="med"/>
                      <a:tailEnd type="none" w="med" len="med"/>
                    </a:lnT>
                    <a:lnB w="12700" cap="flat" cmpd="sng" algn="ctr">
                      <a:solidFill>
                        <a:srgbClr val="71C7F1"/>
                      </a:solidFill>
                      <a:prstDash val="solid"/>
                      <a:round/>
                      <a:headEnd type="none" w="med" len="med"/>
                      <a:tailEnd type="none" w="med" len="med"/>
                    </a:lnB>
                  </a:tcPr>
                </a:tc>
                <a:extLst>
                  <a:ext uri="{0D108BD9-81ED-4DB2-BD59-A6C34878D82A}">
                    <a16:rowId xmlns:a16="http://schemas.microsoft.com/office/drawing/2014/main" xmlns="" val="2375859493"/>
                  </a:ext>
                </a:extLst>
              </a:tr>
            </a:tbl>
          </a:graphicData>
        </a:graphic>
      </p:graphicFrame>
      <p:sp>
        <p:nvSpPr>
          <p:cNvPr id="7" name="Rectangle 6">
            <a:extLst>
              <a:ext uri="{FF2B5EF4-FFF2-40B4-BE49-F238E27FC236}">
                <a16:creationId xmlns:a16="http://schemas.microsoft.com/office/drawing/2014/main" xmlns="" id="{D6711B5E-91B1-4666-A0C4-78B7146817B4}"/>
              </a:ext>
            </a:extLst>
          </p:cNvPr>
          <p:cNvSpPr/>
          <p:nvPr/>
        </p:nvSpPr>
        <p:spPr>
          <a:xfrm>
            <a:off x="395264" y="4814834"/>
            <a:ext cx="7487239" cy="184666"/>
          </a:xfrm>
          <a:prstGeom prst="rect">
            <a:avLst/>
          </a:prstGeom>
        </p:spPr>
        <p:txBody>
          <a:bodyPr wrap="square">
            <a:spAutoFit/>
          </a:bodyPr>
          <a:lstStyle/>
          <a:p>
            <a:pPr defTabSz="680733">
              <a:defRPr/>
            </a:pPr>
            <a:r>
              <a:rPr lang="ru-RU" sz="600" dirty="0"/>
              <a:t>1. </a:t>
            </a:r>
            <a:r>
              <a:rPr lang="is-IS" sz="600" dirty="0"/>
              <a:t>Goldhirsch A, et al. </a:t>
            </a:r>
            <a:r>
              <a:rPr lang="is-IS" sz="600" i="1" dirty="0"/>
              <a:t>Ann Oncol </a:t>
            </a:r>
            <a:r>
              <a:rPr lang="is-IS" sz="600" dirty="0"/>
              <a:t>2013;24:2206-23. </a:t>
            </a:r>
            <a:r>
              <a:rPr lang="ru-RU" sz="600" dirty="0"/>
              <a:t>2. </a:t>
            </a:r>
            <a:r>
              <a:rPr lang="en-US" sz="600" dirty="0" err="1"/>
              <a:t>Inwald</a:t>
            </a:r>
            <a:r>
              <a:rPr lang="en-US" sz="600" dirty="0"/>
              <a:t> EC, et al. </a:t>
            </a:r>
            <a:r>
              <a:rPr lang="en-US" sz="600" i="1" dirty="0"/>
              <a:t>Breast Cancer Res Treat </a:t>
            </a:r>
            <a:r>
              <a:rPr lang="en-US" sz="600" dirty="0"/>
              <a:t>2015;153:647-58.</a:t>
            </a:r>
            <a:r>
              <a:rPr lang="ru-RU" sz="600" dirty="0"/>
              <a:t> 3. </a:t>
            </a:r>
            <a:r>
              <a:rPr lang="en-GB" sz="600" dirty="0" err="1"/>
              <a:t>Senkus</a:t>
            </a:r>
            <a:r>
              <a:rPr lang="en-GB" sz="600" dirty="0"/>
              <a:t> E, et al. </a:t>
            </a:r>
            <a:r>
              <a:rPr lang="en-GB" sz="600" i="1" dirty="0"/>
              <a:t>Ann </a:t>
            </a:r>
            <a:r>
              <a:rPr lang="en-GB" sz="600" i="1" dirty="0" err="1"/>
              <a:t>Oncol</a:t>
            </a:r>
            <a:r>
              <a:rPr lang="en-GB" sz="600" i="1" dirty="0"/>
              <a:t> </a:t>
            </a:r>
            <a:r>
              <a:rPr lang="en-GB" sz="600" dirty="0"/>
              <a:t>2015;26 (</a:t>
            </a:r>
            <a:r>
              <a:rPr lang="en-GB" sz="600" dirty="0" err="1"/>
              <a:t>Suppl</a:t>
            </a:r>
            <a:r>
              <a:rPr lang="en-GB" sz="600" dirty="0"/>
              <a:t> 5):v8-30. </a:t>
            </a:r>
          </a:p>
        </p:txBody>
      </p:sp>
      <p:sp>
        <p:nvSpPr>
          <p:cNvPr id="8" name="Rectangle 7">
            <a:extLst>
              <a:ext uri="{FF2B5EF4-FFF2-40B4-BE49-F238E27FC236}">
                <a16:creationId xmlns:a16="http://schemas.microsoft.com/office/drawing/2014/main" xmlns="" id="{FC1B2D64-BCD2-4CDC-A322-4BD90157DAF4}"/>
              </a:ext>
            </a:extLst>
          </p:cNvPr>
          <p:cNvSpPr/>
          <p:nvPr/>
        </p:nvSpPr>
        <p:spPr>
          <a:xfrm>
            <a:off x="717675" y="3810083"/>
            <a:ext cx="7551965" cy="45573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ru" sz="1350" b="1" dirty="0">
                <a:solidFill>
                  <a:srgbClr val="FFFFFF"/>
                </a:solidFill>
                <a:latin typeface="Arial"/>
              </a:rPr>
              <a:t>Большинство случаев рака молочной железы являются</a:t>
            </a:r>
            <a:br>
              <a:rPr lang="ru" sz="1350" b="1" dirty="0">
                <a:solidFill>
                  <a:srgbClr val="FFFFFF"/>
                </a:solidFill>
                <a:latin typeface="Arial"/>
              </a:rPr>
            </a:br>
            <a:r>
              <a:rPr lang="ru" sz="1350" b="1" dirty="0">
                <a:solidFill>
                  <a:srgbClr val="FFFFFF"/>
                </a:solidFill>
                <a:latin typeface="Arial"/>
              </a:rPr>
              <a:t>HER2-отрицательными / HR-положительными</a:t>
            </a:r>
            <a:r>
              <a:rPr lang="ru" sz="1350" b="1" baseline="30000" dirty="0">
                <a:solidFill>
                  <a:srgbClr val="FFFFFF"/>
                </a:solidFill>
                <a:latin typeface="Arial"/>
              </a:rPr>
              <a:t>2</a:t>
            </a:r>
          </a:p>
        </p:txBody>
      </p:sp>
      <p:sp>
        <p:nvSpPr>
          <p:cNvPr id="2" name="TextBox 1">
            <a:extLst>
              <a:ext uri="{FF2B5EF4-FFF2-40B4-BE49-F238E27FC236}">
                <a16:creationId xmlns:a16="http://schemas.microsoft.com/office/drawing/2014/main" xmlns="" id="{4628032E-5861-45A4-BB4E-E7B376C133AC}"/>
              </a:ext>
            </a:extLst>
          </p:cNvPr>
          <p:cNvSpPr txBox="1"/>
          <p:nvPr/>
        </p:nvSpPr>
        <p:spPr>
          <a:xfrm>
            <a:off x="374645" y="4379458"/>
            <a:ext cx="4049507" cy="430887"/>
          </a:xfrm>
          <a:prstGeom prst="rect">
            <a:avLst/>
          </a:prstGeom>
          <a:noFill/>
        </p:spPr>
        <p:txBody>
          <a:bodyPr wrap="none" rtlCol="0">
            <a:spAutoFit/>
          </a:bodyPr>
          <a:lstStyle/>
          <a:p>
            <a:r>
              <a:rPr lang="ru-RU" sz="1100" i="1" dirty="0"/>
              <a:t>ГР (</a:t>
            </a:r>
            <a:r>
              <a:rPr lang="en-US" sz="1100" i="1" dirty="0"/>
              <a:t>HR) – </a:t>
            </a:r>
            <a:r>
              <a:rPr lang="ru-RU" sz="1100" i="1" dirty="0" err="1"/>
              <a:t>гормоноположительный</a:t>
            </a:r>
            <a:endParaRPr lang="ru-RU" sz="1100" i="1" dirty="0"/>
          </a:p>
          <a:p>
            <a:r>
              <a:rPr lang="ru-RU" sz="1100" i="1" dirty="0"/>
              <a:t>РЭ – рецептор эстрогена, РП – рецептор прогестерона</a:t>
            </a:r>
            <a:endParaRPr lang="en-US" sz="1100" i="1" dirty="0"/>
          </a:p>
        </p:txBody>
      </p:sp>
    </p:spTree>
    <p:extLst>
      <p:ext uri="{BB962C8B-B14F-4D97-AF65-F5344CB8AC3E}">
        <p14:creationId xmlns:p14="http://schemas.microsoft.com/office/powerpoint/2010/main" val="34991963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74405F3-99B0-4BD4-80C0-0732D6EFA7F5}"/>
              </a:ext>
            </a:extLst>
          </p:cNvPr>
          <p:cNvSpPr>
            <a:spLocks noGrp="1"/>
          </p:cNvSpPr>
          <p:nvPr>
            <p:ph type="title"/>
          </p:nvPr>
        </p:nvSpPr>
        <p:spPr/>
        <p:txBody>
          <a:bodyPr/>
          <a:lstStyle/>
          <a:p>
            <a:r>
              <a:rPr lang="ru-RU" dirty="0"/>
              <a:t>Исследования ИГХ и ISH являются стандартными методами оценки  HER2-статуса</a:t>
            </a:r>
            <a:endParaRPr lang="en-US" dirty="0"/>
          </a:p>
        </p:txBody>
      </p:sp>
      <p:sp>
        <p:nvSpPr>
          <p:cNvPr id="5" name="Text Placeholder 13">
            <a:extLst>
              <a:ext uri="{FF2B5EF4-FFF2-40B4-BE49-F238E27FC236}">
                <a16:creationId xmlns:a16="http://schemas.microsoft.com/office/drawing/2014/main" xmlns="" id="{0E9791A2-D491-4EFC-959C-85C36A198233}"/>
              </a:ext>
            </a:extLst>
          </p:cNvPr>
          <p:cNvSpPr txBox="1">
            <a:spLocks/>
          </p:cNvSpPr>
          <p:nvPr/>
        </p:nvSpPr>
        <p:spPr>
          <a:xfrm>
            <a:off x="217486" y="1164431"/>
            <a:ext cx="8585201" cy="476250"/>
          </a:xfrm>
          <a:prstGeom prst="rect">
            <a:avLst/>
          </a:prstGeom>
        </p:spPr>
        <p:txBody>
          <a:bodyPr rtlCol="0"/>
          <a:lstStyle>
            <a:lvl1pPr marL="457178" indent="-457178" algn="l" defTabSz="609570" rtl="0" eaLnBrk="1" latinLnBrk="0" hangingPunct="1">
              <a:spcBef>
                <a:spcPct val="20000"/>
              </a:spcBef>
              <a:buFont typeface="Arial"/>
              <a:buChar char="•"/>
              <a:defRPr kumimoji="1"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kumimoji="1"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kumimoji="1"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9pPr>
          </a:lstStyle>
          <a:p>
            <a:pPr marL="0" indent="0">
              <a:buNone/>
            </a:pPr>
            <a:r>
              <a:rPr lang="ru" sz="1400" dirty="0"/>
              <a:t>ИГХ позволяет оценить уровень экспрессии белка HER2, а ISH — статус амплификации гена HER2</a:t>
            </a:r>
            <a:r>
              <a:rPr lang="ru" sz="1400" baseline="30000" dirty="0"/>
              <a:t>1</a:t>
            </a:r>
          </a:p>
        </p:txBody>
      </p:sp>
      <p:pic>
        <p:nvPicPr>
          <p:cNvPr id="7" name="Picture 6">
            <a:extLst>
              <a:ext uri="{FF2B5EF4-FFF2-40B4-BE49-F238E27FC236}">
                <a16:creationId xmlns:a16="http://schemas.microsoft.com/office/drawing/2014/main" xmlns="" id="{50085F86-A805-440B-9512-9983B93E7E98}"/>
              </a:ext>
            </a:extLst>
          </p:cNvPr>
          <p:cNvPicPr>
            <a:picLocks noChangeAspect="1"/>
          </p:cNvPicPr>
          <p:nvPr/>
        </p:nvPicPr>
        <p:blipFill>
          <a:blip r:embed="rId2"/>
          <a:stretch>
            <a:fillRect/>
          </a:stretch>
        </p:blipFill>
        <p:spPr>
          <a:xfrm>
            <a:off x="217486" y="1527788"/>
            <a:ext cx="8714987" cy="2702286"/>
          </a:xfrm>
          <a:prstGeom prst="rect">
            <a:avLst/>
          </a:prstGeom>
        </p:spPr>
      </p:pic>
      <p:sp>
        <p:nvSpPr>
          <p:cNvPr id="9" name="Text Placeholder 9">
            <a:extLst>
              <a:ext uri="{FF2B5EF4-FFF2-40B4-BE49-F238E27FC236}">
                <a16:creationId xmlns:a16="http://schemas.microsoft.com/office/drawing/2014/main" xmlns="" id="{993A2221-16F4-4723-88AC-11C8897A8F1F}"/>
              </a:ext>
            </a:extLst>
          </p:cNvPr>
          <p:cNvSpPr txBox="1">
            <a:spLocks/>
          </p:cNvSpPr>
          <p:nvPr/>
        </p:nvSpPr>
        <p:spPr>
          <a:xfrm>
            <a:off x="157163" y="4495500"/>
            <a:ext cx="8234670" cy="504000"/>
          </a:xfrm>
          <a:prstGeom prst="rect">
            <a:avLst/>
          </a:prstGeom>
        </p:spPr>
        <p:txBody>
          <a:bodyPr lIns="0" tIns="45720" rIns="0" bIns="45720" rtlCol="0" anchor="b"/>
          <a:lstStyle>
            <a:lvl1pPr marL="457178" indent="-457178" algn="l" defTabSz="609570" rtl="0" eaLnBrk="1" latinLnBrk="0" hangingPunct="1">
              <a:spcBef>
                <a:spcPct val="20000"/>
              </a:spcBef>
              <a:buFont typeface="Arial"/>
              <a:buChar char="•"/>
              <a:defRPr kumimoji="1"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kumimoji="1"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kumimoji="1"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9pPr>
          </a:lstStyle>
          <a:p>
            <a:pPr marL="0" indent="0">
              <a:buNone/>
            </a:pPr>
            <a:r>
              <a:rPr lang="ru" sz="600" dirty="0"/>
              <a:t>HER2 — рецептор эпидермального фактора роста человека 2 типа; ИГХ — иммуногистохимия; ISH — гибридизация </a:t>
            </a:r>
            <a:r>
              <a:rPr lang="ru" sz="600" i="1" dirty="0"/>
              <a:t>in situ</a:t>
            </a:r>
            <a:r>
              <a:rPr lang="ru" sz="600" dirty="0"/>
              <a:t>.</a:t>
            </a:r>
            <a:r>
              <a:rPr lang="en-GB" sz="600" dirty="0"/>
              <a:t/>
            </a:r>
            <a:br>
              <a:rPr lang="en-GB" sz="600" dirty="0"/>
            </a:br>
            <a:r>
              <a:rPr lang="ru" sz="600" dirty="0"/>
              <a:t>*Алгоритм оценки HER2-статуса посредством ИГХ основан на оценке интенсивности окрашивания и доли окрашенных опухолевых клеток.</a:t>
            </a:r>
          </a:p>
          <a:p>
            <a:pPr marL="0" indent="0">
              <a:buNone/>
            </a:pPr>
            <a:endParaRPr lang="ru" sz="600" dirty="0"/>
          </a:p>
          <a:p>
            <a:pPr marL="0" indent="0">
              <a:buNone/>
            </a:pPr>
            <a:r>
              <a:rPr lang="ru" sz="600" dirty="0">
                <a:solidFill>
                  <a:schemeClr val="accent6">
                    <a:lumMod val="50000"/>
                  </a:schemeClr>
                </a:solidFill>
              </a:rPr>
              <a:t>1. Marchio C et al. Sem Clin Bio 2020. [Epub ahead of print]. 2. Furrer D et al. Am J Clin Pathol 2015; 144:686-703. 3. Wolff AC et al. J Clin Oncol. 2018;36:2105–2122. 4. </a:t>
            </a:r>
            <a:r>
              <a:rPr lang="en-US" sz="600" dirty="0">
                <a:solidFill>
                  <a:schemeClr val="accent6">
                    <a:lumMod val="50000"/>
                  </a:schemeClr>
                </a:solidFill>
              </a:rPr>
              <a:t>NCCN </a:t>
            </a:r>
            <a:r>
              <a:rPr lang="en-US" sz="600" dirty="0"/>
              <a:t>Guidelines v.3.2022</a:t>
            </a:r>
            <a:r>
              <a:rPr lang="ru-RU" sz="600" dirty="0"/>
              <a:t> электронный ресурс </a:t>
            </a:r>
            <a:r>
              <a:rPr lang="ru-RU" sz="600" dirty="0">
                <a:hlinkClick r:id="rId3"/>
              </a:rPr>
              <a:t>https://www.nccn.org/guidelines/guidelines-detail?category=1&amp;id=1419</a:t>
            </a:r>
            <a:r>
              <a:rPr lang="ru-RU" sz="600" dirty="0"/>
              <a:t> дата обращения 16.03.2023 </a:t>
            </a:r>
            <a:r>
              <a:rPr lang="ru" sz="600" dirty="0">
                <a:solidFill>
                  <a:schemeClr val="accent6">
                    <a:lumMod val="50000"/>
                  </a:schemeClr>
                </a:solidFill>
              </a:rPr>
              <a:t>5. Cardoso F et al. Ann Oncol. 2018;29:1634–1657;</a:t>
            </a:r>
            <a:endParaRPr lang="en-GB" sz="600" dirty="0">
              <a:solidFill>
                <a:schemeClr val="accent6">
                  <a:lumMod val="50000"/>
                </a:schemeClr>
              </a:solidFill>
              <a:cs typeface="Arial"/>
            </a:endParaRPr>
          </a:p>
        </p:txBody>
      </p:sp>
    </p:spTree>
    <p:extLst>
      <p:ext uri="{BB962C8B-B14F-4D97-AF65-F5344CB8AC3E}">
        <p14:creationId xmlns:p14="http://schemas.microsoft.com/office/powerpoint/2010/main" val="104529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xmlns="" id="{1D5A0814-A980-4682-9D34-0A9B04D081C6}"/>
              </a:ext>
            </a:extLst>
          </p:cNvPr>
          <p:cNvSpPr txBox="1"/>
          <p:nvPr/>
        </p:nvSpPr>
        <p:spPr>
          <a:xfrm>
            <a:off x="710571" y="310494"/>
            <a:ext cx="7604754" cy="276999"/>
          </a:xfrm>
          <a:prstGeom prst="rect">
            <a:avLst/>
          </a:prstGeom>
          <a:noFill/>
          <a:ln cap="flat">
            <a:noFill/>
          </a:ln>
        </p:spPr>
        <p:txBody>
          <a:bodyPr vert="horz" wrap="square" lIns="0" tIns="0" rIns="0" bIns="0" anchor="ctr" anchorCtr="0" compatLnSpc="1">
            <a:spAutoFit/>
          </a:bodyPr>
          <a:lstStyle/>
          <a:p>
            <a:pPr defTabSz="513868">
              <a:defRPr sz="1800" b="0" i="0" u="none" strike="noStrike" kern="0" cap="none" spc="0" baseline="0">
                <a:solidFill>
                  <a:srgbClr val="000000"/>
                </a:solidFill>
                <a:uFillTx/>
              </a:defRPr>
            </a:pPr>
            <a:r>
              <a:rPr lang="ru-RU" b="1" dirty="0">
                <a:solidFill>
                  <a:schemeClr val="accent1"/>
                </a:solidFill>
                <a:cs typeface="Arial"/>
              </a:rPr>
              <a:t>Раскрытие информации о потенциальном конфликте интересов</a:t>
            </a:r>
          </a:p>
        </p:txBody>
      </p:sp>
      <p:graphicFrame>
        <p:nvGraphicFramePr>
          <p:cNvPr id="11" name="Table 10">
            <a:extLst>
              <a:ext uri="{FF2B5EF4-FFF2-40B4-BE49-F238E27FC236}">
                <a16:creationId xmlns:a16="http://schemas.microsoft.com/office/drawing/2014/main" xmlns="" id="{21CC6422-0492-4996-9485-1618FD7EAFA6}"/>
              </a:ext>
            </a:extLst>
          </p:cNvPr>
          <p:cNvGraphicFramePr>
            <a:graphicFrameLocks noGrp="1"/>
          </p:cNvGraphicFramePr>
          <p:nvPr>
            <p:extLst>
              <p:ext uri="{D42A27DB-BD31-4B8C-83A1-F6EECF244321}">
                <p14:modId xmlns:p14="http://schemas.microsoft.com/office/powerpoint/2010/main" val="1937422436"/>
              </p:ext>
            </p:extLst>
          </p:nvPr>
        </p:nvGraphicFramePr>
        <p:xfrm>
          <a:off x="710572" y="1476747"/>
          <a:ext cx="7722858" cy="2612941"/>
        </p:xfrm>
        <a:graphic>
          <a:graphicData uri="http://schemas.openxmlformats.org/drawingml/2006/table">
            <a:tbl>
              <a:tblPr/>
              <a:tblGrid>
                <a:gridCol w="3942438">
                  <a:extLst>
                    <a:ext uri="{9D8B030D-6E8A-4147-A177-3AD203B41FA5}">
                      <a16:colId xmlns:a16="http://schemas.microsoft.com/office/drawing/2014/main" xmlns="" val="3609589443"/>
                    </a:ext>
                  </a:extLst>
                </a:gridCol>
                <a:gridCol w="3780420">
                  <a:extLst>
                    <a:ext uri="{9D8B030D-6E8A-4147-A177-3AD203B41FA5}">
                      <a16:colId xmlns:a16="http://schemas.microsoft.com/office/drawing/2014/main" xmlns="" val="492437872"/>
                    </a:ext>
                  </a:extLst>
                </a:gridCol>
              </a:tblGrid>
              <a:tr h="283035">
                <a:tc>
                  <a:txBody>
                    <a:bodyPr/>
                    <a:lstStyle/>
                    <a:p>
                      <a:pPr latinLnBrk="0"/>
                      <a:r>
                        <a:rPr kumimoji="0" lang="ru-RU" sz="1200" b="1" i="0" u="none" strike="noStrike" kern="1200" cap="none" spc="0" normalizeH="0" baseline="0" dirty="0">
                          <a:ln>
                            <a:noFill/>
                          </a:ln>
                          <a:solidFill>
                            <a:srgbClr val="AC1F2E"/>
                          </a:solidFill>
                          <a:effectLst/>
                          <a:uLnTx/>
                          <a:uFillTx/>
                          <a:latin typeface="Arial"/>
                          <a:ea typeface="+mj-ea"/>
                          <a:cs typeface="Arial"/>
                        </a:rPr>
                        <a:t>Активность</a:t>
                      </a: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tc>
                  <a:txBody>
                    <a:bodyPr/>
                    <a:lstStyle/>
                    <a:p>
                      <a:pPr marL="0" latinLnBrk="0"/>
                      <a:r>
                        <a:rPr kumimoji="0" lang="ru-RU" sz="1200" b="1" i="0" u="none" strike="noStrike" kern="1200" cap="none" spc="0" normalizeH="0" baseline="0" dirty="0">
                          <a:ln>
                            <a:noFill/>
                          </a:ln>
                          <a:solidFill>
                            <a:srgbClr val="AC1F2E"/>
                          </a:solidFill>
                          <a:effectLst/>
                          <a:uLnTx/>
                          <a:uFillTx/>
                          <a:latin typeface="Arial"/>
                          <a:ea typeface="+mj-ea"/>
                          <a:cs typeface="Arial"/>
                        </a:rPr>
                        <a:t>Название компании</a:t>
                      </a: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xmlns="" val="360929094"/>
                  </a:ext>
                </a:extLst>
              </a:tr>
              <a:tr h="408556">
                <a:tc>
                  <a:txBody>
                    <a:bodyPr/>
                    <a:lstStyle/>
                    <a:p>
                      <a:pPr latinLnBrk="0"/>
                      <a:r>
                        <a:rPr lang="ru-RU" sz="1200" b="0" i="0" dirty="0">
                          <a:effectLst/>
                          <a:latin typeface="Arial" panose="020B0604020202020204" pitchFamily="34" charset="0"/>
                          <a:cs typeface="Arial" panose="020B0604020202020204" pitchFamily="34" charset="0"/>
                        </a:rPr>
                        <a:t>Научные гранты/клинические исследования</a:t>
                      </a:r>
                      <a:endParaRPr lang="ru-RU" sz="2400" b="0" i="0" dirty="0">
                        <a:effectLst/>
                        <a:latin typeface="Arial" panose="020B0604020202020204" pitchFamily="34" charset="0"/>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tc>
                  <a:txBody>
                    <a:bodyPr/>
                    <a:lstStyle/>
                    <a:p>
                      <a:pPr marL="0" algn="l" defTabSz="1935066" rtl="0" eaLnBrk="1" latinLnBrk="0" hangingPunct="1"/>
                      <a:r>
                        <a:rPr lang="ru-RU" sz="1200" b="0" i="0" kern="1200" dirty="0" smtClean="0">
                          <a:solidFill>
                            <a:schemeClr val="tx1"/>
                          </a:solidFill>
                          <a:effectLst/>
                          <a:latin typeface="Arial" panose="020B0604020202020204" pitchFamily="34" charset="0"/>
                          <a:ea typeface="+mn-ea"/>
                          <a:cs typeface="Arial" panose="020B0604020202020204" pitchFamily="34" charset="0"/>
                        </a:rPr>
                        <a:t>Астра </a:t>
                      </a:r>
                      <a:r>
                        <a:rPr lang="ru-RU" sz="1200" b="0" i="0" kern="1200" dirty="0" err="1" smtClean="0">
                          <a:solidFill>
                            <a:schemeClr val="tx1"/>
                          </a:solidFill>
                          <a:effectLst/>
                          <a:latin typeface="Arial" panose="020B0604020202020204" pitchFamily="34" charset="0"/>
                          <a:ea typeface="+mn-ea"/>
                          <a:cs typeface="Arial" panose="020B0604020202020204" pitchFamily="34" charset="0"/>
                        </a:rPr>
                        <a:t>Зенека</a:t>
                      </a:r>
                      <a:endParaRPr lang="ru-RU" sz="1200" b="0" i="0" kern="1200" dirty="0">
                        <a:solidFill>
                          <a:schemeClr val="tx1"/>
                        </a:solidFill>
                        <a:effectLst/>
                        <a:latin typeface="Arial" panose="020B0604020202020204" pitchFamily="34" charset="0"/>
                        <a:ea typeface="+mn-ea"/>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xmlns="" val="4131855062"/>
                  </a:ext>
                </a:extLst>
              </a:tr>
              <a:tr h="446773">
                <a:tc>
                  <a:txBody>
                    <a:bodyPr/>
                    <a:lstStyle/>
                    <a:p>
                      <a:pPr latinLnBrk="0"/>
                      <a:r>
                        <a:rPr lang="ru-RU" sz="1200" b="0" i="0" dirty="0">
                          <a:effectLst/>
                          <a:latin typeface="Arial" panose="020B0604020202020204" pitchFamily="34" charset="0"/>
                          <a:cs typeface="Arial" panose="020B0604020202020204" pitchFamily="34" charset="0"/>
                        </a:rPr>
                        <a:t>Лектор</a:t>
                      </a:r>
                      <a:endParaRPr lang="ru-RU" sz="2400" b="0" i="0" dirty="0">
                        <a:effectLst/>
                        <a:latin typeface="Arial" panose="020B0604020202020204" pitchFamily="34" charset="0"/>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tc>
                  <a:txBody>
                    <a:bodyPr/>
                    <a:lstStyle/>
                    <a:p>
                      <a:pPr marL="0" algn="l" defTabSz="1935066" rtl="0" eaLnBrk="1" latinLnBrk="0" hangingPunct="1"/>
                      <a:r>
                        <a:rPr lang="ru-RU" sz="1200" b="0" i="0" kern="1200" dirty="0" err="1" smtClean="0">
                          <a:solidFill>
                            <a:schemeClr val="tx1"/>
                          </a:solidFill>
                          <a:effectLst/>
                          <a:latin typeface="Arial" panose="020B0604020202020204" pitchFamily="34" charset="0"/>
                          <a:ea typeface="+mn-ea"/>
                          <a:cs typeface="Arial" panose="020B0604020202020204" pitchFamily="34" charset="0"/>
                        </a:rPr>
                        <a:t>Сатбаева</a:t>
                      </a:r>
                      <a:r>
                        <a:rPr lang="ru-RU" sz="1200" b="0" i="0" kern="1200" dirty="0" smtClean="0">
                          <a:solidFill>
                            <a:schemeClr val="tx1"/>
                          </a:solidFill>
                          <a:effectLst/>
                          <a:latin typeface="Arial" panose="020B0604020202020204" pitchFamily="34" charset="0"/>
                          <a:ea typeface="+mn-ea"/>
                          <a:cs typeface="Arial" panose="020B0604020202020204" pitchFamily="34" charset="0"/>
                        </a:rPr>
                        <a:t> Эльвира </a:t>
                      </a:r>
                      <a:r>
                        <a:rPr lang="ru-RU" sz="1200" b="0" i="0" kern="1200" dirty="0" err="1" smtClean="0">
                          <a:solidFill>
                            <a:schemeClr val="tx1"/>
                          </a:solidFill>
                          <a:effectLst/>
                          <a:latin typeface="Arial" panose="020B0604020202020204" pitchFamily="34" charset="0"/>
                          <a:ea typeface="+mn-ea"/>
                          <a:cs typeface="Arial" panose="020B0604020202020204" pitchFamily="34" charset="0"/>
                        </a:rPr>
                        <a:t>Болатовна</a:t>
                      </a:r>
                      <a:endParaRPr lang="ru-RU" sz="1200" b="0" i="0" kern="1200" dirty="0">
                        <a:solidFill>
                          <a:schemeClr val="tx1"/>
                        </a:solidFill>
                        <a:effectLst/>
                        <a:latin typeface="Arial" panose="020B0604020202020204" pitchFamily="34" charset="0"/>
                        <a:ea typeface="+mn-ea"/>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xmlns="" val="511584875"/>
                  </a:ext>
                </a:extLst>
              </a:tr>
              <a:tr h="453838">
                <a:tc>
                  <a:txBody>
                    <a:bodyPr/>
                    <a:lstStyle/>
                    <a:p>
                      <a:pPr latinLnBrk="0"/>
                      <a:r>
                        <a:rPr lang="ru-RU" sz="1200" b="0" i="0" dirty="0">
                          <a:effectLst/>
                          <a:latin typeface="Arial" panose="020B0604020202020204" pitchFamily="34" charset="0"/>
                          <a:cs typeface="Arial" panose="020B0604020202020204" pitchFamily="34" charset="0"/>
                        </a:rPr>
                        <a:t>Член научного (консультативного) совета</a:t>
                      </a:r>
                      <a:endParaRPr lang="ru-RU" sz="2400" b="0" i="0" dirty="0">
                        <a:effectLst/>
                        <a:latin typeface="Arial" panose="020B0604020202020204" pitchFamily="34" charset="0"/>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tc>
                  <a:txBody>
                    <a:bodyPr/>
                    <a:lstStyle/>
                    <a:p>
                      <a:pPr marL="0" marR="0" lvl="0" indent="0" algn="l" defTabSz="1935066" rtl="0" eaLnBrk="1" fontAlgn="auto" latinLnBrk="0" hangingPunct="1">
                        <a:lnSpc>
                          <a:spcPct val="100000"/>
                        </a:lnSpc>
                        <a:spcBef>
                          <a:spcPts val="0"/>
                        </a:spcBef>
                        <a:spcAft>
                          <a:spcPts val="0"/>
                        </a:spcAft>
                        <a:buClrTx/>
                        <a:buSzTx/>
                        <a:buFontTx/>
                        <a:buNone/>
                        <a:tabLst/>
                        <a:defRPr/>
                      </a:pPr>
                      <a:r>
                        <a:rPr lang="ru-RU" sz="1200" b="0" i="0" kern="1200" dirty="0" smtClean="0">
                          <a:solidFill>
                            <a:schemeClr val="tx1"/>
                          </a:solidFill>
                          <a:effectLst/>
                          <a:latin typeface="Arial" panose="020B0604020202020204" pitchFamily="34" charset="0"/>
                          <a:ea typeface="+mn-ea"/>
                          <a:cs typeface="Arial" panose="020B0604020202020204" pitchFamily="34" charset="0"/>
                        </a:rPr>
                        <a:t>Член Совета Экспертов ЦККИИ РМАНПО г. Москва</a:t>
                      </a:r>
                      <a:endParaRPr lang="ru-RU" sz="1200" b="0" i="0" kern="1200" dirty="0">
                        <a:solidFill>
                          <a:schemeClr val="tx1"/>
                        </a:solidFill>
                        <a:effectLst/>
                        <a:latin typeface="Arial" panose="020B0604020202020204" pitchFamily="34" charset="0"/>
                        <a:ea typeface="+mn-ea"/>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xmlns="" val="2985648061"/>
                  </a:ext>
                </a:extLst>
              </a:tr>
              <a:tr h="453838">
                <a:tc>
                  <a:txBody>
                    <a:bodyPr/>
                    <a:lstStyle/>
                    <a:p>
                      <a:pPr latinLnBrk="0"/>
                      <a:r>
                        <a:rPr lang="ru-RU" sz="1200" b="0" i="0" dirty="0">
                          <a:effectLst/>
                          <a:latin typeface="Arial" panose="020B0604020202020204" pitchFamily="34" charset="0"/>
                          <a:cs typeface="Arial" panose="020B0604020202020204" pitchFamily="34" charset="0"/>
                        </a:rPr>
                        <a:t>Консультант</a:t>
                      </a:r>
                      <a:endParaRPr lang="ru-RU" sz="2400" b="0" i="0" dirty="0">
                        <a:effectLst/>
                        <a:latin typeface="Arial" panose="020B0604020202020204" pitchFamily="34" charset="0"/>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tc>
                  <a:txBody>
                    <a:bodyPr/>
                    <a:lstStyle/>
                    <a:p>
                      <a:pPr marL="0" algn="l" defTabSz="1935066" rtl="0" eaLnBrk="1" latinLnBrk="0" hangingPunct="1"/>
                      <a:r>
                        <a:rPr lang="ru-RU" sz="1200" b="0" i="0" kern="1200" dirty="0" smtClean="0">
                          <a:solidFill>
                            <a:schemeClr val="tx1"/>
                          </a:solidFill>
                          <a:effectLst/>
                          <a:latin typeface="Arial" panose="020B0604020202020204" pitchFamily="34" charset="0"/>
                          <a:ea typeface="+mn-ea"/>
                          <a:cs typeface="Arial" panose="020B0604020202020204" pitchFamily="34" charset="0"/>
                        </a:rPr>
                        <a:t>Председатель Правления ОО «Сообщество </a:t>
                      </a:r>
                      <a:r>
                        <a:rPr lang="ru-RU" sz="1200" b="0" i="0" kern="1200" dirty="0" err="1" smtClean="0">
                          <a:solidFill>
                            <a:schemeClr val="tx1"/>
                          </a:solidFill>
                          <a:effectLst/>
                          <a:latin typeface="Arial" panose="020B0604020202020204" pitchFamily="34" charset="0"/>
                          <a:ea typeface="+mn-ea"/>
                          <a:cs typeface="Arial" panose="020B0604020202020204" pitchFamily="34" charset="0"/>
                        </a:rPr>
                        <a:t>онкоморфологов</a:t>
                      </a:r>
                      <a:r>
                        <a:rPr lang="ru-RU" sz="1200" b="0" i="0" kern="1200" dirty="0" smtClean="0">
                          <a:solidFill>
                            <a:schemeClr val="tx1"/>
                          </a:solidFill>
                          <a:effectLst/>
                          <a:latin typeface="Arial" panose="020B0604020202020204" pitchFamily="34" charset="0"/>
                          <a:ea typeface="+mn-ea"/>
                          <a:cs typeface="Arial" panose="020B0604020202020204" pitchFamily="34" charset="0"/>
                        </a:rPr>
                        <a:t> г. Алматы»</a:t>
                      </a:r>
                      <a:endParaRPr lang="ru-RU" sz="1200" b="0" i="0" kern="1200" dirty="0">
                        <a:solidFill>
                          <a:schemeClr val="tx1"/>
                        </a:solidFill>
                        <a:effectLst/>
                        <a:latin typeface="Arial" panose="020B0604020202020204" pitchFamily="34" charset="0"/>
                        <a:ea typeface="+mn-ea"/>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xmlns="" val="2605263411"/>
                  </a:ext>
                </a:extLst>
              </a:tr>
              <a:tr h="566901">
                <a:tc>
                  <a:txBody>
                    <a:bodyPr/>
                    <a:lstStyle/>
                    <a:p>
                      <a:pPr latinLnBrk="0"/>
                      <a:r>
                        <a:rPr lang="ru-RU" sz="1200" b="0" i="0" dirty="0">
                          <a:effectLst/>
                          <a:latin typeface="Arial" panose="020B0604020202020204" pitchFamily="34" charset="0"/>
                          <a:cs typeface="Arial" panose="020B0604020202020204" pitchFamily="34" charset="0"/>
                        </a:rPr>
                        <a:t>Сотрудник (в том числе частичная занятость)</a:t>
                      </a:r>
                      <a:endParaRPr lang="ru-RU" sz="2400" b="0" i="0" dirty="0">
                        <a:effectLst/>
                        <a:latin typeface="Arial" panose="020B0604020202020204" pitchFamily="34" charset="0"/>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tc>
                  <a:txBody>
                    <a:bodyPr/>
                    <a:lstStyle/>
                    <a:p>
                      <a:pPr marL="0" algn="l" defTabSz="1935066" rtl="0" eaLnBrk="1" latinLnBrk="0" hangingPunct="1"/>
                      <a:r>
                        <a:rPr lang="ru-RU" sz="1200" b="0" i="0" kern="1200" dirty="0" smtClean="0">
                          <a:solidFill>
                            <a:schemeClr val="tx1"/>
                          </a:solidFill>
                          <a:effectLst/>
                          <a:latin typeface="Arial" panose="020B0604020202020204" pitchFamily="34" charset="0"/>
                          <a:ea typeface="+mn-ea"/>
                          <a:cs typeface="Arial" panose="020B0604020202020204" pitchFamily="34" charset="0"/>
                        </a:rPr>
                        <a:t>Заведующая Лаборатории ИГХ и МГ-диагностики КГП на ПХВ «</a:t>
                      </a:r>
                      <a:r>
                        <a:rPr lang="ru-RU" sz="1200" b="0" i="0" kern="1200" dirty="0" err="1" smtClean="0">
                          <a:solidFill>
                            <a:schemeClr val="tx1"/>
                          </a:solidFill>
                          <a:effectLst/>
                          <a:latin typeface="Arial" panose="020B0604020202020204" pitchFamily="34" charset="0"/>
                          <a:ea typeface="+mn-ea"/>
                          <a:cs typeface="Arial" panose="020B0604020202020204" pitchFamily="34" charset="0"/>
                        </a:rPr>
                        <a:t>Алматинский</a:t>
                      </a:r>
                      <a:r>
                        <a:rPr lang="ru-RU" sz="1200" b="0" i="0" kern="1200" dirty="0" smtClean="0">
                          <a:solidFill>
                            <a:schemeClr val="tx1"/>
                          </a:solidFill>
                          <a:effectLst/>
                          <a:latin typeface="Arial" panose="020B0604020202020204" pitchFamily="34" charset="0"/>
                          <a:ea typeface="+mn-ea"/>
                          <a:cs typeface="Arial" panose="020B0604020202020204" pitchFamily="34" charset="0"/>
                        </a:rPr>
                        <a:t> онкологический центр»</a:t>
                      </a:r>
                      <a:endParaRPr lang="ru-RU" sz="1200" b="0" i="0" kern="1200" dirty="0">
                        <a:solidFill>
                          <a:schemeClr val="tx1"/>
                        </a:solidFill>
                        <a:effectLst/>
                        <a:latin typeface="Arial" panose="020B0604020202020204" pitchFamily="34" charset="0"/>
                        <a:ea typeface="+mn-ea"/>
                        <a:cs typeface="Arial" panose="020B0604020202020204" pitchFamily="34" charset="0"/>
                      </a:endParaRPr>
                    </a:p>
                  </a:txBody>
                  <a:tcPr marL="68517" marR="68517" marT="34258" marB="34258" anchor="ctr">
                    <a:lnL w="12700" cap="flat" cmpd="sng" algn="ctr">
                      <a:solidFill>
                        <a:srgbClr val="D1D1D1"/>
                      </a:solidFill>
                      <a:prstDash val="solid"/>
                      <a:round/>
                      <a:headEnd type="none" w="med" len="med"/>
                      <a:tailEnd type="none" w="med" len="med"/>
                    </a:lnL>
                    <a:lnR w="12700" cap="flat" cmpd="sng" algn="ctr">
                      <a:solidFill>
                        <a:srgbClr val="D1D1D1"/>
                      </a:solidFill>
                      <a:prstDash val="solid"/>
                      <a:round/>
                      <a:headEnd type="none" w="med" len="med"/>
                      <a:tailEnd type="none" w="med" len="med"/>
                    </a:lnR>
                    <a:lnT w="12700" cap="flat" cmpd="sng" algn="ctr">
                      <a:solidFill>
                        <a:srgbClr val="D1D1D1"/>
                      </a:solidFill>
                      <a:prstDash val="solid"/>
                      <a:round/>
                      <a:headEnd type="none" w="med" len="med"/>
                      <a:tailEnd type="none" w="med" len="med"/>
                    </a:lnT>
                    <a:lnB w="12700" cap="flat" cmpd="sng" algn="ctr">
                      <a:solidFill>
                        <a:srgbClr val="D1D1D1"/>
                      </a:solidFill>
                      <a:prstDash val="solid"/>
                      <a:round/>
                      <a:headEnd type="none" w="med" len="med"/>
                      <a:tailEnd type="none" w="med" len="med"/>
                    </a:lnB>
                    <a:noFill/>
                  </a:tcPr>
                </a:tc>
                <a:extLst>
                  <a:ext uri="{0D108BD9-81ED-4DB2-BD59-A6C34878D82A}">
                    <a16:rowId xmlns:a16="http://schemas.microsoft.com/office/drawing/2014/main" xmlns="" val="1731759599"/>
                  </a:ext>
                </a:extLst>
              </a:tr>
            </a:tbl>
          </a:graphicData>
        </a:graphic>
      </p:graphicFrame>
    </p:spTree>
    <p:extLst>
      <p:ext uri="{BB962C8B-B14F-4D97-AF65-F5344CB8AC3E}">
        <p14:creationId xmlns:p14="http://schemas.microsoft.com/office/powerpoint/2010/main" val="985845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3D5F240-DECB-4D34-969E-44C696518807}"/>
              </a:ext>
            </a:extLst>
          </p:cNvPr>
          <p:cNvSpPr>
            <a:spLocks noGrp="1"/>
          </p:cNvSpPr>
          <p:nvPr>
            <p:ph type="title"/>
          </p:nvPr>
        </p:nvSpPr>
        <p:spPr/>
        <p:txBody>
          <a:bodyPr/>
          <a:lstStyle/>
          <a:p>
            <a:r>
              <a:rPr lang="ru-RU" dirty="0"/>
              <a:t>Этапы полуколичественной оценки </a:t>
            </a:r>
            <a:r>
              <a:rPr lang="en-US" dirty="0"/>
              <a:t>HER2-</a:t>
            </a:r>
            <a:r>
              <a:rPr lang="ru-RU" dirty="0"/>
              <a:t>статуса</a:t>
            </a:r>
            <a:endParaRPr lang="en-US" dirty="0"/>
          </a:p>
        </p:txBody>
      </p:sp>
      <p:sp>
        <p:nvSpPr>
          <p:cNvPr id="5" name="Rectangle 4">
            <a:extLst>
              <a:ext uri="{FF2B5EF4-FFF2-40B4-BE49-F238E27FC236}">
                <a16:creationId xmlns:a16="http://schemas.microsoft.com/office/drawing/2014/main" xmlns="" id="{0C0B71B2-D064-40F2-B5B2-C7B24C8C364F}"/>
              </a:ext>
            </a:extLst>
          </p:cNvPr>
          <p:cNvSpPr/>
          <p:nvPr/>
        </p:nvSpPr>
        <p:spPr>
          <a:xfrm>
            <a:off x="235572" y="1519600"/>
            <a:ext cx="8504089" cy="2733660"/>
          </a:xfrm>
          <a:prstGeom prst="rect">
            <a:avLst/>
          </a:prstGeom>
          <a:solidFill>
            <a:schemeClr val="accent6">
              <a:lumMod val="20000"/>
              <a:lumOff val="80000"/>
            </a:schemeClr>
          </a:solid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GB" dirty="0">
              <a:solidFill>
                <a:srgbClr val="FFFFFF"/>
              </a:solidFill>
              <a:latin typeface="Arial"/>
            </a:endParaRPr>
          </a:p>
        </p:txBody>
      </p:sp>
      <p:grpSp>
        <p:nvGrpSpPr>
          <p:cNvPr id="6" name="Group 5">
            <a:extLst>
              <a:ext uri="{FF2B5EF4-FFF2-40B4-BE49-F238E27FC236}">
                <a16:creationId xmlns:a16="http://schemas.microsoft.com/office/drawing/2014/main" xmlns="" id="{C9B3218B-A09A-49CB-B724-B13BA19343BA}"/>
              </a:ext>
            </a:extLst>
          </p:cNvPr>
          <p:cNvGrpSpPr/>
          <p:nvPr/>
        </p:nvGrpSpPr>
        <p:grpSpPr>
          <a:xfrm>
            <a:off x="303070" y="799906"/>
            <a:ext cx="8515346" cy="679041"/>
            <a:chOff x="307316" y="1011671"/>
            <a:chExt cx="8674272" cy="638056"/>
          </a:xfrm>
        </p:grpSpPr>
        <p:sp>
          <p:nvSpPr>
            <p:cNvPr id="7" name="Chevron 27">
              <a:extLst>
                <a:ext uri="{FF2B5EF4-FFF2-40B4-BE49-F238E27FC236}">
                  <a16:creationId xmlns:a16="http://schemas.microsoft.com/office/drawing/2014/main" xmlns="" id="{D9271303-4074-4B3F-B234-B3FA2E28BF0A}"/>
                </a:ext>
              </a:extLst>
            </p:cNvPr>
            <p:cNvSpPr/>
            <p:nvPr/>
          </p:nvSpPr>
          <p:spPr>
            <a:xfrm>
              <a:off x="307316" y="1011672"/>
              <a:ext cx="2340000" cy="638055"/>
            </a:xfrm>
            <a:prstGeom prst="chevron">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5720" tIns="45720" rIns="45720" bIns="45720" numCol="1" spcCol="1270" rtlCol="0" anchor="ctr" anchorCtr="0">
              <a:noAutofit/>
            </a:bodyPr>
            <a:lstStyle/>
            <a:p>
              <a:pPr algn="ctr" defTabSz="533387">
                <a:lnSpc>
                  <a:spcPct val="90000"/>
                </a:lnSpc>
                <a:spcBef>
                  <a:spcPct val="0"/>
                </a:spcBef>
                <a:spcAft>
                  <a:spcPct val="35000"/>
                </a:spcAft>
                <a:defRPr/>
              </a:pPr>
              <a:r>
                <a:rPr lang="ru" sz="1050" dirty="0">
                  <a:solidFill>
                    <a:srgbClr val="FFFFFF"/>
                  </a:solidFill>
                  <a:latin typeface="Arial"/>
                </a:rPr>
                <a:t>Проверьте положительный и отрицательный контроли</a:t>
              </a:r>
              <a:endParaRPr lang="en-GB" sz="1050" dirty="0">
                <a:solidFill>
                  <a:srgbClr val="FFFFFF"/>
                </a:solidFill>
                <a:latin typeface="Arial"/>
              </a:endParaRPr>
            </a:p>
          </p:txBody>
        </p:sp>
        <p:sp>
          <p:nvSpPr>
            <p:cNvPr id="8" name="Chevron 28">
              <a:extLst>
                <a:ext uri="{FF2B5EF4-FFF2-40B4-BE49-F238E27FC236}">
                  <a16:creationId xmlns:a16="http://schemas.microsoft.com/office/drawing/2014/main" xmlns="" id="{642E58EF-7BE8-4721-B5B9-51326821E134}"/>
                </a:ext>
              </a:extLst>
            </p:cNvPr>
            <p:cNvSpPr/>
            <p:nvPr/>
          </p:nvSpPr>
          <p:spPr>
            <a:xfrm>
              <a:off x="2418740" y="1011671"/>
              <a:ext cx="2340000" cy="634949"/>
            </a:xfrm>
            <a:prstGeom prst="chevron">
              <a:avLst/>
            </a:prstGeom>
            <a:solidFill>
              <a:schemeClr val="accent6"/>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45720" tIns="45720" rIns="45720" bIns="45720" numCol="1" spcCol="1270" rtlCol="0" anchor="ctr" anchorCtr="0">
              <a:noAutofit/>
            </a:bodyPr>
            <a:lstStyle/>
            <a:p>
              <a:pPr algn="ctr" defTabSz="533387">
                <a:lnSpc>
                  <a:spcPct val="90000"/>
                </a:lnSpc>
                <a:spcBef>
                  <a:spcPct val="0"/>
                </a:spcBef>
                <a:spcAft>
                  <a:spcPct val="35000"/>
                </a:spcAft>
                <a:defRPr/>
              </a:pPr>
              <a:r>
                <a:rPr lang="ru" sz="1050">
                  <a:solidFill>
                    <a:srgbClr val="FFFFFF"/>
                  </a:solidFill>
                  <a:latin typeface="Arial"/>
                </a:rPr>
                <a:t>Оцените окрашивание в соответствии с рекомендациями ASCO/CAP</a:t>
              </a:r>
              <a:endParaRPr lang="en-GB" sz="1050" dirty="0">
                <a:solidFill>
                  <a:srgbClr val="FFFFFF"/>
                </a:solidFill>
                <a:latin typeface="Arial"/>
              </a:endParaRPr>
            </a:p>
          </p:txBody>
        </p:sp>
        <p:sp>
          <p:nvSpPr>
            <p:cNvPr id="9" name="Chevron 29">
              <a:extLst>
                <a:ext uri="{FF2B5EF4-FFF2-40B4-BE49-F238E27FC236}">
                  <a16:creationId xmlns:a16="http://schemas.microsoft.com/office/drawing/2014/main" xmlns="" id="{D3AF7A88-4958-411D-8588-5E7B10013B5A}"/>
                </a:ext>
              </a:extLst>
            </p:cNvPr>
            <p:cNvSpPr/>
            <p:nvPr/>
          </p:nvSpPr>
          <p:spPr>
            <a:xfrm>
              <a:off x="4530164" y="1014779"/>
              <a:ext cx="2340000" cy="634948"/>
            </a:xfrm>
            <a:prstGeom prst="chevron">
              <a:avLst/>
            </a:prstGeom>
            <a:solidFill>
              <a:schemeClr val="accent4"/>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720" tIns="45720" rIns="45720" bIns="45720" numCol="1" spcCol="1270" rtlCol="0" anchor="ctr" anchorCtr="0">
              <a:noAutofit/>
            </a:bodyPr>
            <a:lstStyle/>
            <a:p>
              <a:pPr algn="ctr" defTabSz="533387">
                <a:lnSpc>
                  <a:spcPct val="90000"/>
                </a:lnSpc>
                <a:spcBef>
                  <a:spcPct val="0"/>
                </a:spcBef>
                <a:spcAft>
                  <a:spcPct val="35000"/>
                </a:spcAft>
                <a:defRPr/>
              </a:pPr>
              <a:r>
                <a:rPr lang="ru" sz="1050">
                  <a:solidFill>
                    <a:srgbClr val="FFFFFF"/>
                  </a:solidFill>
                  <a:latin typeface="Arial"/>
                </a:rPr>
                <a:t>Определите окончательный результат</a:t>
              </a:r>
              <a:endParaRPr lang="en-GB" sz="1050" dirty="0">
                <a:solidFill>
                  <a:srgbClr val="FFFFFF"/>
                </a:solidFill>
                <a:latin typeface="Arial"/>
              </a:endParaRPr>
            </a:p>
          </p:txBody>
        </p:sp>
        <p:sp>
          <p:nvSpPr>
            <p:cNvPr id="10" name="Chevron 30">
              <a:extLst>
                <a:ext uri="{FF2B5EF4-FFF2-40B4-BE49-F238E27FC236}">
                  <a16:creationId xmlns:a16="http://schemas.microsoft.com/office/drawing/2014/main" xmlns="" id="{80ADC8FC-9942-4B3D-AD89-C0E882661F88}"/>
                </a:ext>
              </a:extLst>
            </p:cNvPr>
            <p:cNvSpPr/>
            <p:nvPr/>
          </p:nvSpPr>
          <p:spPr>
            <a:xfrm>
              <a:off x="6641588" y="1014779"/>
              <a:ext cx="2340000" cy="634948"/>
            </a:xfrm>
            <a:prstGeom prst="chevron">
              <a:avLst/>
            </a:prstGeom>
            <a:solidFill>
              <a:schemeClr val="accent5"/>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45720" tIns="45720" rIns="45720" bIns="45720" numCol="1" spcCol="1270" rtlCol="0" anchor="ctr" anchorCtr="0">
              <a:noAutofit/>
            </a:bodyPr>
            <a:lstStyle/>
            <a:p>
              <a:pPr algn="ctr" defTabSz="533387">
                <a:lnSpc>
                  <a:spcPct val="90000"/>
                </a:lnSpc>
                <a:spcBef>
                  <a:spcPct val="0"/>
                </a:spcBef>
                <a:spcAft>
                  <a:spcPct val="35000"/>
                </a:spcAft>
                <a:defRPr/>
              </a:pPr>
              <a:r>
                <a:rPr lang="ru" sz="1050">
                  <a:solidFill>
                    <a:srgbClr val="FFFFFF"/>
                  </a:solidFill>
                  <a:latin typeface="Arial"/>
                </a:rPr>
                <a:t>Оцените, обоснованна ли ваша интерпретация клинически</a:t>
              </a:r>
              <a:endParaRPr lang="en-GB" sz="1050" dirty="0">
                <a:solidFill>
                  <a:srgbClr val="FFFFFF"/>
                </a:solidFill>
                <a:latin typeface="Arial"/>
              </a:endParaRPr>
            </a:p>
          </p:txBody>
        </p:sp>
      </p:grpSp>
      <p:sp>
        <p:nvSpPr>
          <p:cNvPr id="11" name="Rectangle 10">
            <a:extLst>
              <a:ext uri="{FF2B5EF4-FFF2-40B4-BE49-F238E27FC236}">
                <a16:creationId xmlns:a16="http://schemas.microsoft.com/office/drawing/2014/main" xmlns="" id="{C957CAF1-A396-4C47-8E97-C15F169BC9CF}"/>
              </a:ext>
            </a:extLst>
          </p:cNvPr>
          <p:cNvSpPr/>
          <p:nvPr/>
        </p:nvSpPr>
        <p:spPr>
          <a:xfrm>
            <a:off x="5886450" y="1579193"/>
            <a:ext cx="2864644" cy="677878"/>
          </a:xfrm>
          <a:prstGeom prst="rect">
            <a:avLst/>
          </a:prstGeom>
        </p:spPr>
        <p:txBody>
          <a:bodyPr wrap="square" rtlCol="0">
            <a:spAutoFit/>
          </a:bodyPr>
          <a:lstStyle/>
          <a:p>
            <a:pPr algn="ctr" defTabSz="533387">
              <a:lnSpc>
                <a:spcPct val="90000"/>
              </a:lnSpc>
              <a:spcBef>
                <a:spcPct val="0"/>
              </a:spcBef>
              <a:spcAft>
                <a:spcPct val="35000"/>
              </a:spcAft>
              <a:defRPr/>
            </a:pPr>
            <a:r>
              <a:rPr lang="ru" sz="1100" b="1" dirty="0">
                <a:solidFill>
                  <a:srgbClr val="000000"/>
                </a:solidFill>
                <a:latin typeface="Arial"/>
              </a:rPr>
              <a:t>Процент</a:t>
            </a:r>
          </a:p>
          <a:p>
            <a:pPr algn="ctr" defTabSz="533387">
              <a:lnSpc>
                <a:spcPct val="90000"/>
              </a:lnSpc>
              <a:spcBef>
                <a:spcPct val="0"/>
              </a:spcBef>
              <a:spcAft>
                <a:spcPct val="35000"/>
              </a:spcAft>
              <a:defRPr/>
            </a:pPr>
            <a:r>
              <a:rPr lang="ru" sz="900" dirty="0">
                <a:solidFill>
                  <a:srgbClr val="000000"/>
                </a:solidFill>
                <a:latin typeface="Arial"/>
              </a:rPr>
              <a:t>Пограничное значение окрашивания — 10 %, в соответствии с рекомендациями ASCO/CAP </a:t>
            </a:r>
            <a:br>
              <a:rPr lang="ru" sz="900" dirty="0">
                <a:solidFill>
                  <a:srgbClr val="000000"/>
                </a:solidFill>
                <a:latin typeface="Arial"/>
              </a:rPr>
            </a:br>
            <a:r>
              <a:rPr lang="ru" sz="900" dirty="0">
                <a:solidFill>
                  <a:srgbClr val="000000"/>
                </a:solidFill>
                <a:latin typeface="Arial"/>
              </a:rPr>
              <a:t>(см. ниже)</a:t>
            </a:r>
            <a:r>
              <a:rPr lang="ru" sz="900" baseline="30000" dirty="0">
                <a:solidFill>
                  <a:srgbClr val="000000"/>
                </a:solidFill>
                <a:latin typeface="Arial"/>
              </a:rPr>
              <a:t>1</a:t>
            </a:r>
            <a:endParaRPr lang="en-GB" sz="900" baseline="30000" dirty="0">
              <a:solidFill>
                <a:srgbClr val="000000"/>
              </a:solidFill>
              <a:latin typeface="Arial"/>
            </a:endParaRPr>
          </a:p>
        </p:txBody>
      </p:sp>
      <p:sp>
        <p:nvSpPr>
          <p:cNvPr id="12" name="Rectangle 11">
            <a:extLst>
              <a:ext uri="{FF2B5EF4-FFF2-40B4-BE49-F238E27FC236}">
                <a16:creationId xmlns:a16="http://schemas.microsoft.com/office/drawing/2014/main" xmlns="" id="{48205662-008E-4C39-9A9D-79B908F2A02F}"/>
              </a:ext>
            </a:extLst>
          </p:cNvPr>
          <p:cNvSpPr/>
          <p:nvPr/>
        </p:nvSpPr>
        <p:spPr>
          <a:xfrm>
            <a:off x="452226" y="1579194"/>
            <a:ext cx="2520000" cy="428579"/>
          </a:xfrm>
          <a:prstGeom prst="rect">
            <a:avLst/>
          </a:prstGeom>
        </p:spPr>
        <p:txBody>
          <a:bodyPr wrap="square" rtlCol="0">
            <a:spAutoFit/>
          </a:bodyPr>
          <a:lstStyle/>
          <a:p>
            <a:pPr algn="ctr" defTabSz="533387">
              <a:lnSpc>
                <a:spcPct val="90000"/>
              </a:lnSpc>
              <a:spcBef>
                <a:spcPct val="0"/>
              </a:spcBef>
              <a:spcAft>
                <a:spcPct val="35000"/>
              </a:spcAft>
              <a:defRPr/>
            </a:pPr>
            <a:r>
              <a:rPr lang="ru" sz="1100" b="1" dirty="0">
                <a:solidFill>
                  <a:srgbClr val="000000"/>
                </a:solidFill>
                <a:latin typeface="Arial"/>
              </a:rPr>
              <a:t>Интенсивность </a:t>
            </a:r>
          </a:p>
          <a:p>
            <a:pPr algn="ctr" defTabSz="533387">
              <a:lnSpc>
                <a:spcPct val="90000"/>
              </a:lnSpc>
              <a:spcBef>
                <a:spcPct val="0"/>
              </a:spcBef>
              <a:spcAft>
                <a:spcPct val="35000"/>
              </a:spcAft>
              <a:defRPr/>
            </a:pPr>
            <a:r>
              <a:rPr lang="ru" sz="900" dirty="0">
                <a:solidFill>
                  <a:srgbClr val="000000"/>
                </a:solidFill>
                <a:latin typeface="Arial"/>
              </a:rPr>
              <a:t>выраженная, умеренная или слабая</a:t>
            </a:r>
          </a:p>
        </p:txBody>
      </p:sp>
      <p:sp>
        <p:nvSpPr>
          <p:cNvPr id="13" name="Rectangle 12">
            <a:extLst>
              <a:ext uri="{FF2B5EF4-FFF2-40B4-BE49-F238E27FC236}">
                <a16:creationId xmlns:a16="http://schemas.microsoft.com/office/drawing/2014/main" xmlns="" id="{B594621C-54C7-4F7A-81BC-4C5D95F513BA}"/>
              </a:ext>
            </a:extLst>
          </p:cNvPr>
          <p:cNvSpPr/>
          <p:nvPr/>
        </p:nvSpPr>
        <p:spPr>
          <a:xfrm>
            <a:off x="3264428" y="1579194"/>
            <a:ext cx="2520000" cy="428579"/>
          </a:xfrm>
          <a:prstGeom prst="rect">
            <a:avLst/>
          </a:prstGeom>
        </p:spPr>
        <p:txBody>
          <a:bodyPr wrap="square" rtlCol="0">
            <a:spAutoFit/>
          </a:bodyPr>
          <a:lstStyle/>
          <a:p>
            <a:pPr algn="ctr" defTabSz="533387">
              <a:lnSpc>
                <a:spcPct val="90000"/>
              </a:lnSpc>
              <a:spcBef>
                <a:spcPct val="0"/>
              </a:spcBef>
              <a:spcAft>
                <a:spcPct val="35000"/>
              </a:spcAft>
              <a:defRPr/>
            </a:pPr>
            <a:r>
              <a:rPr lang="ru" sz="1100" b="1" dirty="0">
                <a:solidFill>
                  <a:srgbClr val="000000"/>
                </a:solidFill>
                <a:latin typeface="Arial"/>
              </a:rPr>
              <a:t>Характер </a:t>
            </a:r>
          </a:p>
          <a:p>
            <a:pPr algn="ctr" defTabSz="533387">
              <a:lnSpc>
                <a:spcPct val="90000"/>
              </a:lnSpc>
              <a:spcBef>
                <a:spcPct val="0"/>
              </a:spcBef>
              <a:spcAft>
                <a:spcPct val="35000"/>
              </a:spcAft>
              <a:defRPr/>
            </a:pPr>
            <a:r>
              <a:rPr lang="ru" sz="900" dirty="0">
                <a:solidFill>
                  <a:srgbClr val="000000"/>
                </a:solidFill>
                <a:latin typeface="Arial"/>
              </a:rPr>
              <a:t>полное или неполное, диффузное</a:t>
            </a:r>
          </a:p>
        </p:txBody>
      </p:sp>
      <p:sp>
        <p:nvSpPr>
          <p:cNvPr id="14" name="Down Arrow 43">
            <a:extLst>
              <a:ext uri="{FF2B5EF4-FFF2-40B4-BE49-F238E27FC236}">
                <a16:creationId xmlns:a16="http://schemas.microsoft.com/office/drawing/2014/main" xmlns="" id="{8A900610-04C0-4615-998A-7F11641CA28D}"/>
              </a:ext>
            </a:extLst>
          </p:cNvPr>
          <p:cNvSpPr/>
          <p:nvPr/>
        </p:nvSpPr>
        <p:spPr>
          <a:xfrm>
            <a:off x="2457834" y="1528149"/>
            <a:ext cx="1855750" cy="223498"/>
          </a:xfrm>
          <a:prstGeom prst="downArrow">
            <a:avLst>
              <a:gd name="adj1" fmla="val 50000"/>
              <a:gd name="adj2" fmla="val 10000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GB" dirty="0">
              <a:solidFill>
                <a:srgbClr val="FFFFFF"/>
              </a:solidFill>
              <a:latin typeface="Arial"/>
            </a:endParaRPr>
          </a:p>
        </p:txBody>
      </p:sp>
      <p:cxnSp>
        <p:nvCxnSpPr>
          <p:cNvPr id="15" name="Straight Connector 14">
            <a:extLst>
              <a:ext uri="{FF2B5EF4-FFF2-40B4-BE49-F238E27FC236}">
                <a16:creationId xmlns:a16="http://schemas.microsoft.com/office/drawing/2014/main" xmlns="" id="{8CFF4A1E-EBCD-41CB-B8BD-3C7BC3E28077}"/>
              </a:ext>
            </a:extLst>
          </p:cNvPr>
          <p:cNvCxnSpPr/>
          <p:nvPr/>
        </p:nvCxnSpPr>
        <p:spPr>
          <a:xfrm>
            <a:off x="500113" y="2399164"/>
            <a:ext cx="8239548"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xmlns="" id="{5E809EA6-EDD9-4139-915E-C55B906733B4}"/>
              </a:ext>
            </a:extLst>
          </p:cNvPr>
          <p:cNvGrpSpPr/>
          <p:nvPr/>
        </p:nvGrpSpPr>
        <p:grpSpPr>
          <a:xfrm>
            <a:off x="341684" y="2200237"/>
            <a:ext cx="8291863" cy="2298621"/>
            <a:chOff x="399910" y="2268717"/>
            <a:chExt cx="8291863" cy="2017198"/>
          </a:xfrm>
        </p:grpSpPr>
        <p:sp>
          <p:nvSpPr>
            <p:cNvPr id="17" name="Rectangle 16">
              <a:extLst>
                <a:ext uri="{FF2B5EF4-FFF2-40B4-BE49-F238E27FC236}">
                  <a16:creationId xmlns:a16="http://schemas.microsoft.com/office/drawing/2014/main" xmlns="" id="{A15A33E8-4144-4105-B384-0E2398730D28}"/>
                </a:ext>
              </a:extLst>
            </p:cNvPr>
            <p:cNvSpPr/>
            <p:nvPr/>
          </p:nvSpPr>
          <p:spPr>
            <a:xfrm>
              <a:off x="4577568" y="3497804"/>
              <a:ext cx="2039759" cy="170705"/>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defTabSz="457178">
                <a:defRPr/>
              </a:pPr>
              <a:endParaRPr lang="en-US" sz="1050" b="1" dirty="0">
                <a:solidFill>
                  <a:srgbClr val="9DB0AC">
                    <a:lumMod val="75000"/>
                  </a:srgbClr>
                </a:solidFill>
                <a:latin typeface="Arial"/>
              </a:endParaRPr>
            </a:p>
            <a:p>
              <a:pPr algn="ctr" defTabSz="457178">
                <a:defRPr/>
              </a:pPr>
              <a:r>
                <a:rPr lang="ru" sz="1000" b="1" dirty="0">
                  <a:solidFill>
                    <a:srgbClr val="9DB0AC">
                      <a:lumMod val="75000"/>
                    </a:srgbClr>
                  </a:solidFill>
                  <a:latin typeface="Arial"/>
                </a:rPr>
                <a:t>Неопределенный результат</a:t>
              </a:r>
            </a:p>
          </p:txBody>
        </p:sp>
        <p:sp>
          <p:nvSpPr>
            <p:cNvPr id="18" name="TextBox 17">
              <a:extLst>
                <a:ext uri="{FF2B5EF4-FFF2-40B4-BE49-F238E27FC236}">
                  <a16:creationId xmlns:a16="http://schemas.microsoft.com/office/drawing/2014/main" xmlns="" id="{EE3327B4-B1DF-43B1-9559-A369BD02876C}"/>
                </a:ext>
              </a:extLst>
            </p:cNvPr>
            <p:cNvSpPr txBox="1"/>
            <p:nvPr/>
          </p:nvSpPr>
          <p:spPr>
            <a:xfrm>
              <a:off x="464016" y="2878139"/>
              <a:ext cx="2020526" cy="294144"/>
            </a:xfrm>
            <a:prstGeom prst="rect">
              <a:avLst/>
            </a:prstGeom>
            <a:solidFill>
              <a:schemeClr val="accent2">
                <a:lumMod val="10000"/>
                <a:lumOff val="90000"/>
              </a:schemeClr>
            </a:solidFill>
          </p:spPr>
          <p:txBody>
            <a:bodyPr wrap="square" lIns="0" tIns="0" rIns="0" bIns="0" rtlCol="0" anchor="ctr" anchorCtr="0">
              <a:noAutofit/>
            </a:bodyPr>
            <a:lstStyle/>
            <a:p>
              <a:pPr algn="ctr" defTabSz="457154">
                <a:defRPr/>
              </a:pPr>
              <a:r>
                <a:rPr lang="ru" sz="700" b="1" kern="0" dirty="0">
                  <a:solidFill>
                    <a:prstClr val="black"/>
                  </a:solidFill>
                  <a:latin typeface="Arial"/>
                </a:rPr>
                <a:t>Отсутствие окрашивания ИЛИ слабое </a:t>
              </a:r>
              <a:r>
                <a:rPr lang="ru" sz="700" kern="0" dirty="0">
                  <a:solidFill>
                    <a:prstClr val="black"/>
                  </a:solidFill>
                  <a:latin typeface="Arial"/>
                </a:rPr>
                <a:t>неполное окрашивание ≤ 10 % клеток</a:t>
              </a:r>
            </a:p>
          </p:txBody>
        </p:sp>
        <p:sp>
          <p:nvSpPr>
            <p:cNvPr id="19" name="TextBox 18">
              <a:extLst>
                <a:ext uri="{FF2B5EF4-FFF2-40B4-BE49-F238E27FC236}">
                  <a16:creationId xmlns:a16="http://schemas.microsoft.com/office/drawing/2014/main" xmlns="" id="{6CB3F13F-C78D-418B-8BCE-26D3A27A31A2}"/>
                </a:ext>
              </a:extLst>
            </p:cNvPr>
            <p:cNvSpPr txBox="1"/>
            <p:nvPr/>
          </p:nvSpPr>
          <p:spPr>
            <a:xfrm>
              <a:off x="2517093" y="2893726"/>
              <a:ext cx="2020525" cy="287675"/>
            </a:xfrm>
            <a:prstGeom prst="rect">
              <a:avLst/>
            </a:prstGeom>
            <a:solidFill>
              <a:schemeClr val="accent2">
                <a:lumMod val="10000"/>
                <a:lumOff val="90000"/>
              </a:schemeClr>
            </a:solidFill>
          </p:spPr>
          <p:txBody>
            <a:bodyPr wrap="square" lIns="0" tIns="0" rIns="0" bIns="0" rtlCol="0" anchor="ctr" anchorCtr="0">
              <a:noAutofit/>
            </a:bodyPr>
            <a:lstStyle/>
            <a:p>
              <a:pPr algn="ctr" defTabSz="457154">
                <a:defRPr/>
              </a:pPr>
              <a:r>
                <a:rPr lang="ru" sz="700" b="1" kern="0" dirty="0">
                  <a:solidFill>
                    <a:prstClr val="black"/>
                  </a:solidFill>
                  <a:latin typeface="Arial"/>
                </a:rPr>
                <a:t>Окрашивание слабой интенсивности и</a:t>
              </a:r>
              <a:r>
                <a:rPr lang="en-US" sz="700" b="1" kern="0" dirty="0">
                  <a:solidFill>
                    <a:prstClr val="black"/>
                  </a:solidFill>
                  <a:latin typeface="Arial"/>
                </a:rPr>
                <a:t/>
              </a:r>
              <a:br>
                <a:rPr lang="en-US" sz="700" b="1" kern="0" dirty="0">
                  <a:solidFill>
                    <a:prstClr val="black"/>
                  </a:solidFill>
                  <a:latin typeface="Arial"/>
                </a:rPr>
              </a:br>
              <a:r>
                <a:rPr lang="ru" sz="700" kern="0" dirty="0">
                  <a:solidFill>
                    <a:prstClr val="black"/>
                  </a:solidFill>
                  <a:latin typeface="Arial"/>
                </a:rPr>
                <a:t>неполное окрашивание &gt; 10 % клеток</a:t>
              </a:r>
            </a:p>
          </p:txBody>
        </p:sp>
        <p:sp>
          <p:nvSpPr>
            <p:cNvPr id="21" name="TextBox 20">
              <a:extLst>
                <a:ext uri="{FF2B5EF4-FFF2-40B4-BE49-F238E27FC236}">
                  <a16:creationId xmlns:a16="http://schemas.microsoft.com/office/drawing/2014/main" xmlns="" id="{A5DA8A92-15C6-4D95-A2A5-95BC36397A4D}"/>
                </a:ext>
              </a:extLst>
            </p:cNvPr>
            <p:cNvSpPr txBox="1"/>
            <p:nvPr/>
          </p:nvSpPr>
          <p:spPr>
            <a:xfrm>
              <a:off x="452225" y="2273450"/>
              <a:ext cx="2007821" cy="189192"/>
            </a:xfrm>
            <a:prstGeom prst="rect">
              <a:avLst/>
            </a:prstGeom>
            <a:solidFill>
              <a:srgbClr val="4472C4"/>
            </a:solidFill>
          </p:spPr>
          <p:txBody>
            <a:bodyPr wrap="square" lIns="0" tIns="0" rIns="0" bIns="0" rtlCol="0" anchor="b" anchorCtr="0">
              <a:noAutofit/>
            </a:bodyPr>
            <a:lstStyle/>
            <a:p>
              <a:pPr algn="ctr" defTabSz="457154">
                <a:defRPr/>
              </a:pPr>
              <a:r>
                <a:rPr lang="ru" sz="1200" b="1" kern="0" dirty="0">
                  <a:solidFill>
                    <a:srgbClr val="FFFFFF"/>
                  </a:solidFill>
                  <a:latin typeface="Arial"/>
                </a:rPr>
                <a:t>ИГХ=0</a:t>
              </a:r>
            </a:p>
          </p:txBody>
        </p:sp>
        <p:sp>
          <p:nvSpPr>
            <p:cNvPr id="22" name="TextBox 21">
              <a:extLst>
                <a:ext uri="{FF2B5EF4-FFF2-40B4-BE49-F238E27FC236}">
                  <a16:creationId xmlns:a16="http://schemas.microsoft.com/office/drawing/2014/main" xmlns="" id="{A4D7FF9C-B45A-479B-BD2A-EB02F1D58C25}"/>
                </a:ext>
              </a:extLst>
            </p:cNvPr>
            <p:cNvSpPr txBox="1"/>
            <p:nvPr/>
          </p:nvSpPr>
          <p:spPr>
            <a:xfrm>
              <a:off x="2520883" y="2273450"/>
              <a:ext cx="2020526" cy="189192"/>
            </a:xfrm>
            <a:prstGeom prst="rect">
              <a:avLst/>
            </a:prstGeom>
            <a:solidFill>
              <a:srgbClr val="4472C4"/>
            </a:solidFill>
          </p:spPr>
          <p:txBody>
            <a:bodyPr wrap="square" lIns="0" tIns="0" rIns="0" bIns="0" rtlCol="0" anchor="b" anchorCtr="0">
              <a:noAutofit/>
            </a:bodyPr>
            <a:lstStyle/>
            <a:p>
              <a:pPr algn="ctr" defTabSz="457154">
                <a:defRPr/>
              </a:pPr>
              <a:r>
                <a:rPr lang="ru" sz="1200" b="1" kern="0">
                  <a:solidFill>
                    <a:srgbClr val="FFFFFF"/>
                  </a:solidFill>
                  <a:latin typeface="Arial"/>
                </a:rPr>
                <a:t>ИГХ=1+</a:t>
              </a:r>
            </a:p>
          </p:txBody>
        </p:sp>
        <p:sp>
          <p:nvSpPr>
            <p:cNvPr id="23" name="TextBox 22">
              <a:extLst>
                <a:ext uri="{FF2B5EF4-FFF2-40B4-BE49-F238E27FC236}">
                  <a16:creationId xmlns:a16="http://schemas.microsoft.com/office/drawing/2014/main" xmlns="" id="{EC5681C6-D13A-4682-B446-0953060BE2D4}"/>
                </a:ext>
              </a:extLst>
            </p:cNvPr>
            <p:cNvSpPr txBox="1"/>
            <p:nvPr/>
          </p:nvSpPr>
          <p:spPr>
            <a:xfrm>
              <a:off x="4578422" y="2268717"/>
              <a:ext cx="2044176" cy="193924"/>
            </a:xfrm>
            <a:prstGeom prst="rect">
              <a:avLst/>
            </a:prstGeom>
            <a:solidFill>
              <a:srgbClr val="4472C4"/>
            </a:solidFill>
          </p:spPr>
          <p:txBody>
            <a:bodyPr wrap="square" lIns="0" tIns="0" rIns="0" bIns="0" rtlCol="0" anchor="b" anchorCtr="0">
              <a:noAutofit/>
            </a:bodyPr>
            <a:lstStyle/>
            <a:p>
              <a:pPr algn="ctr" defTabSz="457154">
                <a:defRPr/>
              </a:pPr>
              <a:r>
                <a:rPr lang="ru" sz="1200" b="1" kern="0">
                  <a:solidFill>
                    <a:srgbClr val="FFFFFF"/>
                  </a:solidFill>
                  <a:latin typeface="Arial"/>
                </a:rPr>
                <a:t>ИГХ=2+</a:t>
              </a:r>
            </a:p>
          </p:txBody>
        </p:sp>
        <p:sp>
          <p:nvSpPr>
            <p:cNvPr id="24" name="TextBox 23">
              <a:extLst>
                <a:ext uri="{FF2B5EF4-FFF2-40B4-BE49-F238E27FC236}">
                  <a16:creationId xmlns:a16="http://schemas.microsoft.com/office/drawing/2014/main" xmlns="" id="{A9D4CF52-FAB5-4166-8A31-730B9C2803DA}"/>
                </a:ext>
              </a:extLst>
            </p:cNvPr>
            <p:cNvSpPr txBox="1"/>
            <p:nvPr/>
          </p:nvSpPr>
          <p:spPr>
            <a:xfrm>
              <a:off x="6667897" y="2268718"/>
              <a:ext cx="2023876" cy="191108"/>
            </a:xfrm>
            <a:prstGeom prst="rect">
              <a:avLst/>
            </a:prstGeom>
            <a:solidFill>
              <a:srgbClr val="4472C4"/>
            </a:solidFill>
          </p:spPr>
          <p:txBody>
            <a:bodyPr wrap="square" lIns="0" tIns="0" rIns="0" bIns="0" rtlCol="0" anchor="b" anchorCtr="0">
              <a:noAutofit/>
            </a:bodyPr>
            <a:lstStyle/>
            <a:p>
              <a:pPr algn="ctr" defTabSz="457154">
                <a:defRPr/>
              </a:pPr>
              <a:r>
                <a:rPr lang="ru" sz="1200" b="1" kern="0">
                  <a:solidFill>
                    <a:srgbClr val="FFFFFF"/>
                  </a:solidFill>
                  <a:latin typeface="Arial"/>
                </a:rPr>
                <a:t>ИГХ=3+</a:t>
              </a:r>
            </a:p>
          </p:txBody>
        </p:sp>
        <p:sp>
          <p:nvSpPr>
            <p:cNvPr id="25" name="TextBox 24">
              <a:extLst>
                <a:ext uri="{FF2B5EF4-FFF2-40B4-BE49-F238E27FC236}">
                  <a16:creationId xmlns:a16="http://schemas.microsoft.com/office/drawing/2014/main" xmlns="" id="{0C093A08-1D6D-4492-A4C1-D381262AA47D}"/>
                </a:ext>
              </a:extLst>
            </p:cNvPr>
            <p:cNvSpPr txBox="1"/>
            <p:nvPr/>
          </p:nvSpPr>
          <p:spPr>
            <a:xfrm>
              <a:off x="399910" y="4008916"/>
              <a:ext cx="5178334" cy="276999"/>
            </a:xfrm>
            <a:prstGeom prst="rect">
              <a:avLst/>
            </a:prstGeom>
            <a:solidFill>
              <a:schemeClr val="accent2"/>
            </a:solidFill>
          </p:spPr>
          <p:txBody>
            <a:bodyPr wrap="square" rtlCol="0" anchor="ctr">
              <a:spAutoFit/>
            </a:bodyPr>
            <a:lstStyle>
              <a:defPPr>
                <a:defRPr lang="en-US"/>
              </a:defPPr>
              <a:lvl1pPr algn="ctr" defTabSz="609585">
                <a:defRPr sz="1400" b="1">
                  <a:solidFill>
                    <a:schemeClr val="bg1"/>
                  </a:solidFill>
                  <a:latin typeface="Arial" panose="020B0604020202020204" pitchFamily="34" charset="0"/>
                  <a:cs typeface="Arial" panose="020B0604020202020204" pitchFamily="34" charset="0"/>
                </a:defRPr>
              </a:lvl1pPr>
            </a:lstStyle>
            <a:p>
              <a:pPr defTabSz="457166">
                <a:defRPr/>
              </a:pPr>
              <a:r>
                <a:rPr lang="ru" sz="1200" dirty="0">
                  <a:solidFill>
                    <a:prstClr val="white"/>
                  </a:solidFill>
                  <a:latin typeface="Arial"/>
                </a:rPr>
                <a:t>HER2-отрицатательный статус</a:t>
              </a:r>
            </a:p>
          </p:txBody>
        </p:sp>
        <p:sp>
          <p:nvSpPr>
            <p:cNvPr id="26" name="TextBox 25">
              <a:extLst>
                <a:ext uri="{FF2B5EF4-FFF2-40B4-BE49-F238E27FC236}">
                  <a16:creationId xmlns:a16="http://schemas.microsoft.com/office/drawing/2014/main" xmlns="" id="{B752E0AD-8C5D-4B9D-8E9A-0EA8853C1F85}"/>
                </a:ext>
              </a:extLst>
            </p:cNvPr>
            <p:cNvSpPr txBox="1"/>
            <p:nvPr/>
          </p:nvSpPr>
          <p:spPr>
            <a:xfrm>
              <a:off x="5593453" y="4008916"/>
              <a:ext cx="3072566" cy="276999"/>
            </a:xfrm>
            <a:prstGeom prst="rect">
              <a:avLst/>
            </a:prstGeom>
            <a:solidFill>
              <a:schemeClr val="accent3"/>
            </a:solidFill>
          </p:spPr>
          <p:txBody>
            <a:bodyPr wrap="square" rtlCol="0" anchor="ctr">
              <a:spAutoFit/>
            </a:bodyPr>
            <a:lstStyle/>
            <a:p>
              <a:pPr algn="ctr" defTabSz="457166">
                <a:defRPr/>
              </a:pPr>
              <a:r>
                <a:rPr lang="ru" sz="1200" b="1" kern="0" dirty="0">
                  <a:solidFill>
                    <a:prstClr val="white"/>
                  </a:solidFill>
                  <a:latin typeface="Arial"/>
                  <a:cs typeface="Arial" panose="020B0604020202020204" pitchFamily="34" charset="0"/>
                </a:rPr>
                <a:t>HER2-положительный статус</a:t>
              </a:r>
              <a:endParaRPr lang="en-GB" sz="1200" b="1" i="1" kern="0" dirty="0">
                <a:solidFill>
                  <a:prstClr val="white"/>
                </a:solidFill>
                <a:latin typeface="Arial"/>
                <a:cs typeface="Arial" panose="020B0604020202020204" pitchFamily="34" charset="0"/>
              </a:endParaRPr>
            </a:p>
          </p:txBody>
        </p:sp>
        <p:cxnSp>
          <p:nvCxnSpPr>
            <p:cNvPr id="27" name="Connector: Elbow 26">
              <a:extLst>
                <a:ext uri="{FF2B5EF4-FFF2-40B4-BE49-F238E27FC236}">
                  <a16:creationId xmlns:a16="http://schemas.microsoft.com/office/drawing/2014/main" xmlns="" id="{96ED0DC5-9402-4D4C-B032-0C738C8C3569}"/>
                </a:ext>
              </a:extLst>
            </p:cNvPr>
            <p:cNvCxnSpPr>
              <a:cxnSpLocks/>
              <a:stCxn id="18" idx="2"/>
            </p:cNvCxnSpPr>
            <p:nvPr/>
          </p:nvCxnSpPr>
          <p:spPr>
            <a:xfrm rot="16200000" flipH="1">
              <a:off x="1433314" y="3213248"/>
              <a:ext cx="817280" cy="735351"/>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xmlns="" id="{808EF6C7-B415-4084-83BE-B65336AD3C76}"/>
                </a:ext>
              </a:extLst>
            </p:cNvPr>
            <p:cNvSpPr txBox="1"/>
            <p:nvPr/>
          </p:nvSpPr>
          <p:spPr>
            <a:xfrm>
              <a:off x="4187636" y="3658615"/>
              <a:ext cx="1087054" cy="400110"/>
            </a:xfrm>
            <a:prstGeom prst="rect">
              <a:avLst/>
            </a:prstGeom>
            <a:noFill/>
          </p:spPr>
          <p:txBody>
            <a:bodyPr wrap="square" rtlCol="0">
              <a:spAutoFit/>
            </a:bodyPr>
            <a:lstStyle/>
            <a:p>
              <a:pPr algn="r" defTabSz="457178">
                <a:defRPr/>
              </a:pPr>
              <a:r>
                <a:rPr lang="ru" sz="1000" dirty="0">
                  <a:solidFill>
                    <a:srgbClr val="000000"/>
                  </a:solidFill>
                  <a:latin typeface="Arial"/>
                </a:rPr>
                <a:t>FISH/ISH отрицат.</a:t>
              </a:r>
            </a:p>
          </p:txBody>
        </p:sp>
        <p:sp>
          <p:nvSpPr>
            <p:cNvPr id="29" name="TextBox 28">
              <a:extLst>
                <a:ext uri="{FF2B5EF4-FFF2-40B4-BE49-F238E27FC236}">
                  <a16:creationId xmlns:a16="http://schemas.microsoft.com/office/drawing/2014/main" xmlns="" id="{AA228FF2-F7EA-46D5-B551-6EC1EA6C144E}"/>
                </a:ext>
              </a:extLst>
            </p:cNvPr>
            <p:cNvSpPr txBox="1"/>
            <p:nvPr/>
          </p:nvSpPr>
          <p:spPr>
            <a:xfrm>
              <a:off x="5889497" y="3658615"/>
              <a:ext cx="1087054" cy="400110"/>
            </a:xfrm>
            <a:prstGeom prst="rect">
              <a:avLst/>
            </a:prstGeom>
            <a:noFill/>
          </p:spPr>
          <p:txBody>
            <a:bodyPr wrap="square" rtlCol="0">
              <a:spAutoFit/>
            </a:bodyPr>
            <a:lstStyle/>
            <a:p>
              <a:pPr defTabSz="457178">
                <a:defRPr/>
              </a:pPr>
              <a:r>
                <a:rPr lang="ru" sz="1000" dirty="0">
                  <a:solidFill>
                    <a:srgbClr val="000000"/>
                  </a:solidFill>
                  <a:latin typeface="Arial"/>
                </a:rPr>
                <a:t>FISH/ISH положит.</a:t>
              </a:r>
            </a:p>
          </p:txBody>
        </p:sp>
        <p:cxnSp>
          <p:nvCxnSpPr>
            <p:cNvPr id="30" name="Straight Arrow Connector 29">
              <a:extLst>
                <a:ext uri="{FF2B5EF4-FFF2-40B4-BE49-F238E27FC236}">
                  <a16:creationId xmlns:a16="http://schemas.microsoft.com/office/drawing/2014/main" xmlns="" id="{90C61A09-DA79-4CF6-B9B2-A064D0E34381}"/>
                </a:ext>
              </a:extLst>
            </p:cNvPr>
            <p:cNvCxnSpPr>
              <a:cxnSpLocks/>
              <a:stCxn id="35" idx="2"/>
            </p:cNvCxnSpPr>
            <p:nvPr/>
          </p:nvCxnSpPr>
          <p:spPr>
            <a:xfrm>
              <a:off x="7645510" y="3181396"/>
              <a:ext cx="33037" cy="856254"/>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1" name="Connector: Elbow 30">
              <a:extLst>
                <a:ext uri="{FF2B5EF4-FFF2-40B4-BE49-F238E27FC236}">
                  <a16:creationId xmlns:a16="http://schemas.microsoft.com/office/drawing/2014/main" xmlns="" id="{4D525889-FEB2-4DCE-86FD-F663CE785CB6}"/>
                </a:ext>
              </a:extLst>
            </p:cNvPr>
            <p:cNvCxnSpPr>
              <a:cxnSpLocks/>
            </p:cNvCxnSpPr>
            <p:nvPr/>
          </p:nvCxnSpPr>
          <p:spPr>
            <a:xfrm rot="5400000">
              <a:off x="2390475" y="3320482"/>
              <a:ext cx="792380" cy="531563"/>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2" name="Connector: Elbow 31">
              <a:extLst>
                <a:ext uri="{FF2B5EF4-FFF2-40B4-BE49-F238E27FC236}">
                  <a16:creationId xmlns:a16="http://schemas.microsoft.com/office/drawing/2014/main" xmlns="" id="{CAE4629B-4E29-43C9-B1DD-5DC6477B8D99}"/>
                </a:ext>
              </a:extLst>
            </p:cNvPr>
            <p:cNvCxnSpPr>
              <a:cxnSpLocks/>
              <a:stCxn id="17" idx="2"/>
              <a:endCxn id="26" idx="0"/>
            </p:cNvCxnSpPr>
            <p:nvPr/>
          </p:nvCxnSpPr>
          <p:spPr>
            <a:xfrm rot="16200000" flipH="1">
              <a:off x="6193388" y="3072568"/>
              <a:ext cx="340407" cy="1532288"/>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3" name="Connector: Elbow 16">
              <a:extLst>
                <a:ext uri="{FF2B5EF4-FFF2-40B4-BE49-F238E27FC236}">
                  <a16:creationId xmlns:a16="http://schemas.microsoft.com/office/drawing/2014/main" xmlns="" id="{30A72D08-B283-497F-8DCE-54BFD0AD4AD4}"/>
                </a:ext>
              </a:extLst>
            </p:cNvPr>
            <p:cNvCxnSpPr>
              <a:cxnSpLocks/>
              <a:stCxn id="17" idx="2"/>
              <a:endCxn id="25" idx="0"/>
            </p:cNvCxnSpPr>
            <p:nvPr/>
          </p:nvCxnSpPr>
          <p:spPr>
            <a:xfrm rot="5400000">
              <a:off x="4123059" y="2534527"/>
              <a:ext cx="340407" cy="2608371"/>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pic>
          <p:nvPicPr>
            <p:cNvPr id="34" name="Picture 2" descr="Image result for IHC breast cancer her2">
              <a:extLst>
                <a:ext uri="{FF2B5EF4-FFF2-40B4-BE49-F238E27FC236}">
                  <a16:creationId xmlns:a16="http://schemas.microsoft.com/office/drawing/2014/main" xmlns="" id="{336C5CFA-C9F0-442D-BA63-7BAE4EA9EFF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14463" b="29370"/>
            <a:stretch/>
          </p:blipFill>
          <p:spPr bwMode="auto">
            <a:xfrm>
              <a:off x="452225" y="2462474"/>
              <a:ext cx="8239548" cy="431252"/>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xmlns="" id="{BB719EDE-0DC9-4184-B223-1DA5D020F294}"/>
                </a:ext>
              </a:extLst>
            </p:cNvPr>
            <p:cNvSpPr txBox="1"/>
            <p:nvPr/>
          </p:nvSpPr>
          <p:spPr>
            <a:xfrm>
              <a:off x="6622598" y="2893721"/>
              <a:ext cx="2045823" cy="287675"/>
            </a:xfrm>
            <a:prstGeom prst="rect">
              <a:avLst/>
            </a:prstGeom>
            <a:solidFill>
              <a:schemeClr val="accent3">
                <a:lumMod val="20000"/>
                <a:lumOff val="80000"/>
              </a:schemeClr>
            </a:solidFill>
          </p:spPr>
          <p:txBody>
            <a:bodyPr wrap="square" lIns="182880" tIns="0" rIns="182880" bIns="0" rtlCol="0" anchor="ctr" anchorCtr="0">
              <a:noAutofit/>
            </a:bodyPr>
            <a:lstStyle/>
            <a:p>
              <a:pPr algn="ctr" defTabSz="457154">
                <a:defRPr/>
              </a:pPr>
              <a:r>
                <a:rPr lang="ru" sz="700" b="1" kern="0" dirty="0">
                  <a:solidFill>
                    <a:prstClr val="black"/>
                  </a:solidFill>
                  <a:latin typeface="Arial"/>
                </a:rPr>
                <a:t>Интенсивное</a:t>
              </a:r>
              <a:r>
                <a:rPr lang="en-US" sz="700" b="1" kern="0" dirty="0">
                  <a:solidFill>
                    <a:prstClr val="black"/>
                  </a:solidFill>
                  <a:latin typeface="Arial"/>
                </a:rPr>
                <a:t/>
              </a:r>
              <a:br>
                <a:rPr lang="en-US" sz="700" b="1" kern="0" dirty="0">
                  <a:solidFill>
                    <a:prstClr val="black"/>
                  </a:solidFill>
                  <a:latin typeface="Arial"/>
                </a:rPr>
              </a:br>
              <a:r>
                <a:rPr lang="ru" sz="700" kern="0" dirty="0">
                  <a:solidFill>
                    <a:prstClr val="black"/>
                  </a:solidFill>
                  <a:latin typeface="Arial"/>
                </a:rPr>
                <a:t>полное окрашивание &gt; 10 % клеток</a:t>
              </a:r>
            </a:p>
          </p:txBody>
        </p:sp>
      </p:grpSp>
      <p:sp>
        <p:nvSpPr>
          <p:cNvPr id="36" name="Text Placeholder 5">
            <a:extLst>
              <a:ext uri="{FF2B5EF4-FFF2-40B4-BE49-F238E27FC236}">
                <a16:creationId xmlns:a16="http://schemas.microsoft.com/office/drawing/2014/main" xmlns="" id="{7B43686A-6019-47E4-AA47-5038A63DA7A0}"/>
              </a:ext>
            </a:extLst>
          </p:cNvPr>
          <p:cNvSpPr txBox="1">
            <a:spLocks/>
          </p:cNvSpPr>
          <p:nvPr/>
        </p:nvSpPr>
        <p:spPr>
          <a:xfrm>
            <a:off x="270222" y="4570680"/>
            <a:ext cx="8086724" cy="274638"/>
          </a:xfrm>
          <a:prstGeom prst="rect">
            <a:avLst/>
          </a:prstGeom>
        </p:spPr>
        <p:txBody>
          <a:bodyPr rtlCol="0"/>
          <a:lstStyle>
            <a:lvl1pPr marL="457178" indent="-457178" algn="l" defTabSz="609570" rtl="0" eaLnBrk="1" latinLnBrk="0" hangingPunct="1">
              <a:spcBef>
                <a:spcPct val="20000"/>
              </a:spcBef>
              <a:buFont typeface="Arial"/>
              <a:buChar char="•"/>
              <a:defRPr kumimoji="1"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kumimoji="1"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kumimoji="1"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9pPr>
          </a:lstStyle>
          <a:p>
            <a:pPr marL="0" indent="0">
              <a:buNone/>
            </a:pPr>
            <a:r>
              <a:rPr lang="ru" sz="600" dirty="0"/>
              <a:t>ASCO — Американское общество клинической онкологии (American Society of Clinical Oncology); </a:t>
            </a:r>
            <a:r>
              <a:rPr lang="ru-RU" sz="600" dirty="0"/>
              <a:t>САР —</a:t>
            </a:r>
            <a:r>
              <a:rPr lang="ru-RU" sz="600" dirty="0" err="1"/>
              <a:t>College</a:t>
            </a:r>
            <a:r>
              <a:rPr lang="ru-RU" sz="600" dirty="0"/>
              <a:t> </a:t>
            </a:r>
            <a:r>
              <a:rPr lang="ru-RU" sz="600" dirty="0" err="1"/>
              <a:t>of</a:t>
            </a:r>
            <a:r>
              <a:rPr lang="ru-RU" sz="600" dirty="0"/>
              <a:t> </a:t>
            </a:r>
            <a:r>
              <a:rPr lang="ru-RU" sz="600" dirty="0" err="1"/>
              <a:t>American</a:t>
            </a:r>
            <a:r>
              <a:rPr lang="ru-RU" sz="600" dirty="0"/>
              <a:t> </a:t>
            </a:r>
            <a:r>
              <a:rPr lang="ru-RU" sz="600" dirty="0" err="1"/>
              <a:t>Pathologists</a:t>
            </a:r>
            <a:r>
              <a:rPr lang="ru-RU" sz="600" dirty="0"/>
              <a:t> </a:t>
            </a:r>
            <a:r>
              <a:rPr lang="ru" sz="600" dirty="0"/>
              <a:t>— Американская коллегия патологов; HER2 — рецептор эпидермального фактора роста человека 2 типа FISH — флюоресцентная гибридизация in situ; ИГХ — иммуногистохимия; ISH — гибридизация </a:t>
            </a:r>
            <a:r>
              <a:rPr lang="en" sz="600" i="1" dirty="0"/>
              <a:t>in situ.</a:t>
            </a:r>
            <a:endParaRPr lang="ru-RU" sz="600" i="1" dirty="0"/>
          </a:p>
          <a:p>
            <a:pPr marL="0" indent="0">
              <a:buNone/>
            </a:pPr>
            <a:endParaRPr lang="en" sz="600" i="1" dirty="0"/>
          </a:p>
          <a:p>
            <a:pPr marL="0" indent="0">
              <a:buNone/>
            </a:pPr>
            <a:r>
              <a:rPr lang="ru" sz="600" dirty="0">
                <a:solidFill>
                  <a:schemeClr val="accent6">
                    <a:lumMod val="50000"/>
                  </a:schemeClr>
                </a:solidFill>
              </a:rPr>
              <a:t>Wolff AC et al. J Clin Oncol. 2018;36:2105–2122 </a:t>
            </a:r>
          </a:p>
        </p:txBody>
      </p:sp>
      <p:sp>
        <p:nvSpPr>
          <p:cNvPr id="47" name="TextBox 46">
            <a:extLst>
              <a:ext uri="{FF2B5EF4-FFF2-40B4-BE49-F238E27FC236}">
                <a16:creationId xmlns:a16="http://schemas.microsoft.com/office/drawing/2014/main" xmlns="" id="{84397506-24C5-435A-86B7-81CE8A33857B}"/>
              </a:ext>
            </a:extLst>
          </p:cNvPr>
          <p:cNvSpPr txBox="1"/>
          <p:nvPr/>
        </p:nvSpPr>
        <p:spPr>
          <a:xfrm>
            <a:off x="4520197" y="2776264"/>
            <a:ext cx="2086726" cy="802552"/>
          </a:xfrm>
          <a:prstGeom prst="rect">
            <a:avLst/>
          </a:prstGeom>
          <a:solidFill>
            <a:schemeClr val="accent5">
              <a:lumMod val="20000"/>
              <a:lumOff val="80000"/>
            </a:schemeClr>
          </a:solidFill>
        </p:spPr>
        <p:txBody>
          <a:bodyPr wrap="square" lIns="0" tIns="0" rIns="0" bIns="0" rtlCol="0" anchor="ctr" anchorCtr="0">
            <a:noAutofit/>
          </a:bodyPr>
          <a:lstStyle/>
          <a:p>
            <a:pPr algn="just" defTabSz="457154">
              <a:defRPr/>
            </a:pPr>
            <a:r>
              <a:rPr lang="ru-RU" sz="700" b="1" kern="0" dirty="0">
                <a:solidFill>
                  <a:prstClr val="black"/>
                </a:solidFill>
                <a:latin typeface="Arial"/>
              </a:rPr>
              <a:t>Неполное и/или слабое/умеренное окрашивание окружной мембраны в пределах &gt; 10% опухолевых клеток</a:t>
            </a:r>
            <a:r>
              <a:rPr lang="en-US" sz="700" b="1" kern="0" dirty="0">
                <a:solidFill>
                  <a:prstClr val="black"/>
                </a:solidFill>
                <a:latin typeface="Arial"/>
              </a:rPr>
              <a:t>/</a:t>
            </a:r>
            <a:r>
              <a:rPr lang="ru-RU" sz="700" b="1" kern="0" dirty="0">
                <a:solidFill>
                  <a:prstClr val="black"/>
                </a:solidFill>
                <a:latin typeface="Arial"/>
              </a:rPr>
              <a:t>или </a:t>
            </a:r>
          </a:p>
          <a:p>
            <a:pPr algn="just" defTabSz="457154">
              <a:defRPr/>
            </a:pPr>
            <a:r>
              <a:rPr lang="ru-RU" sz="700" b="1" kern="0" dirty="0">
                <a:solidFill>
                  <a:prstClr val="black"/>
                </a:solidFill>
                <a:latin typeface="Arial"/>
              </a:rPr>
              <a:t>Полное и интенсивное окрашивание окружной мембраны в пределах ≤ 10% опухолевых клеток</a:t>
            </a:r>
            <a:endParaRPr lang="en-US" sz="700" kern="0" dirty="0">
              <a:solidFill>
                <a:prstClr val="black"/>
              </a:solidFill>
              <a:latin typeface="Arial"/>
            </a:endParaRPr>
          </a:p>
        </p:txBody>
      </p:sp>
    </p:spTree>
    <p:extLst>
      <p:ext uri="{BB962C8B-B14F-4D97-AF65-F5344CB8AC3E}">
        <p14:creationId xmlns:p14="http://schemas.microsoft.com/office/powerpoint/2010/main" val="26587890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3387CD8-93B5-45B7-AD36-7040D8EAE998}"/>
              </a:ext>
            </a:extLst>
          </p:cNvPr>
          <p:cNvSpPr>
            <a:spLocks noGrp="1"/>
          </p:cNvSpPr>
          <p:nvPr>
            <p:ph type="title"/>
          </p:nvPr>
        </p:nvSpPr>
        <p:spPr>
          <a:xfrm>
            <a:off x="237062" y="143999"/>
            <a:ext cx="8765651" cy="763223"/>
          </a:xfrm>
        </p:spPr>
        <p:txBody>
          <a:bodyPr/>
          <a:lstStyle/>
          <a:p>
            <a:r>
              <a:rPr lang="ru-RU" sz="2200" dirty="0"/>
              <a:t>Большинство случаев рака молочной железы в настоящее время классифицируются как HER2-отрицательные</a:t>
            </a:r>
            <a:r>
              <a:rPr lang="ru-RU" sz="2200" baseline="30000" dirty="0"/>
              <a:t>1</a:t>
            </a:r>
          </a:p>
        </p:txBody>
      </p:sp>
      <p:sp>
        <p:nvSpPr>
          <p:cNvPr id="8" name="TextBox 7">
            <a:extLst>
              <a:ext uri="{FF2B5EF4-FFF2-40B4-BE49-F238E27FC236}">
                <a16:creationId xmlns:a16="http://schemas.microsoft.com/office/drawing/2014/main" xmlns="" id="{3D2F3B81-C860-49DC-AB1A-04738770369C}"/>
              </a:ext>
            </a:extLst>
          </p:cNvPr>
          <p:cNvSpPr txBox="1"/>
          <p:nvPr/>
        </p:nvSpPr>
        <p:spPr>
          <a:xfrm>
            <a:off x="325784" y="975636"/>
            <a:ext cx="8513417" cy="1310615"/>
          </a:xfrm>
          <a:prstGeom prst="rect">
            <a:avLst/>
          </a:prstGeom>
          <a:noFill/>
        </p:spPr>
        <p:txBody>
          <a:bodyPr wrap="square" rtlCol="0">
            <a:spAutoFit/>
          </a:bodyPr>
          <a:lstStyle/>
          <a:p>
            <a:pPr marL="257175" indent="-257175" defTabSz="685800">
              <a:spcAft>
                <a:spcPts val="450"/>
              </a:spcAft>
              <a:buFont typeface="Wingdings" panose="05000000000000000000" pitchFamily="2" charset="2"/>
              <a:buChar char="Ø"/>
              <a:defRPr/>
            </a:pPr>
            <a:r>
              <a:rPr lang="ru" sz="1500" dirty="0">
                <a:solidFill>
                  <a:srgbClr val="000000"/>
                </a:solidFill>
                <a:latin typeface="Arial"/>
              </a:rPr>
              <a:t>От 80 % до 85 % пациентов с раком молочной железы в настоящее время классифицируются как HER2-отрицательные (ИГХ 0, ИГХ 1+, ИГХ 2+/ISH-отрицательные) и не подходят для таргетной анти-HER2-терапии</a:t>
            </a:r>
            <a:r>
              <a:rPr lang="ru" sz="1500" baseline="30000" dirty="0">
                <a:solidFill>
                  <a:srgbClr val="000000"/>
                </a:solidFill>
                <a:latin typeface="Arial"/>
              </a:rPr>
              <a:t>1-3</a:t>
            </a:r>
          </a:p>
          <a:p>
            <a:pPr marL="257175" indent="-257175" defTabSz="685800">
              <a:spcAft>
                <a:spcPts val="450"/>
              </a:spcAft>
              <a:buFont typeface="Wingdings" panose="05000000000000000000" pitchFamily="2" charset="2"/>
              <a:buChar char="Ø"/>
              <a:defRPr/>
            </a:pPr>
            <a:r>
              <a:rPr lang="ru" sz="1500" dirty="0">
                <a:solidFill>
                  <a:srgbClr val="000000"/>
                </a:solidFill>
                <a:latin typeface="Arial"/>
              </a:rPr>
              <a:t>Доступные в настоящее время таргетные методы анти-HER2-терапии не доказали свою эффективность у пациентов с низким уровнем экспрессии HER2 (мВБП &lt; 3 месяцев)</a:t>
            </a:r>
            <a:r>
              <a:rPr lang="ru" sz="1500" baseline="30000" dirty="0">
                <a:solidFill>
                  <a:srgbClr val="000000"/>
                </a:solidFill>
                <a:latin typeface="Arial"/>
              </a:rPr>
              <a:t>4-6</a:t>
            </a:r>
            <a:endParaRPr lang="en-US" sz="1500" baseline="30000" dirty="0">
              <a:solidFill>
                <a:srgbClr val="000000"/>
              </a:solidFill>
              <a:latin typeface="Arial"/>
            </a:endParaRPr>
          </a:p>
        </p:txBody>
      </p:sp>
      <p:grpSp>
        <p:nvGrpSpPr>
          <p:cNvPr id="9" name="Group 8">
            <a:extLst>
              <a:ext uri="{FF2B5EF4-FFF2-40B4-BE49-F238E27FC236}">
                <a16:creationId xmlns:a16="http://schemas.microsoft.com/office/drawing/2014/main" xmlns="" id="{96852E37-E7BC-42EC-8720-D39D8E18D036}"/>
              </a:ext>
            </a:extLst>
          </p:cNvPr>
          <p:cNvGrpSpPr>
            <a:grpSpLocks noChangeAspect="1"/>
          </p:cNvGrpSpPr>
          <p:nvPr/>
        </p:nvGrpSpPr>
        <p:grpSpPr>
          <a:xfrm>
            <a:off x="600115" y="2666046"/>
            <a:ext cx="6891347" cy="1814390"/>
            <a:chOff x="145951" y="1206951"/>
            <a:chExt cx="11473769" cy="2503576"/>
          </a:xfrm>
        </p:grpSpPr>
        <p:sp>
          <p:nvSpPr>
            <p:cNvPr id="10" name="Rectangle 9">
              <a:extLst>
                <a:ext uri="{FF2B5EF4-FFF2-40B4-BE49-F238E27FC236}">
                  <a16:creationId xmlns:a16="http://schemas.microsoft.com/office/drawing/2014/main" xmlns="" id="{2DA00754-4F2F-4805-811A-D035E66C1C76}"/>
                </a:ext>
              </a:extLst>
            </p:cNvPr>
            <p:cNvSpPr/>
            <p:nvPr/>
          </p:nvSpPr>
          <p:spPr>
            <a:xfrm>
              <a:off x="7817371" y="2178974"/>
              <a:ext cx="1272879" cy="545621"/>
            </a:xfrm>
            <a:prstGeom prst="rect">
              <a:avLst/>
            </a:prstGeom>
            <a:solidFill>
              <a:schemeClr val="accent3">
                <a:lumMod val="60000"/>
                <a:lumOff val="40000"/>
              </a:schemeClr>
            </a:solidFill>
            <a:ln w="25400" cap="flat" cmpd="sng" algn="ctr">
              <a:noFill/>
              <a:prstDash val="solid"/>
            </a:ln>
            <a:effectLst/>
          </p:spPr>
          <p:txBody>
            <a:bodyPr rtlCol="0" anchor="t"/>
            <a:lstStyle/>
            <a:p>
              <a:pPr algn="ctr" defTabSz="914378">
                <a:defRPr/>
              </a:pPr>
              <a:r>
                <a:rPr lang="ru" sz="1200" b="1" kern="0">
                  <a:solidFill>
                    <a:srgbClr val="003865">
                      <a:lumMod val="90000"/>
                      <a:lumOff val="10000"/>
                    </a:srgbClr>
                  </a:solidFill>
                  <a:latin typeface="Arial"/>
                </a:rPr>
                <a:t>2+/</a:t>
              </a:r>
            </a:p>
            <a:p>
              <a:pPr algn="ctr" defTabSz="914378">
                <a:defRPr/>
              </a:pPr>
              <a:r>
                <a:rPr lang="ru" sz="1200" b="1" kern="0">
                  <a:solidFill>
                    <a:srgbClr val="003865">
                      <a:lumMod val="90000"/>
                      <a:lumOff val="10000"/>
                    </a:srgbClr>
                  </a:solidFill>
                  <a:latin typeface="Arial"/>
                </a:rPr>
                <a:t>ISH-</a:t>
              </a:r>
            </a:p>
            <a:p>
              <a:pPr algn="ctr" defTabSz="914378">
                <a:defRPr/>
              </a:pPr>
              <a:endParaRPr lang="en-US" sz="1200" b="1" kern="0" dirty="0">
                <a:solidFill>
                  <a:srgbClr val="FFFFFF"/>
                </a:solidFill>
                <a:latin typeface="Arial"/>
              </a:endParaRPr>
            </a:p>
          </p:txBody>
        </p:sp>
        <p:sp>
          <p:nvSpPr>
            <p:cNvPr id="11" name="Rectangle 10">
              <a:extLst>
                <a:ext uri="{FF2B5EF4-FFF2-40B4-BE49-F238E27FC236}">
                  <a16:creationId xmlns:a16="http://schemas.microsoft.com/office/drawing/2014/main" xmlns="" id="{034E4515-703D-471F-9FA9-8C46D333F7CF}"/>
                </a:ext>
              </a:extLst>
            </p:cNvPr>
            <p:cNvSpPr/>
            <p:nvPr/>
          </p:nvSpPr>
          <p:spPr>
            <a:xfrm>
              <a:off x="9133084" y="2178974"/>
              <a:ext cx="978851" cy="545621"/>
            </a:xfrm>
            <a:prstGeom prst="rect">
              <a:avLst/>
            </a:prstGeom>
            <a:solidFill>
              <a:srgbClr val="FFCC66"/>
            </a:solidFill>
            <a:ln w="25400" cap="flat" cmpd="sng" algn="ctr">
              <a:noFill/>
              <a:prstDash val="solid"/>
            </a:ln>
            <a:effectLst/>
          </p:spPr>
          <p:txBody>
            <a:bodyPr rtlCol="0" anchor="t"/>
            <a:lstStyle/>
            <a:p>
              <a:pPr algn="ctr" defTabSz="914378">
                <a:defRPr/>
              </a:pPr>
              <a:r>
                <a:rPr lang="ru" sz="1200" b="1" kern="0">
                  <a:solidFill>
                    <a:srgbClr val="003865">
                      <a:lumMod val="90000"/>
                      <a:lumOff val="10000"/>
                    </a:srgbClr>
                  </a:solidFill>
                  <a:latin typeface="Arial"/>
                </a:rPr>
                <a:t>2+/</a:t>
              </a:r>
            </a:p>
            <a:p>
              <a:pPr algn="ctr" defTabSz="914378">
                <a:defRPr/>
              </a:pPr>
              <a:r>
                <a:rPr lang="ru" sz="1200" b="1" kern="0">
                  <a:solidFill>
                    <a:srgbClr val="003865">
                      <a:lumMod val="90000"/>
                      <a:lumOff val="10000"/>
                    </a:srgbClr>
                  </a:solidFill>
                  <a:latin typeface="Arial"/>
                </a:rPr>
                <a:t>ISH+</a:t>
              </a:r>
            </a:p>
            <a:p>
              <a:pPr algn="ctr" defTabSz="914378">
                <a:defRPr/>
              </a:pPr>
              <a:endParaRPr lang="en-US" sz="1200" b="1" kern="0" dirty="0">
                <a:solidFill>
                  <a:srgbClr val="FFFFFF"/>
                </a:solidFill>
                <a:latin typeface="Arial"/>
              </a:endParaRPr>
            </a:p>
          </p:txBody>
        </p:sp>
        <p:sp>
          <p:nvSpPr>
            <p:cNvPr id="12" name="TextBox 11">
              <a:extLst>
                <a:ext uri="{FF2B5EF4-FFF2-40B4-BE49-F238E27FC236}">
                  <a16:creationId xmlns:a16="http://schemas.microsoft.com/office/drawing/2014/main" xmlns="" id="{500E7A56-00A9-4D5E-9EDC-C4325E4AE1F9}"/>
                </a:ext>
              </a:extLst>
            </p:cNvPr>
            <p:cNvSpPr txBox="1"/>
            <p:nvPr/>
          </p:nvSpPr>
          <p:spPr>
            <a:xfrm>
              <a:off x="145951" y="3328311"/>
              <a:ext cx="307568" cy="382216"/>
            </a:xfrm>
            <a:prstGeom prst="rect">
              <a:avLst/>
            </a:prstGeom>
            <a:noFill/>
          </p:spPr>
          <p:txBody>
            <a:bodyPr wrap="none" rtlCol="0">
              <a:spAutoFit/>
            </a:bodyPr>
            <a:lstStyle/>
            <a:p>
              <a:pPr defTabSz="914378">
                <a:defRPr/>
              </a:pPr>
              <a:endParaRPr lang="en-US" sz="1200" kern="0" dirty="0">
                <a:solidFill>
                  <a:srgbClr val="000000"/>
                </a:solidFill>
                <a:latin typeface="Arial"/>
              </a:endParaRPr>
            </a:p>
          </p:txBody>
        </p:sp>
        <p:sp>
          <p:nvSpPr>
            <p:cNvPr id="13" name="Rectangle 12">
              <a:extLst>
                <a:ext uri="{FF2B5EF4-FFF2-40B4-BE49-F238E27FC236}">
                  <a16:creationId xmlns:a16="http://schemas.microsoft.com/office/drawing/2014/main" xmlns="" id="{3EE283D2-434F-4AE0-9210-7EE44522E268}"/>
                </a:ext>
              </a:extLst>
            </p:cNvPr>
            <p:cNvSpPr/>
            <p:nvPr/>
          </p:nvSpPr>
          <p:spPr>
            <a:xfrm>
              <a:off x="4641777" y="2178974"/>
              <a:ext cx="3175594" cy="545621"/>
            </a:xfrm>
            <a:prstGeom prst="rect">
              <a:avLst/>
            </a:prstGeom>
            <a:solidFill>
              <a:schemeClr val="accent3">
                <a:lumMod val="40000"/>
                <a:lumOff val="60000"/>
              </a:schemeClr>
            </a:solidFill>
            <a:ln w="25400" cap="flat" cmpd="sng" algn="ctr">
              <a:noFill/>
              <a:prstDash val="solid"/>
            </a:ln>
            <a:effectLst/>
          </p:spPr>
          <p:txBody>
            <a:bodyPr rtlCol="0" anchor="b"/>
            <a:lstStyle/>
            <a:p>
              <a:pPr algn="ctr" defTabSz="914378">
                <a:defRPr/>
              </a:pPr>
              <a:r>
                <a:rPr lang="ru" sz="1200" b="1" kern="0">
                  <a:solidFill>
                    <a:srgbClr val="003865">
                      <a:lumMod val="90000"/>
                      <a:lumOff val="10000"/>
                    </a:srgbClr>
                  </a:solidFill>
                  <a:latin typeface="Arial"/>
                </a:rPr>
                <a:t>1+</a:t>
              </a:r>
            </a:p>
            <a:p>
              <a:pPr algn="ctr" defTabSz="914378">
                <a:defRPr/>
              </a:pPr>
              <a:endParaRPr lang="en-US" sz="800" kern="0" dirty="0">
                <a:solidFill>
                  <a:srgbClr val="000000"/>
                </a:solidFill>
                <a:latin typeface="Arial"/>
              </a:endParaRPr>
            </a:p>
          </p:txBody>
        </p:sp>
        <p:sp>
          <p:nvSpPr>
            <p:cNvPr id="14" name="Rectangle 13">
              <a:extLst>
                <a:ext uri="{FF2B5EF4-FFF2-40B4-BE49-F238E27FC236}">
                  <a16:creationId xmlns:a16="http://schemas.microsoft.com/office/drawing/2014/main" xmlns="" id="{EC45DD56-C598-4880-904E-594C518CAEE3}"/>
                </a:ext>
              </a:extLst>
            </p:cNvPr>
            <p:cNvSpPr/>
            <p:nvPr/>
          </p:nvSpPr>
          <p:spPr>
            <a:xfrm>
              <a:off x="10156199" y="2181211"/>
              <a:ext cx="1419258" cy="545621"/>
            </a:xfrm>
            <a:prstGeom prst="rect">
              <a:avLst/>
            </a:prstGeom>
            <a:solidFill>
              <a:srgbClr val="FFC000"/>
            </a:solidFill>
            <a:ln w="25400" cap="flat" cmpd="sng" algn="ctr">
              <a:noFill/>
              <a:prstDash val="solid"/>
            </a:ln>
            <a:effectLst/>
          </p:spPr>
          <p:txBody>
            <a:bodyPr rtlCol="0" anchor="ctr"/>
            <a:lstStyle/>
            <a:p>
              <a:pPr algn="ctr" defTabSz="914378">
                <a:defRPr/>
              </a:pPr>
              <a:r>
                <a:rPr lang="ru" sz="1200" b="1" kern="0">
                  <a:solidFill>
                    <a:srgbClr val="003865">
                      <a:lumMod val="90000"/>
                      <a:lumOff val="10000"/>
                    </a:srgbClr>
                  </a:solidFill>
                  <a:latin typeface="Arial"/>
                </a:rPr>
                <a:t>3+</a:t>
              </a:r>
            </a:p>
          </p:txBody>
        </p:sp>
        <p:sp>
          <p:nvSpPr>
            <p:cNvPr id="15" name="Rectangle 14">
              <a:extLst>
                <a:ext uri="{FF2B5EF4-FFF2-40B4-BE49-F238E27FC236}">
                  <a16:creationId xmlns:a16="http://schemas.microsoft.com/office/drawing/2014/main" xmlns="" id="{CBFF7014-29D9-4F16-9684-5167BD0B7E29}"/>
                </a:ext>
              </a:extLst>
            </p:cNvPr>
            <p:cNvSpPr/>
            <p:nvPr/>
          </p:nvSpPr>
          <p:spPr>
            <a:xfrm>
              <a:off x="1795415" y="1342051"/>
              <a:ext cx="7339105" cy="651287"/>
            </a:xfrm>
            <a:prstGeom prst="rect">
              <a:avLst/>
            </a:prstGeom>
            <a:solidFill>
              <a:srgbClr val="003865"/>
            </a:solidFill>
            <a:ln w="25400" cap="flat" cmpd="sng" algn="ctr">
              <a:noFill/>
              <a:prstDash val="solid"/>
            </a:ln>
            <a:effectLst/>
          </p:spPr>
          <p:txBody>
            <a:bodyPr rtlCol="0" anchor="ctr"/>
            <a:lstStyle/>
            <a:p>
              <a:pPr algn="ctr" defTabSz="914378">
                <a:defRPr/>
              </a:pPr>
              <a:r>
                <a:rPr lang="ru" sz="1200" b="1" kern="0">
                  <a:solidFill>
                    <a:srgbClr val="FFFFFF"/>
                  </a:solidFill>
                  <a:latin typeface="Arial"/>
                </a:rPr>
                <a:t>HER2-отрицательный</a:t>
              </a:r>
            </a:p>
          </p:txBody>
        </p:sp>
        <p:sp>
          <p:nvSpPr>
            <p:cNvPr id="16" name="Rectangle 15">
              <a:extLst>
                <a:ext uri="{FF2B5EF4-FFF2-40B4-BE49-F238E27FC236}">
                  <a16:creationId xmlns:a16="http://schemas.microsoft.com/office/drawing/2014/main" xmlns="" id="{8187C4D5-2806-426E-B633-8EDA24D006AE}"/>
                </a:ext>
              </a:extLst>
            </p:cNvPr>
            <p:cNvSpPr/>
            <p:nvPr/>
          </p:nvSpPr>
          <p:spPr>
            <a:xfrm>
              <a:off x="9134517" y="1346716"/>
              <a:ext cx="2485202" cy="646621"/>
            </a:xfrm>
            <a:prstGeom prst="rect">
              <a:avLst/>
            </a:prstGeom>
            <a:solidFill>
              <a:srgbClr val="FFC000"/>
            </a:solidFill>
            <a:ln w="25400" cap="flat" cmpd="sng" algn="ctr">
              <a:noFill/>
              <a:prstDash val="solid"/>
            </a:ln>
            <a:effectLst/>
          </p:spPr>
          <p:txBody>
            <a:bodyPr rtlCol="0" anchor="ctr"/>
            <a:lstStyle/>
            <a:p>
              <a:pPr algn="ctr" defTabSz="914378">
                <a:defRPr/>
              </a:pPr>
              <a:r>
                <a:rPr lang="ru" sz="1200" b="1" kern="0">
                  <a:solidFill>
                    <a:srgbClr val="003865">
                      <a:lumMod val="90000"/>
                      <a:lumOff val="10000"/>
                    </a:srgbClr>
                  </a:solidFill>
                  <a:latin typeface="Arial"/>
                </a:rPr>
                <a:t>HER2-положительный</a:t>
              </a:r>
            </a:p>
          </p:txBody>
        </p:sp>
        <p:sp>
          <p:nvSpPr>
            <p:cNvPr id="17" name="Rectangle 16">
              <a:extLst>
                <a:ext uri="{FF2B5EF4-FFF2-40B4-BE49-F238E27FC236}">
                  <a16:creationId xmlns:a16="http://schemas.microsoft.com/office/drawing/2014/main" xmlns="" id="{FB9E1631-DCA6-42ED-B4F4-696CF37F225A}"/>
                </a:ext>
              </a:extLst>
            </p:cNvPr>
            <p:cNvSpPr/>
            <p:nvPr/>
          </p:nvSpPr>
          <p:spPr>
            <a:xfrm>
              <a:off x="1795413" y="2116796"/>
              <a:ext cx="9824307" cy="646621"/>
            </a:xfrm>
            <a:prstGeom prst="rect">
              <a:avLst/>
            </a:prstGeom>
            <a:noFill/>
            <a:ln w="28575" cap="flat" cmpd="sng" algn="ctr">
              <a:solidFill>
                <a:schemeClr val="accent6"/>
              </a:solidFill>
              <a:prstDash val="solid"/>
            </a:ln>
            <a:effectLst/>
          </p:spPr>
          <p:txBody>
            <a:bodyPr rtlCol="0" anchor="ctr"/>
            <a:lstStyle/>
            <a:p>
              <a:pPr algn="ctr" defTabSz="914378">
                <a:defRPr/>
              </a:pPr>
              <a:endParaRPr lang="en-US" sz="1200" kern="0" dirty="0">
                <a:solidFill>
                  <a:srgbClr val="FFFFFF"/>
                </a:solidFill>
                <a:latin typeface="Arial"/>
              </a:endParaRPr>
            </a:p>
          </p:txBody>
        </p:sp>
        <p:sp>
          <p:nvSpPr>
            <p:cNvPr id="18" name="Rectangle 17">
              <a:extLst>
                <a:ext uri="{FF2B5EF4-FFF2-40B4-BE49-F238E27FC236}">
                  <a16:creationId xmlns:a16="http://schemas.microsoft.com/office/drawing/2014/main" xmlns="" id="{217BA888-8695-4DB8-B7A3-DAF7C4CF571B}"/>
                </a:ext>
              </a:extLst>
            </p:cNvPr>
            <p:cNvSpPr/>
            <p:nvPr/>
          </p:nvSpPr>
          <p:spPr>
            <a:xfrm>
              <a:off x="1842422" y="2181211"/>
              <a:ext cx="2779787" cy="545621"/>
            </a:xfrm>
            <a:prstGeom prst="rect">
              <a:avLst/>
            </a:prstGeom>
            <a:solidFill>
              <a:schemeClr val="accent3">
                <a:lumMod val="20000"/>
                <a:lumOff val="80000"/>
              </a:schemeClr>
            </a:solidFill>
            <a:ln w="25400" cap="flat" cmpd="sng" algn="ctr">
              <a:noFill/>
              <a:prstDash val="solid"/>
            </a:ln>
            <a:effectLst/>
          </p:spPr>
          <p:txBody>
            <a:bodyPr rtlCol="0" anchor="b"/>
            <a:lstStyle/>
            <a:p>
              <a:pPr algn="ctr" defTabSz="914378">
                <a:defRPr/>
              </a:pPr>
              <a:r>
                <a:rPr lang="ru" sz="1200" b="1" kern="0">
                  <a:solidFill>
                    <a:srgbClr val="003865">
                      <a:lumMod val="90000"/>
                      <a:lumOff val="10000"/>
                    </a:srgbClr>
                  </a:solidFill>
                  <a:latin typeface="Arial"/>
                </a:rPr>
                <a:t>0</a:t>
              </a:r>
            </a:p>
            <a:p>
              <a:pPr algn="ctr" defTabSz="914378">
                <a:defRPr/>
              </a:pPr>
              <a:endParaRPr lang="en-US" sz="800" kern="0" dirty="0">
                <a:solidFill>
                  <a:srgbClr val="000000"/>
                </a:solidFill>
                <a:latin typeface="Arial"/>
              </a:endParaRPr>
            </a:p>
          </p:txBody>
        </p:sp>
        <p:cxnSp>
          <p:nvCxnSpPr>
            <p:cNvPr id="19" name="Straight Connector 18">
              <a:extLst>
                <a:ext uri="{FF2B5EF4-FFF2-40B4-BE49-F238E27FC236}">
                  <a16:creationId xmlns:a16="http://schemas.microsoft.com/office/drawing/2014/main" xmlns="" id="{68C7ACAB-46A9-4115-BAFC-FDE186A78889}"/>
                </a:ext>
              </a:extLst>
            </p:cNvPr>
            <p:cNvCxnSpPr>
              <a:cxnSpLocks/>
            </p:cNvCxnSpPr>
            <p:nvPr/>
          </p:nvCxnSpPr>
          <p:spPr>
            <a:xfrm flipH="1">
              <a:off x="9134517" y="1206951"/>
              <a:ext cx="20705" cy="1787498"/>
            </a:xfrm>
            <a:prstGeom prst="line">
              <a:avLst/>
            </a:prstGeom>
            <a:noFill/>
            <a:ln w="28575" cap="flat" cmpd="sng" algn="ctr">
              <a:solidFill>
                <a:srgbClr val="FF0000"/>
              </a:solidFill>
              <a:prstDash val="dash"/>
            </a:ln>
            <a:effectLst/>
          </p:spPr>
        </p:cxnSp>
      </p:grpSp>
      <p:sp>
        <p:nvSpPr>
          <p:cNvPr id="20" name="TextBox 19">
            <a:extLst>
              <a:ext uri="{FF2B5EF4-FFF2-40B4-BE49-F238E27FC236}">
                <a16:creationId xmlns:a16="http://schemas.microsoft.com/office/drawing/2014/main" xmlns="" id="{F5EBFC9B-2606-4CF7-8509-502E51C93C02}"/>
              </a:ext>
            </a:extLst>
          </p:cNvPr>
          <p:cNvSpPr txBox="1"/>
          <p:nvPr/>
        </p:nvSpPr>
        <p:spPr>
          <a:xfrm>
            <a:off x="672435" y="2354665"/>
            <a:ext cx="7563006" cy="276999"/>
          </a:xfrm>
          <a:prstGeom prst="rect">
            <a:avLst/>
          </a:prstGeom>
          <a:noFill/>
        </p:spPr>
        <p:txBody>
          <a:bodyPr wrap="square" rtlCol="0">
            <a:spAutoFit/>
          </a:bodyPr>
          <a:lstStyle/>
          <a:p>
            <a:pPr algn="ctr" defTabSz="685800">
              <a:defRPr/>
            </a:pPr>
            <a:r>
              <a:rPr lang="ru" sz="1200" b="1" kern="0" dirty="0">
                <a:solidFill>
                  <a:srgbClr val="000000"/>
                </a:solidFill>
                <a:latin typeface="Arial"/>
              </a:rPr>
              <a:t>Используемая в настоящее время классификация HER2-статуса</a:t>
            </a:r>
            <a:r>
              <a:rPr lang="ru" sz="1200" b="1" kern="0" baseline="30000" dirty="0">
                <a:solidFill>
                  <a:srgbClr val="000000"/>
                </a:solidFill>
                <a:latin typeface="Arial"/>
              </a:rPr>
              <a:t>3</a:t>
            </a:r>
          </a:p>
        </p:txBody>
      </p:sp>
      <p:sp>
        <p:nvSpPr>
          <p:cNvPr id="21" name="Text Placeholder 3">
            <a:extLst>
              <a:ext uri="{FF2B5EF4-FFF2-40B4-BE49-F238E27FC236}">
                <a16:creationId xmlns:a16="http://schemas.microsoft.com/office/drawing/2014/main" xmlns="" id="{D040E2BB-B86E-42B8-B88E-D1AB2BA22BFE}"/>
              </a:ext>
            </a:extLst>
          </p:cNvPr>
          <p:cNvSpPr txBox="1">
            <a:spLocks/>
          </p:cNvSpPr>
          <p:nvPr/>
        </p:nvSpPr>
        <p:spPr>
          <a:xfrm>
            <a:off x="254088" y="4709075"/>
            <a:ext cx="8152934" cy="276999"/>
          </a:xfrm>
          <a:prstGeom prst="rect">
            <a:avLst/>
          </a:prstGeom>
        </p:spPr>
        <p:txBody>
          <a:bodyPr wrap="square" rtlCol="0" anchor="b" anchorCtr="0">
            <a:spAutoFit/>
          </a:bodyPr>
          <a:lstStyle>
            <a:lvl1pPr marL="0" indent="0" algn="l" defTabSz="457166" rtl="0" eaLnBrk="1" latinLnBrk="0" hangingPunct="1">
              <a:spcBef>
                <a:spcPts val="0"/>
              </a:spcBef>
              <a:buFont typeface="Arial"/>
              <a:buNone/>
              <a:defRPr kumimoji="1" sz="700" kern="1200">
                <a:solidFill>
                  <a:schemeClr val="tx1"/>
                </a:solidFill>
                <a:latin typeface="+mn-lt"/>
                <a:ea typeface="+mn-ea"/>
                <a:cs typeface="+mn-cs"/>
              </a:defRPr>
            </a:lvl1pPr>
            <a:lvl2pPr marL="0" indent="0" algn="l" defTabSz="457166" rtl="0" eaLnBrk="1" latinLnBrk="0" hangingPunct="1">
              <a:spcBef>
                <a:spcPts val="0"/>
              </a:spcBef>
              <a:buFont typeface="Arial"/>
              <a:buNone/>
              <a:defRPr kumimoji="1" sz="700" kern="1200">
                <a:solidFill>
                  <a:schemeClr val="tx1"/>
                </a:solidFill>
                <a:latin typeface="+mn-lt"/>
                <a:ea typeface="+mn-ea"/>
                <a:cs typeface="+mn-cs"/>
              </a:defRPr>
            </a:lvl2pPr>
            <a:lvl3pPr marL="0" indent="0" algn="l" defTabSz="457166" rtl="0" eaLnBrk="1" latinLnBrk="0" hangingPunct="1">
              <a:spcBef>
                <a:spcPts val="0"/>
              </a:spcBef>
              <a:buFont typeface="Arial"/>
              <a:buNone/>
              <a:defRPr kumimoji="1" sz="700" kern="1200">
                <a:solidFill>
                  <a:schemeClr val="tx1"/>
                </a:solidFill>
                <a:latin typeface="+mn-lt"/>
                <a:ea typeface="+mn-ea"/>
                <a:cs typeface="+mn-cs"/>
              </a:defRPr>
            </a:lvl3pPr>
            <a:lvl4pPr marL="0" indent="0" algn="l" defTabSz="457166" rtl="0" eaLnBrk="1" latinLnBrk="0" hangingPunct="1">
              <a:spcBef>
                <a:spcPts val="0"/>
              </a:spcBef>
              <a:buFont typeface="Arial"/>
              <a:buNone/>
              <a:defRPr kumimoji="1" sz="700" kern="1200">
                <a:solidFill>
                  <a:schemeClr val="tx1"/>
                </a:solidFill>
                <a:latin typeface="+mn-lt"/>
                <a:ea typeface="+mn-ea"/>
                <a:cs typeface="+mn-cs"/>
              </a:defRPr>
            </a:lvl4pPr>
            <a:lvl5pPr marL="0" indent="0" algn="l" defTabSz="457166" rtl="0" eaLnBrk="1" latinLnBrk="0" hangingPunct="1">
              <a:spcBef>
                <a:spcPts val="0"/>
              </a:spcBef>
              <a:buFont typeface="Arial"/>
              <a:buNone/>
              <a:defRPr kumimoji="1" sz="700" kern="1200">
                <a:solidFill>
                  <a:schemeClr val="tx1"/>
                </a:solidFill>
                <a:latin typeface="+mn-lt"/>
                <a:ea typeface="+mn-ea"/>
                <a:cs typeface="+mn-cs"/>
              </a:defRPr>
            </a:lvl5pPr>
            <a:lvl6pPr marL="2514411"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6pPr>
            <a:lvl7pPr marL="2971578"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7pPr>
            <a:lvl8pPr marL="3428744"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8pPr>
            <a:lvl9pPr marL="3885909"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9pPr>
          </a:lstStyle>
          <a:p>
            <a:pPr defTabSz="342866">
              <a:defRPr/>
            </a:pPr>
            <a:r>
              <a:rPr lang="ru" sz="600" dirty="0">
                <a:solidFill>
                  <a:srgbClr val="000000"/>
                </a:solidFill>
                <a:latin typeface="+mj-lt"/>
              </a:rPr>
              <a:t>1. Burstein HJ. </a:t>
            </a:r>
            <a:r>
              <a:rPr lang="ru" sz="600" i="1" dirty="0">
                <a:solidFill>
                  <a:srgbClr val="000000"/>
                </a:solidFill>
                <a:latin typeface="+mj-lt"/>
              </a:rPr>
              <a:t>N Engl J Med</a:t>
            </a:r>
            <a:r>
              <a:rPr lang="ru" sz="600" dirty="0">
                <a:solidFill>
                  <a:srgbClr val="000000"/>
                </a:solidFill>
                <a:latin typeface="+mj-lt"/>
              </a:rPr>
              <a:t>. 2005;353(16):1652-1654. 2. Cronin KA, et al. </a:t>
            </a:r>
            <a:r>
              <a:rPr lang="ru" sz="600" i="1" dirty="0">
                <a:solidFill>
                  <a:srgbClr val="000000"/>
                </a:solidFill>
                <a:latin typeface="+mj-lt"/>
              </a:rPr>
              <a:t>Cancer Invest</a:t>
            </a:r>
            <a:r>
              <a:rPr lang="ru" sz="600" dirty="0">
                <a:solidFill>
                  <a:srgbClr val="000000"/>
                </a:solidFill>
                <a:latin typeface="+mj-lt"/>
              </a:rPr>
              <a:t>. 2010;28(9):963-968. 3. </a:t>
            </a:r>
            <a:r>
              <a:rPr lang="en-US" sz="600" dirty="0">
                <a:solidFill>
                  <a:schemeClr val="accent6">
                    <a:lumMod val="50000"/>
                  </a:schemeClr>
                </a:solidFill>
                <a:latin typeface="+mj-lt"/>
              </a:rPr>
              <a:t>NCCN </a:t>
            </a:r>
            <a:r>
              <a:rPr lang="en-US" sz="600" dirty="0">
                <a:latin typeface="+mj-lt"/>
              </a:rPr>
              <a:t>Guidelines v.3.2022</a:t>
            </a:r>
            <a:r>
              <a:rPr lang="ru-RU" sz="600" dirty="0">
                <a:latin typeface="+mj-lt"/>
              </a:rPr>
              <a:t> электронный ресурс </a:t>
            </a:r>
            <a:r>
              <a:rPr lang="ru-RU" sz="600" dirty="0">
                <a:latin typeface="+mj-lt"/>
                <a:hlinkClick r:id="rId2"/>
              </a:rPr>
              <a:t>https://www.nccn.org/guidelines/guidelines-detail?category=1&amp;id=1419</a:t>
            </a:r>
            <a:r>
              <a:rPr lang="ru-RU" sz="600" dirty="0">
                <a:latin typeface="+mj-lt"/>
              </a:rPr>
              <a:t> дата обращения 16.03.2023</a:t>
            </a:r>
            <a:r>
              <a:rPr lang="ru" sz="600" dirty="0">
                <a:solidFill>
                  <a:srgbClr val="000000"/>
                </a:solidFill>
                <a:latin typeface="+mj-lt"/>
              </a:rPr>
              <a:t> 4. Eiger D, et al. </a:t>
            </a:r>
            <a:r>
              <a:rPr lang="ru" sz="600" i="1" dirty="0">
                <a:solidFill>
                  <a:srgbClr val="000000"/>
                </a:solidFill>
                <a:latin typeface="+mj-lt"/>
              </a:rPr>
              <a:t>Cancers (Basel). </a:t>
            </a:r>
            <a:r>
              <a:rPr lang="ru" sz="600" dirty="0">
                <a:solidFill>
                  <a:srgbClr val="000000"/>
                </a:solidFill>
                <a:latin typeface="+mj-lt"/>
              </a:rPr>
              <a:t>2021;13(5):1015. 5. Tarantino P, et al. </a:t>
            </a:r>
            <a:r>
              <a:rPr lang="ru" sz="600" i="1" dirty="0">
                <a:solidFill>
                  <a:srgbClr val="000000"/>
                </a:solidFill>
                <a:latin typeface="+mj-lt"/>
              </a:rPr>
              <a:t>J Clin Oncol</a:t>
            </a:r>
            <a:r>
              <a:rPr lang="ru" sz="600" dirty="0">
                <a:solidFill>
                  <a:srgbClr val="000000"/>
                </a:solidFill>
                <a:latin typeface="+mj-lt"/>
              </a:rPr>
              <a:t>. 2020;38(17):1951-1962. 6. Fehrenbacher L, et al. </a:t>
            </a:r>
            <a:r>
              <a:rPr lang="ru" sz="600" i="1" dirty="0">
                <a:solidFill>
                  <a:srgbClr val="000000"/>
                </a:solidFill>
                <a:latin typeface="+mj-lt"/>
              </a:rPr>
              <a:t>J Clin Oncol. </a:t>
            </a:r>
            <a:r>
              <a:rPr lang="ru" sz="600" dirty="0">
                <a:solidFill>
                  <a:srgbClr val="000000"/>
                </a:solidFill>
                <a:latin typeface="+mj-lt"/>
              </a:rPr>
              <a:t>2019;38(5):444-453. </a:t>
            </a:r>
            <a:endParaRPr lang="en-US" sz="600" dirty="0">
              <a:solidFill>
                <a:srgbClr val="000000"/>
              </a:solidFill>
              <a:latin typeface="+mj-lt"/>
            </a:endParaRPr>
          </a:p>
        </p:txBody>
      </p:sp>
      <p:sp>
        <p:nvSpPr>
          <p:cNvPr id="22" name="TextBox 21">
            <a:extLst>
              <a:ext uri="{FF2B5EF4-FFF2-40B4-BE49-F238E27FC236}">
                <a16:creationId xmlns:a16="http://schemas.microsoft.com/office/drawing/2014/main" xmlns="" id="{199ABE08-4F47-421C-A624-95FE231C284B}"/>
              </a:ext>
            </a:extLst>
          </p:cNvPr>
          <p:cNvSpPr txBox="1"/>
          <p:nvPr/>
        </p:nvSpPr>
        <p:spPr>
          <a:xfrm>
            <a:off x="286223" y="4020384"/>
            <a:ext cx="6004821" cy="508563"/>
          </a:xfrm>
          <a:prstGeom prst="rect">
            <a:avLst/>
          </a:prstGeom>
          <a:noFill/>
          <a:ln>
            <a:solidFill>
              <a:schemeClr val="bg1"/>
            </a:solidFill>
          </a:ln>
        </p:spPr>
        <p:txBody>
          <a:bodyPr wrap="none" rtlCol="0">
            <a:noAutofit/>
          </a:bodyPr>
          <a:lstStyle/>
          <a:p>
            <a:pPr algn="l">
              <a:lnSpc>
                <a:spcPct val="90000"/>
              </a:lnSpc>
              <a:spcAft>
                <a:spcPts val="600"/>
              </a:spcAft>
            </a:pPr>
            <a:r>
              <a:rPr lang="ru-RU" sz="900" dirty="0"/>
              <a:t>ИГХ – </a:t>
            </a:r>
            <a:r>
              <a:rPr lang="ru-RU" sz="900" dirty="0" err="1"/>
              <a:t>иммуногистохимия</a:t>
            </a:r>
            <a:r>
              <a:rPr lang="ru-RU" sz="900" dirty="0"/>
              <a:t>, </a:t>
            </a:r>
            <a:r>
              <a:rPr lang="en-US" sz="900" dirty="0">
                <a:latin typeface="Arial"/>
              </a:rPr>
              <a:t>ISH — </a:t>
            </a:r>
            <a:r>
              <a:rPr lang="ru-RU" sz="900" dirty="0">
                <a:latin typeface="Arial"/>
              </a:rPr>
              <a:t>гибридизация </a:t>
            </a:r>
            <a:r>
              <a:rPr lang="en-US" sz="900" dirty="0">
                <a:latin typeface="Arial"/>
              </a:rPr>
              <a:t>in situ</a:t>
            </a:r>
            <a:endParaRPr lang="ru-RU" sz="900" dirty="0">
              <a:latin typeface="Arial"/>
            </a:endParaRPr>
          </a:p>
          <a:p>
            <a:pPr algn="l">
              <a:lnSpc>
                <a:spcPct val="90000"/>
              </a:lnSpc>
              <a:spcAft>
                <a:spcPts val="600"/>
              </a:spcAft>
            </a:pPr>
            <a:r>
              <a:rPr lang="ru-RU" sz="900" dirty="0" err="1"/>
              <a:t>мВБП</a:t>
            </a:r>
            <a:r>
              <a:rPr lang="ru-RU" sz="900" dirty="0"/>
              <a:t> – медиана выживаемости без прогрессирования</a:t>
            </a:r>
            <a:endParaRPr lang="en-US" sz="900" dirty="0"/>
          </a:p>
        </p:txBody>
      </p:sp>
    </p:spTree>
    <p:extLst>
      <p:ext uri="{BB962C8B-B14F-4D97-AF65-F5344CB8AC3E}">
        <p14:creationId xmlns:p14="http://schemas.microsoft.com/office/powerpoint/2010/main" val="6642724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48FAADB-9B9D-4583-BBBD-40E5876E1B95}"/>
              </a:ext>
            </a:extLst>
          </p:cNvPr>
          <p:cNvSpPr>
            <a:spLocks noGrp="1"/>
          </p:cNvSpPr>
          <p:nvPr>
            <p:ph type="title"/>
          </p:nvPr>
        </p:nvSpPr>
        <p:spPr/>
        <p:txBody>
          <a:bodyPr/>
          <a:lstStyle/>
          <a:p>
            <a:r>
              <a:rPr lang="ru-RU" sz="2100" dirty="0"/>
              <a:t>Согласно текущим рекомендациям ASCO/CAP от 2018 г., алгоритм исследования HER2 при раке молочной железы дает результат «HER2-положительный» </a:t>
            </a:r>
            <a:r>
              <a:rPr lang="ru-RU" sz="2100" dirty="0" err="1"/>
              <a:t>vs</a:t>
            </a:r>
            <a:r>
              <a:rPr lang="ru-RU" sz="2100" dirty="0"/>
              <a:t>. «HER2-отрицательный»</a:t>
            </a:r>
            <a:r>
              <a:rPr lang="ru-RU" dirty="0"/>
              <a:t/>
            </a:r>
            <a:br>
              <a:rPr lang="ru-RU" dirty="0"/>
            </a:br>
            <a:endParaRPr lang="en-US" dirty="0"/>
          </a:p>
        </p:txBody>
      </p:sp>
      <p:grpSp>
        <p:nvGrpSpPr>
          <p:cNvPr id="6" name="Group 5">
            <a:extLst>
              <a:ext uri="{FF2B5EF4-FFF2-40B4-BE49-F238E27FC236}">
                <a16:creationId xmlns:a16="http://schemas.microsoft.com/office/drawing/2014/main" xmlns="" id="{AAFB24D5-8B98-4E03-B25D-017CDFF95359}"/>
              </a:ext>
            </a:extLst>
          </p:cNvPr>
          <p:cNvGrpSpPr/>
          <p:nvPr/>
        </p:nvGrpSpPr>
        <p:grpSpPr>
          <a:xfrm flipH="1">
            <a:off x="1606930" y="1476591"/>
            <a:ext cx="5712248" cy="2651209"/>
            <a:chOff x="3163387" y="1006486"/>
            <a:chExt cx="5128046" cy="1844373"/>
          </a:xfrm>
        </p:grpSpPr>
        <p:grpSp>
          <p:nvGrpSpPr>
            <p:cNvPr id="7" name="Group 6">
              <a:extLst>
                <a:ext uri="{FF2B5EF4-FFF2-40B4-BE49-F238E27FC236}">
                  <a16:creationId xmlns:a16="http://schemas.microsoft.com/office/drawing/2014/main" xmlns="" id="{BB0652C5-EA9C-4CF1-9287-E7BF79F6BD1A}"/>
                </a:ext>
              </a:extLst>
            </p:cNvPr>
            <p:cNvGrpSpPr/>
            <p:nvPr/>
          </p:nvGrpSpPr>
          <p:grpSpPr>
            <a:xfrm>
              <a:off x="3163387" y="1006486"/>
              <a:ext cx="5128046" cy="1844373"/>
              <a:chOff x="639617" y="1640434"/>
              <a:chExt cx="7548568" cy="1646304"/>
            </a:xfrm>
          </p:grpSpPr>
          <p:sp>
            <p:nvSpPr>
              <p:cNvPr id="12" name="Rectangle 11">
                <a:extLst>
                  <a:ext uri="{FF2B5EF4-FFF2-40B4-BE49-F238E27FC236}">
                    <a16:creationId xmlns:a16="http://schemas.microsoft.com/office/drawing/2014/main" xmlns="" id="{65BD43BB-63C8-4639-8A6B-1E196461843D}"/>
                  </a:ext>
                </a:extLst>
              </p:cNvPr>
              <p:cNvSpPr/>
              <p:nvPr/>
            </p:nvSpPr>
            <p:spPr>
              <a:xfrm>
                <a:off x="3120665" y="1640434"/>
                <a:ext cx="2701180" cy="356301"/>
              </a:xfrm>
              <a:prstGeom prst="rect">
                <a:avLst/>
              </a:prstGeom>
              <a:solidFill>
                <a:srgbClr val="D6DEF3"/>
              </a:solidFill>
              <a:ln w="9525" cap="flat" cmpd="sng" algn="ctr">
                <a:solidFill>
                  <a:schemeClr val="tx1">
                    <a:lumMod val="50000"/>
                    <a:lumOff val="50000"/>
                  </a:schemeClr>
                </a:solidFill>
                <a:prstDash val="solid"/>
              </a:ln>
              <a:effectLst/>
            </p:spPr>
            <p:txBody>
              <a:bodyPr rtlCol="0" anchor="ctr"/>
              <a:lstStyle/>
              <a:p>
                <a:pPr algn="ctr" defTabSz="685783">
                  <a:defRPr/>
                </a:pPr>
                <a:r>
                  <a:rPr lang="ru" sz="900" kern="0" dirty="0">
                    <a:solidFill>
                      <a:srgbClr val="000000"/>
                    </a:solidFill>
                  </a:rPr>
                  <a:t>Определение статуса HER2 (в инвазивном компоненте) с помощью валидированного ИГХ анализа</a:t>
                </a:r>
              </a:p>
            </p:txBody>
          </p:sp>
          <p:sp>
            <p:nvSpPr>
              <p:cNvPr id="13" name="Rectangle 12">
                <a:extLst>
                  <a:ext uri="{FF2B5EF4-FFF2-40B4-BE49-F238E27FC236}">
                    <a16:creationId xmlns:a16="http://schemas.microsoft.com/office/drawing/2014/main" xmlns="" id="{AE0F83B0-3FAB-44B3-B4B5-C02CD4FFC098}"/>
                  </a:ext>
                </a:extLst>
              </p:cNvPr>
              <p:cNvSpPr/>
              <p:nvPr/>
            </p:nvSpPr>
            <p:spPr>
              <a:xfrm>
                <a:off x="639617" y="2168459"/>
                <a:ext cx="1749157" cy="626872"/>
              </a:xfrm>
              <a:prstGeom prst="rect">
                <a:avLst/>
              </a:prstGeom>
              <a:solidFill>
                <a:srgbClr val="D6DEF3"/>
              </a:solidFill>
              <a:ln w="9525" cap="flat" cmpd="sng" algn="ctr">
                <a:solidFill>
                  <a:schemeClr val="tx1">
                    <a:lumMod val="50000"/>
                    <a:lumOff val="50000"/>
                  </a:schemeClr>
                </a:solidFill>
                <a:prstDash val="solid"/>
              </a:ln>
              <a:effectLst/>
            </p:spPr>
            <p:txBody>
              <a:bodyPr rtlCol="0" anchor="ctr"/>
              <a:lstStyle/>
              <a:p>
                <a:pPr algn="ctr" defTabSz="685783">
                  <a:defRPr/>
                </a:pPr>
                <a:r>
                  <a:rPr lang="ru" sz="825" kern="0" dirty="0">
                    <a:solidFill>
                      <a:srgbClr val="000000"/>
                    </a:solidFill>
                  </a:rPr>
                  <a:t>Полное интенсивное периферическое мембранное окрашивание &gt; 10 % опухолевых клеток (ИГХ 3+)</a:t>
                </a:r>
              </a:p>
            </p:txBody>
          </p:sp>
          <p:sp>
            <p:nvSpPr>
              <p:cNvPr id="14" name="Rectangle 13">
                <a:extLst>
                  <a:ext uri="{FF2B5EF4-FFF2-40B4-BE49-F238E27FC236}">
                    <a16:creationId xmlns:a16="http://schemas.microsoft.com/office/drawing/2014/main" xmlns="" id="{D9C82B75-95E7-4929-907F-27237546E050}"/>
                  </a:ext>
                </a:extLst>
              </p:cNvPr>
              <p:cNvSpPr/>
              <p:nvPr/>
            </p:nvSpPr>
            <p:spPr>
              <a:xfrm>
                <a:off x="2502580" y="2168460"/>
                <a:ext cx="1781193" cy="632220"/>
              </a:xfrm>
              <a:prstGeom prst="rect">
                <a:avLst/>
              </a:prstGeom>
              <a:solidFill>
                <a:srgbClr val="D6DEF3"/>
              </a:solidFill>
              <a:ln w="9525" cap="flat" cmpd="sng" algn="ctr">
                <a:solidFill>
                  <a:schemeClr val="tx1">
                    <a:lumMod val="50000"/>
                    <a:lumOff val="50000"/>
                  </a:schemeClr>
                </a:solidFill>
                <a:prstDash val="solid"/>
              </a:ln>
              <a:effectLst/>
            </p:spPr>
            <p:txBody>
              <a:bodyPr rtlCol="0" anchor="ctr"/>
              <a:lstStyle/>
              <a:p>
                <a:pPr algn="ctr" defTabSz="685783">
                  <a:defRPr/>
                </a:pPr>
                <a:r>
                  <a:rPr lang="ru" sz="825" kern="0" dirty="0">
                    <a:solidFill>
                      <a:srgbClr val="000000"/>
                    </a:solidFill>
                  </a:rPr>
                  <a:t>Полное мембранное окрашивание от слабой до умеренной интенсивности &gt; 10 % опухолевых клеток (ИГХ 2+)</a:t>
                </a:r>
              </a:p>
            </p:txBody>
          </p:sp>
          <p:sp>
            <p:nvSpPr>
              <p:cNvPr id="15" name="Rectangle 14">
                <a:extLst>
                  <a:ext uri="{FF2B5EF4-FFF2-40B4-BE49-F238E27FC236}">
                    <a16:creationId xmlns:a16="http://schemas.microsoft.com/office/drawing/2014/main" xmlns="" id="{2B443CA5-2E15-434A-990C-4A90156AC0CB}"/>
                  </a:ext>
                </a:extLst>
              </p:cNvPr>
              <p:cNvSpPr/>
              <p:nvPr/>
            </p:nvSpPr>
            <p:spPr>
              <a:xfrm>
                <a:off x="4433681" y="2166443"/>
                <a:ext cx="1840219" cy="641766"/>
              </a:xfrm>
              <a:prstGeom prst="rect">
                <a:avLst/>
              </a:prstGeom>
              <a:solidFill>
                <a:srgbClr val="D6DEF3"/>
              </a:solidFill>
              <a:ln w="9525" cap="flat" cmpd="sng" algn="ctr">
                <a:solidFill>
                  <a:schemeClr val="tx1">
                    <a:lumMod val="50000"/>
                    <a:lumOff val="50000"/>
                  </a:schemeClr>
                </a:solidFill>
                <a:prstDash val="solid"/>
              </a:ln>
              <a:effectLst/>
            </p:spPr>
            <p:txBody>
              <a:bodyPr rtlCol="0" anchor="ctr"/>
              <a:lstStyle/>
              <a:p>
                <a:pPr algn="ctr" defTabSz="685783">
                  <a:defRPr/>
                </a:pPr>
                <a:r>
                  <a:rPr lang="ru" sz="825" kern="0" dirty="0">
                    <a:solidFill>
                      <a:srgbClr val="000000"/>
                    </a:solidFill>
                  </a:rPr>
                  <a:t>Неполное окрашивание мембран, слабое/едва заметное &gt; 10 % опухолевых клеток (ИГХ 1+)</a:t>
                </a:r>
              </a:p>
            </p:txBody>
          </p:sp>
          <p:sp>
            <p:nvSpPr>
              <p:cNvPr id="16" name="Rectangle 15">
                <a:extLst>
                  <a:ext uri="{FF2B5EF4-FFF2-40B4-BE49-F238E27FC236}">
                    <a16:creationId xmlns:a16="http://schemas.microsoft.com/office/drawing/2014/main" xmlns="" id="{72CCD0F3-E994-47EF-B2DB-3D5CFACD4BDB}"/>
                  </a:ext>
                </a:extLst>
              </p:cNvPr>
              <p:cNvSpPr/>
              <p:nvPr/>
            </p:nvSpPr>
            <p:spPr>
              <a:xfrm>
                <a:off x="6423809" y="2165207"/>
                <a:ext cx="1764376" cy="642638"/>
              </a:xfrm>
              <a:prstGeom prst="rect">
                <a:avLst/>
              </a:prstGeom>
              <a:solidFill>
                <a:srgbClr val="D6DEF3"/>
              </a:solidFill>
              <a:ln w="9525" cap="flat" cmpd="sng" algn="ctr">
                <a:solidFill>
                  <a:schemeClr val="tx1">
                    <a:lumMod val="50000"/>
                    <a:lumOff val="50000"/>
                  </a:schemeClr>
                </a:solidFill>
                <a:prstDash val="solid"/>
              </a:ln>
              <a:effectLst/>
            </p:spPr>
            <p:txBody>
              <a:bodyPr lIns="0" rIns="0" rtlCol="0" anchor="ctr"/>
              <a:lstStyle/>
              <a:p>
                <a:pPr algn="ctr" defTabSz="685783">
                  <a:defRPr/>
                </a:pPr>
                <a:r>
                  <a:rPr lang="ru" sz="825" kern="0" dirty="0">
                    <a:solidFill>
                      <a:srgbClr val="000000"/>
                    </a:solidFill>
                  </a:rPr>
                  <a:t>Отсутствие окрашивания</a:t>
                </a:r>
                <a:r>
                  <a:rPr lang="en-GB" sz="825" kern="0" dirty="0">
                    <a:solidFill>
                      <a:srgbClr val="000000"/>
                    </a:solidFill>
                  </a:rPr>
                  <a:t/>
                </a:r>
                <a:br>
                  <a:rPr lang="en-GB" sz="825" kern="0" dirty="0">
                    <a:solidFill>
                      <a:srgbClr val="000000"/>
                    </a:solidFill>
                  </a:rPr>
                </a:br>
                <a:r>
                  <a:rPr lang="ru" sz="825" b="1" kern="0" dirty="0">
                    <a:solidFill>
                      <a:srgbClr val="000000"/>
                    </a:solidFill>
                  </a:rPr>
                  <a:t>или </a:t>
                </a:r>
                <a:r>
                  <a:rPr lang="ru" sz="825" kern="0" dirty="0">
                    <a:solidFill>
                      <a:srgbClr val="000000"/>
                    </a:solidFill>
                  </a:rPr>
                  <a:t>неполное, слабое/едва заметное мембранное окрашивание ≤ 10 % опухолевых клеток (ИГХ 0)</a:t>
                </a:r>
              </a:p>
            </p:txBody>
          </p:sp>
          <p:cxnSp>
            <p:nvCxnSpPr>
              <p:cNvPr id="17" name="Connector: Elbow 16">
                <a:extLst>
                  <a:ext uri="{FF2B5EF4-FFF2-40B4-BE49-F238E27FC236}">
                    <a16:creationId xmlns:a16="http://schemas.microsoft.com/office/drawing/2014/main" xmlns="" id="{86DC58F0-7181-4F13-A306-3A3601D340B6}"/>
                  </a:ext>
                </a:extLst>
              </p:cNvPr>
              <p:cNvCxnSpPr>
                <a:cxnSpLocks/>
                <a:stCxn id="12" idx="2"/>
                <a:endCxn id="13" idx="0"/>
              </p:cNvCxnSpPr>
              <p:nvPr/>
            </p:nvCxnSpPr>
            <p:spPr>
              <a:xfrm rot="5400000">
                <a:off x="2906863" y="604067"/>
                <a:ext cx="171724" cy="2957060"/>
              </a:xfrm>
              <a:prstGeom prst="bentConnector3">
                <a:avLst/>
              </a:prstGeom>
              <a:noFill/>
              <a:ln w="25400" cap="flat" cmpd="sng" algn="ctr">
                <a:solidFill>
                  <a:srgbClr val="000000"/>
                </a:solidFill>
                <a:prstDash val="solid"/>
              </a:ln>
              <a:effectLst/>
            </p:spPr>
          </p:cxnSp>
          <p:cxnSp>
            <p:nvCxnSpPr>
              <p:cNvPr id="18" name="Connector: Elbow 17">
                <a:extLst>
                  <a:ext uri="{FF2B5EF4-FFF2-40B4-BE49-F238E27FC236}">
                    <a16:creationId xmlns:a16="http://schemas.microsoft.com/office/drawing/2014/main" xmlns="" id="{F2E1F241-7EFD-4B40-B47F-B84F7C19708E}"/>
                  </a:ext>
                </a:extLst>
              </p:cNvPr>
              <p:cNvCxnSpPr>
                <a:cxnSpLocks/>
                <a:stCxn id="12" idx="2"/>
                <a:endCxn id="16" idx="0"/>
              </p:cNvCxnSpPr>
              <p:nvPr/>
            </p:nvCxnSpPr>
            <p:spPr>
              <a:xfrm rot="16200000" flipH="1">
                <a:off x="5804390" y="663600"/>
                <a:ext cx="168472" cy="2834742"/>
              </a:xfrm>
              <a:prstGeom prst="bentConnector3">
                <a:avLst>
                  <a:gd name="adj1" fmla="val 50000"/>
                </a:avLst>
              </a:prstGeom>
              <a:noFill/>
              <a:ln w="25400" cap="flat" cmpd="sng" algn="ctr">
                <a:solidFill>
                  <a:srgbClr val="000000"/>
                </a:solidFill>
                <a:prstDash val="solid"/>
              </a:ln>
              <a:effectLst/>
            </p:spPr>
          </p:cxnSp>
          <p:cxnSp>
            <p:nvCxnSpPr>
              <p:cNvPr id="19" name="Connector: Elbow 18">
                <a:extLst>
                  <a:ext uri="{FF2B5EF4-FFF2-40B4-BE49-F238E27FC236}">
                    <a16:creationId xmlns:a16="http://schemas.microsoft.com/office/drawing/2014/main" xmlns="" id="{70C1CFEC-027D-4595-8FA8-E2E522F6A3B2}"/>
                  </a:ext>
                </a:extLst>
              </p:cNvPr>
              <p:cNvCxnSpPr>
                <a:cxnSpLocks/>
                <a:stCxn id="12" idx="2"/>
                <a:endCxn id="15" idx="0"/>
              </p:cNvCxnSpPr>
              <p:nvPr/>
            </p:nvCxnSpPr>
            <p:spPr>
              <a:xfrm rot="16200000" flipH="1">
                <a:off x="4827668" y="1640322"/>
                <a:ext cx="169708" cy="882535"/>
              </a:xfrm>
              <a:prstGeom prst="bentConnector3">
                <a:avLst>
                  <a:gd name="adj1" fmla="val 50000"/>
                </a:avLst>
              </a:prstGeom>
              <a:noFill/>
              <a:ln w="25400" cap="flat" cmpd="sng" algn="ctr">
                <a:solidFill>
                  <a:srgbClr val="000000"/>
                </a:solidFill>
                <a:prstDash val="solid"/>
              </a:ln>
              <a:effectLst/>
            </p:spPr>
          </p:cxnSp>
          <p:cxnSp>
            <p:nvCxnSpPr>
              <p:cNvPr id="20" name="Connector: Elbow 19">
                <a:extLst>
                  <a:ext uri="{FF2B5EF4-FFF2-40B4-BE49-F238E27FC236}">
                    <a16:creationId xmlns:a16="http://schemas.microsoft.com/office/drawing/2014/main" xmlns="" id="{A7A7647C-AE07-4AD7-AEA5-17F045198FED}"/>
                  </a:ext>
                </a:extLst>
              </p:cNvPr>
              <p:cNvCxnSpPr>
                <a:cxnSpLocks/>
              </p:cNvCxnSpPr>
              <p:nvPr/>
            </p:nvCxnSpPr>
            <p:spPr>
              <a:xfrm rot="5400000">
                <a:off x="3818934" y="1553714"/>
                <a:ext cx="171723" cy="1057769"/>
              </a:xfrm>
              <a:prstGeom prst="bentConnector3">
                <a:avLst>
                  <a:gd name="adj1" fmla="val 50000"/>
                </a:avLst>
              </a:prstGeom>
              <a:noFill/>
              <a:ln w="25400" cap="flat" cmpd="sng" algn="ctr">
                <a:solidFill>
                  <a:srgbClr val="000000"/>
                </a:solidFill>
                <a:prstDash val="solid"/>
              </a:ln>
              <a:effectLst/>
            </p:spPr>
          </p:cxnSp>
          <p:sp>
            <p:nvSpPr>
              <p:cNvPr id="21" name="Rectangle 20">
                <a:extLst>
                  <a:ext uri="{FF2B5EF4-FFF2-40B4-BE49-F238E27FC236}">
                    <a16:creationId xmlns:a16="http://schemas.microsoft.com/office/drawing/2014/main" xmlns="" id="{2577107E-9B4A-4915-B017-6540C869B166}"/>
                  </a:ext>
                </a:extLst>
              </p:cNvPr>
              <p:cNvSpPr/>
              <p:nvPr/>
            </p:nvSpPr>
            <p:spPr>
              <a:xfrm>
                <a:off x="749969" y="2928936"/>
                <a:ext cx="1322228" cy="351000"/>
              </a:xfrm>
              <a:prstGeom prst="rect">
                <a:avLst/>
              </a:prstGeom>
              <a:solidFill>
                <a:srgbClr val="68D2DF"/>
              </a:solidFill>
              <a:ln w="9525" cap="flat" cmpd="sng" algn="ctr">
                <a:solidFill>
                  <a:schemeClr val="tx1">
                    <a:lumMod val="50000"/>
                    <a:lumOff val="50000"/>
                  </a:schemeClr>
                </a:solidFill>
                <a:prstDash val="solid"/>
              </a:ln>
              <a:effectLst/>
            </p:spPr>
            <p:txBody>
              <a:bodyPr lIns="0" rIns="0" rtlCol="0" anchor="ctr"/>
              <a:lstStyle/>
              <a:p>
                <a:pPr algn="ctr" defTabSz="685783">
                  <a:defRPr/>
                </a:pPr>
                <a:r>
                  <a:rPr lang="ru" sz="900" b="1" kern="0" dirty="0">
                    <a:solidFill>
                      <a:srgbClr val="FFFFFF"/>
                    </a:solidFill>
                  </a:rPr>
                  <a:t>HER2</a:t>
                </a:r>
              </a:p>
              <a:p>
                <a:pPr algn="ctr" defTabSz="685783">
                  <a:defRPr/>
                </a:pPr>
                <a:r>
                  <a:rPr lang="ru" sz="900" b="1" kern="0" dirty="0">
                    <a:solidFill>
                      <a:srgbClr val="FFFFFF"/>
                    </a:solidFill>
                  </a:rPr>
                  <a:t>положительный</a:t>
                </a:r>
              </a:p>
            </p:txBody>
          </p:sp>
          <p:sp>
            <p:nvSpPr>
              <p:cNvPr id="22" name="Rectangle 21">
                <a:extLst>
                  <a:ext uri="{FF2B5EF4-FFF2-40B4-BE49-F238E27FC236}">
                    <a16:creationId xmlns:a16="http://schemas.microsoft.com/office/drawing/2014/main" xmlns="" id="{C1FE50FB-1E7E-474A-87F1-5AA6DF97B965}"/>
                  </a:ext>
                </a:extLst>
              </p:cNvPr>
              <p:cNvSpPr/>
              <p:nvPr/>
            </p:nvSpPr>
            <p:spPr>
              <a:xfrm>
                <a:off x="6466013" y="2928936"/>
                <a:ext cx="1426039" cy="351000"/>
              </a:xfrm>
              <a:prstGeom prst="rect">
                <a:avLst/>
              </a:prstGeom>
              <a:solidFill>
                <a:srgbClr val="003865"/>
              </a:solidFill>
              <a:ln w="9525" cap="flat" cmpd="sng" algn="ctr">
                <a:solidFill>
                  <a:schemeClr val="tx1">
                    <a:lumMod val="50000"/>
                    <a:lumOff val="50000"/>
                  </a:schemeClr>
                </a:solidFill>
                <a:prstDash val="solid"/>
              </a:ln>
              <a:effectLst/>
            </p:spPr>
            <p:txBody>
              <a:bodyPr lIns="0" rIns="0" rtlCol="0" anchor="ctr"/>
              <a:lstStyle/>
              <a:p>
                <a:pPr algn="ctr" defTabSz="685783">
                  <a:defRPr/>
                </a:pPr>
                <a:r>
                  <a:rPr lang="ru" sz="788" b="1" kern="0" dirty="0">
                    <a:solidFill>
                      <a:srgbClr val="FFFFFF"/>
                    </a:solidFill>
                  </a:rPr>
                  <a:t>HER2-отрицательный</a:t>
                </a:r>
              </a:p>
            </p:txBody>
          </p:sp>
          <p:cxnSp>
            <p:nvCxnSpPr>
              <p:cNvPr id="23" name="Straight Connector 22">
                <a:extLst>
                  <a:ext uri="{FF2B5EF4-FFF2-40B4-BE49-F238E27FC236}">
                    <a16:creationId xmlns:a16="http://schemas.microsoft.com/office/drawing/2014/main" xmlns="" id="{10C41FCF-35C1-482D-A1DC-3C0987359BD5}"/>
                  </a:ext>
                </a:extLst>
              </p:cNvPr>
              <p:cNvCxnSpPr>
                <a:cxnSpLocks/>
                <a:endCxn id="22" idx="0"/>
              </p:cNvCxnSpPr>
              <p:nvPr/>
            </p:nvCxnSpPr>
            <p:spPr>
              <a:xfrm flipH="1">
                <a:off x="7179031" y="2810227"/>
                <a:ext cx="400" cy="118705"/>
              </a:xfrm>
              <a:prstGeom prst="line">
                <a:avLst/>
              </a:prstGeom>
              <a:noFill/>
              <a:ln w="25400" cap="flat" cmpd="sng" algn="ctr">
                <a:solidFill>
                  <a:srgbClr val="000000"/>
                </a:solidFill>
                <a:prstDash val="solid"/>
              </a:ln>
              <a:effectLst/>
            </p:spPr>
          </p:cxnSp>
          <p:cxnSp>
            <p:nvCxnSpPr>
              <p:cNvPr id="24" name="Straight Connector 23">
                <a:extLst>
                  <a:ext uri="{FF2B5EF4-FFF2-40B4-BE49-F238E27FC236}">
                    <a16:creationId xmlns:a16="http://schemas.microsoft.com/office/drawing/2014/main" xmlns="" id="{816C8AD7-28C3-483E-95F0-5AEFB5B0825B}"/>
                  </a:ext>
                </a:extLst>
              </p:cNvPr>
              <p:cNvCxnSpPr>
                <a:cxnSpLocks/>
              </p:cNvCxnSpPr>
              <p:nvPr/>
            </p:nvCxnSpPr>
            <p:spPr>
              <a:xfrm flipH="1">
                <a:off x="1514194" y="2804882"/>
                <a:ext cx="1" cy="102637"/>
              </a:xfrm>
              <a:prstGeom prst="line">
                <a:avLst/>
              </a:prstGeom>
              <a:noFill/>
              <a:ln w="25400" cap="flat" cmpd="sng" algn="ctr">
                <a:solidFill>
                  <a:srgbClr val="000000"/>
                </a:solidFill>
                <a:prstDash val="solid"/>
              </a:ln>
              <a:effectLst/>
            </p:spPr>
          </p:cxnSp>
          <p:sp>
            <p:nvSpPr>
              <p:cNvPr id="25" name="Rectangle 24">
                <a:extLst>
                  <a:ext uri="{FF2B5EF4-FFF2-40B4-BE49-F238E27FC236}">
                    <a16:creationId xmlns:a16="http://schemas.microsoft.com/office/drawing/2014/main" xmlns="" id="{73A21CBC-68A2-484E-A236-7094E8BBECE7}"/>
                  </a:ext>
                </a:extLst>
              </p:cNvPr>
              <p:cNvSpPr/>
              <p:nvPr/>
            </p:nvSpPr>
            <p:spPr>
              <a:xfrm>
                <a:off x="2249718" y="2935738"/>
                <a:ext cx="1097014" cy="351000"/>
              </a:xfrm>
              <a:prstGeom prst="rect">
                <a:avLst/>
              </a:prstGeom>
              <a:solidFill>
                <a:srgbClr val="D6DEF3"/>
              </a:solidFill>
              <a:ln w="9525" cap="flat" cmpd="sng" algn="ctr">
                <a:solidFill>
                  <a:schemeClr val="tx1">
                    <a:lumMod val="50000"/>
                    <a:lumOff val="50000"/>
                  </a:schemeClr>
                </a:solidFill>
                <a:prstDash val="solid"/>
              </a:ln>
              <a:effectLst/>
            </p:spPr>
            <p:txBody>
              <a:bodyPr lIns="0" rIns="0" rtlCol="0" anchor="ctr"/>
              <a:lstStyle/>
              <a:p>
                <a:pPr algn="ctr" defTabSz="685783">
                  <a:defRPr/>
                </a:pPr>
                <a:r>
                  <a:rPr lang="ru" sz="675" kern="0" dirty="0">
                    <a:solidFill>
                      <a:srgbClr val="000000"/>
                    </a:solidFill>
                  </a:rPr>
                  <a:t>Дополнительный тест методом ISH ПОЛОЖИТЕЛЬНЫЙ</a:t>
                </a:r>
              </a:p>
            </p:txBody>
          </p:sp>
          <p:sp>
            <p:nvSpPr>
              <p:cNvPr id="26" name="Rectangle 25">
                <a:extLst>
                  <a:ext uri="{FF2B5EF4-FFF2-40B4-BE49-F238E27FC236}">
                    <a16:creationId xmlns:a16="http://schemas.microsoft.com/office/drawing/2014/main" xmlns="" id="{8F9F9B4A-1FF4-4A3E-8865-0E0804D55064}"/>
                  </a:ext>
                </a:extLst>
              </p:cNvPr>
              <p:cNvSpPr/>
              <p:nvPr/>
            </p:nvSpPr>
            <p:spPr>
              <a:xfrm>
                <a:off x="4723236" y="2928936"/>
                <a:ext cx="1550664" cy="351000"/>
              </a:xfrm>
              <a:prstGeom prst="rect">
                <a:avLst/>
              </a:prstGeom>
              <a:solidFill>
                <a:srgbClr val="9DB0AC"/>
              </a:solidFill>
              <a:ln w="9525" cap="flat" cmpd="sng" algn="ctr">
                <a:solidFill>
                  <a:schemeClr val="tx1">
                    <a:lumMod val="50000"/>
                    <a:lumOff val="50000"/>
                  </a:schemeClr>
                </a:solidFill>
                <a:prstDash val="solid"/>
              </a:ln>
              <a:effectLst/>
            </p:spPr>
            <p:txBody>
              <a:bodyPr lIns="0" rIns="0" rtlCol="0" anchor="ctr"/>
              <a:lstStyle/>
              <a:p>
                <a:pPr algn="ctr" defTabSz="685783">
                  <a:defRPr/>
                </a:pPr>
                <a:r>
                  <a:rPr lang="ru" sz="788" b="1" kern="0" dirty="0">
                    <a:solidFill>
                      <a:srgbClr val="000000"/>
                    </a:solidFill>
                  </a:rPr>
                  <a:t>HER2-</a:t>
                </a:r>
                <a:r>
                  <a:rPr lang="en-US" sz="788" b="1" kern="0" dirty="0">
                    <a:solidFill>
                      <a:srgbClr val="000000"/>
                    </a:solidFill>
                  </a:rPr>
                  <a:t>low</a:t>
                </a:r>
                <a:r>
                  <a:rPr lang="ru-RU" sz="788" b="1" kern="0" dirty="0">
                    <a:solidFill>
                      <a:srgbClr val="000000"/>
                    </a:solidFill>
                  </a:rPr>
                  <a:t> </a:t>
                </a:r>
                <a:r>
                  <a:rPr lang="ru-RU" sz="700" b="1" kern="0" dirty="0">
                    <a:solidFill>
                      <a:srgbClr val="000000"/>
                    </a:solidFill>
                  </a:rPr>
                  <a:t>(слабоположительный)</a:t>
                </a:r>
                <a:endParaRPr lang="ru" sz="788" b="1" kern="0" dirty="0">
                  <a:solidFill>
                    <a:srgbClr val="000000"/>
                  </a:solidFill>
                </a:endParaRPr>
              </a:p>
            </p:txBody>
          </p:sp>
          <p:cxnSp>
            <p:nvCxnSpPr>
              <p:cNvPr id="27" name="Straight Connector 26">
                <a:extLst>
                  <a:ext uri="{FF2B5EF4-FFF2-40B4-BE49-F238E27FC236}">
                    <a16:creationId xmlns:a16="http://schemas.microsoft.com/office/drawing/2014/main" xmlns="" id="{2C9B148C-FBAF-4C0E-BD97-A132AEC32834}"/>
                  </a:ext>
                </a:extLst>
              </p:cNvPr>
              <p:cNvCxnSpPr>
                <a:cxnSpLocks/>
                <a:stCxn id="21" idx="3"/>
                <a:endCxn id="25" idx="1"/>
              </p:cNvCxnSpPr>
              <p:nvPr/>
            </p:nvCxnSpPr>
            <p:spPr>
              <a:xfrm>
                <a:off x="2072197" y="3104436"/>
                <a:ext cx="177521" cy="6802"/>
              </a:xfrm>
              <a:prstGeom prst="line">
                <a:avLst/>
              </a:prstGeom>
              <a:noFill/>
              <a:ln w="25400" cap="flat" cmpd="sng" algn="ctr">
                <a:solidFill>
                  <a:srgbClr val="000000"/>
                </a:solidFill>
                <a:prstDash val="solid"/>
                <a:headEnd type="triangle" w="med" len="med"/>
                <a:tailEnd type="none" w="med" len="med"/>
              </a:ln>
              <a:effectLst/>
            </p:spPr>
          </p:cxnSp>
          <p:cxnSp>
            <p:nvCxnSpPr>
              <p:cNvPr id="28" name="Straight Connector 27">
                <a:extLst>
                  <a:ext uri="{FF2B5EF4-FFF2-40B4-BE49-F238E27FC236}">
                    <a16:creationId xmlns:a16="http://schemas.microsoft.com/office/drawing/2014/main" xmlns="" id="{838D420D-B563-439F-B31B-334874FC2523}"/>
                  </a:ext>
                </a:extLst>
              </p:cNvPr>
              <p:cNvCxnSpPr>
                <a:cxnSpLocks/>
              </p:cNvCxnSpPr>
              <p:nvPr/>
            </p:nvCxnSpPr>
            <p:spPr>
              <a:xfrm flipH="1">
                <a:off x="5461749" y="2808212"/>
                <a:ext cx="0" cy="96402"/>
              </a:xfrm>
              <a:prstGeom prst="line">
                <a:avLst/>
              </a:prstGeom>
              <a:noFill/>
              <a:ln w="25400" cap="flat" cmpd="sng" algn="ctr">
                <a:solidFill>
                  <a:srgbClr val="000000"/>
                </a:solidFill>
                <a:prstDash val="solid"/>
              </a:ln>
              <a:effectLst/>
            </p:spPr>
          </p:cxnSp>
        </p:grpSp>
        <p:cxnSp>
          <p:nvCxnSpPr>
            <p:cNvPr id="9" name="Straight Connector 8">
              <a:extLst>
                <a:ext uri="{FF2B5EF4-FFF2-40B4-BE49-F238E27FC236}">
                  <a16:creationId xmlns:a16="http://schemas.microsoft.com/office/drawing/2014/main" xmlns="" id="{F54451D3-3429-4D60-9E01-A37539A091A7}"/>
                </a:ext>
              </a:extLst>
            </p:cNvPr>
            <p:cNvCxnSpPr>
              <a:cxnSpLocks/>
              <a:stCxn id="26" idx="1"/>
              <a:endCxn id="8" idx="3"/>
            </p:cNvCxnSpPr>
            <p:nvPr/>
          </p:nvCxnSpPr>
          <p:spPr>
            <a:xfrm flipH="1">
              <a:off x="5772859" y="2646624"/>
              <a:ext cx="164695" cy="4984"/>
            </a:xfrm>
            <a:prstGeom prst="line">
              <a:avLst/>
            </a:prstGeom>
            <a:noFill/>
            <a:ln w="25400" cap="flat" cmpd="sng" algn="ctr">
              <a:solidFill>
                <a:srgbClr val="000000"/>
              </a:solidFill>
              <a:prstDash val="solid"/>
              <a:headEnd type="triangle" w="med" len="med"/>
              <a:tailEnd type="none" w="med" len="med"/>
            </a:ln>
            <a:effectLst/>
          </p:spPr>
        </p:cxnSp>
        <p:cxnSp>
          <p:nvCxnSpPr>
            <p:cNvPr id="10" name="Connector: Elbow 9">
              <a:extLst>
                <a:ext uri="{FF2B5EF4-FFF2-40B4-BE49-F238E27FC236}">
                  <a16:creationId xmlns:a16="http://schemas.microsoft.com/office/drawing/2014/main" xmlns="" id="{4B50F193-67D2-436E-B6AD-51AFCF71F239}"/>
                </a:ext>
              </a:extLst>
            </p:cNvPr>
            <p:cNvCxnSpPr>
              <a:cxnSpLocks/>
              <a:endCxn id="25" idx="0"/>
            </p:cNvCxnSpPr>
            <p:nvPr/>
          </p:nvCxnSpPr>
          <p:spPr>
            <a:xfrm rot="5400000">
              <a:off x="4768499" y="2178341"/>
              <a:ext cx="140607" cy="417971"/>
            </a:xfrm>
            <a:prstGeom prst="bentConnector3">
              <a:avLst>
                <a:gd name="adj1" fmla="val 50000"/>
              </a:avLst>
            </a:prstGeom>
            <a:noFill/>
            <a:ln w="25400" cap="flat" cmpd="sng" algn="ctr">
              <a:solidFill>
                <a:srgbClr val="000000"/>
              </a:solidFill>
              <a:prstDash val="solid"/>
            </a:ln>
            <a:effectLst/>
          </p:spPr>
        </p:cxnSp>
        <p:cxnSp>
          <p:nvCxnSpPr>
            <p:cNvPr id="11" name="Connector: Elbow 10">
              <a:extLst>
                <a:ext uri="{FF2B5EF4-FFF2-40B4-BE49-F238E27FC236}">
                  <a16:creationId xmlns:a16="http://schemas.microsoft.com/office/drawing/2014/main" xmlns="" id="{5330B39E-0421-48DC-AAD7-65391084FEE9}"/>
                </a:ext>
              </a:extLst>
            </p:cNvPr>
            <p:cNvCxnSpPr>
              <a:cxnSpLocks/>
            </p:cNvCxnSpPr>
            <p:nvPr/>
          </p:nvCxnSpPr>
          <p:spPr>
            <a:xfrm rot="10800000" flipH="1" flipV="1">
              <a:off x="5047789" y="2386035"/>
              <a:ext cx="362539" cy="194979"/>
            </a:xfrm>
            <a:prstGeom prst="bentConnector2">
              <a:avLst/>
            </a:prstGeom>
            <a:noFill/>
            <a:ln w="25400" cap="flat" cmpd="sng" algn="ctr">
              <a:solidFill>
                <a:srgbClr val="000000"/>
              </a:solidFill>
              <a:prstDash val="solid"/>
            </a:ln>
            <a:effectLst/>
          </p:spPr>
        </p:cxnSp>
        <p:sp>
          <p:nvSpPr>
            <p:cNvPr id="8" name="Rectangle 7">
              <a:extLst>
                <a:ext uri="{FF2B5EF4-FFF2-40B4-BE49-F238E27FC236}">
                  <a16:creationId xmlns:a16="http://schemas.microsoft.com/office/drawing/2014/main" xmlns="" id="{91085ADD-849C-45EE-88F6-B361C7C0FD53}"/>
                </a:ext>
              </a:extLst>
            </p:cNvPr>
            <p:cNvSpPr/>
            <p:nvPr/>
          </p:nvSpPr>
          <p:spPr>
            <a:xfrm>
              <a:off x="5047790" y="2454993"/>
              <a:ext cx="725069" cy="393230"/>
            </a:xfrm>
            <a:prstGeom prst="rect">
              <a:avLst/>
            </a:prstGeom>
            <a:solidFill>
              <a:srgbClr val="D6DEF3"/>
            </a:solidFill>
            <a:ln w="9525" cap="flat" cmpd="sng" algn="ctr">
              <a:solidFill>
                <a:schemeClr val="tx1">
                  <a:lumMod val="50000"/>
                  <a:lumOff val="50000"/>
                </a:schemeClr>
              </a:solidFill>
              <a:prstDash val="solid"/>
            </a:ln>
            <a:effectLst/>
          </p:spPr>
          <p:txBody>
            <a:bodyPr lIns="0" rIns="0" rtlCol="0" anchor="ctr"/>
            <a:lstStyle/>
            <a:p>
              <a:pPr algn="ctr" defTabSz="685783">
                <a:defRPr/>
              </a:pPr>
              <a:r>
                <a:rPr lang="ru" sz="675" kern="0" dirty="0">
                  <a:solidFill>
                    <a:srgbClr val="000000"/>
                  </a:solidFill>
                </a:rPr>
                <a:t>Дополнительный тест методом ISH ОТРИЦАТЕЛЬНЫЙ </a:t>
              </a:r>
            </a:p>
          </p:txBody>
        </p:sp>
      </p:grpSp>
      <p:sp>
        <p:nvSpPr>
          <p:cNvPr id="29" name="Text Placeholder 3">
            <a:extLst>
              <a:ext uri="{FF2B5EF4-FFF2-40B4-BE49-F238E27FC236}">
                <a16:creationId xmlns:a16="http://schemas.microsoft.com/office/drawing/2014/main" xmlns="" id="{64B11A2E-73C6-41D4-BE7B-DD85D1A75220}"/>
              </a:ext>
            </a:extLst>
          </p:cNvPr>
          <p:cNvSpPr txBox="1">
            <a:spLocks/>
          </p:cNvSpPr>
          <p:nvPr/>
        </p:nvSpPr>
        <p:spPr>
          <a:xfrm>
            <a:off x="752179" y="4428860"/>
            <a:ext cx="8532000" cy="385868"/>
          </a:xfrm>
          <a:prstGeom prst="rect">
            <a:avLst/>
          </a:prstGeom>
        </p:spPr>
        <p:txBody>
          <a:bodyPr lIns="0" rtlCol="0" anchor="b"/>
          <a:lstStyle>
            <a:lvl1pPr marL="0" indent="0" algn="l" defTabSz="457189" rtl="0" eaLnBrk="1" latinLnBrk="0" hangingPunct="1">
              <a:spcBef>
                <a:spcPts val="240"/>
              </a:spcBef>
              <a:buClr>
                <a:schemeClr val="bg2"/>
              </a:buClr>
              <a:buFont typeface="Arial"/>
              <a:buNone/>
              <a:defRPr kumimoji="1" lang="en-US" sz="600" i="0" kern="1200" dirty="0">
                <a:solidFill>
                  <a:schemeClr val="tx1">
                    <a:lumMod val="50000"/>
                    <a:lumOff val="50000"/>
                  </a:schemeClr>
                </a:solidFill>
                <a:latin typeface="+mn-lt"/>
                <a:ea typeface="+mn-ea"/>
                <a:cs typeface="+mn-cs"/>
              </a:defRPr>
            </a:lvl1pPr>
            <a:lvl2pPr marL="432000" indent="-216000" algn="l" defTabSz="457189" rtl="0" eaLnBrk="1" latinLnBrk="0" hangingPunct="1">
              <a:spcBef>
                <a:spcPct val="20000"/>
              </a:spcBef>
              <a:buClr>
                <a:schemeClr val="bg2"/>
              </a:buClr>
              <a:buFont typeface="Arial"/>
              <a:buChar char="–"/>
              <a:defRPr kumimoji="1" sz="1200" kern="1200">
                <a:solidFill>
                  <a:schemeClr val="tx2"/>
                </a:solidFill>
                <a:latin typeface="+mn-lt"/>
                <a:ea typeface="+mn-ea"/>
                <a:cs typeface="+mn-cs"/>
              </a:defRPr>
            </a:lvl2pPr>
            <a:lvl3pPr marL="648000" indent="-216000" algn="l" defTabSz="457189" rtl="0" eaLnBrk="1" latinLnBrk="0" hangingPunct="1">
              <a:spcBef>
                <a:spcPct val="20000"/>
              </a:spcBef>
              <a:buClr>
                <a:schemeClr val="bg2"/>
              </a:buClr>
              <a:buFont typeface="Arial"/>
              <a:buChar char="•"/>
              <a:defRPr kumimoji="1" lang="en-GB" sz="1200" kern="1200" dirty="0">
                <a:solidFill>
                  <a:schemeClr val="tx2"/>
                </a:solidFill>
                <a:latin typeface="+mn-lt"/>
                <a:ea typeface="+mn-ea"/>
                <a:cs typeface="+mn-cs"/>
              </a:defRPr>
            </a:lvl3pPr>
            <a:lvl4pPr marL="864000" indent="-216000" algn="l" defTabSz="457189" rtl="0" eaLnBrk="1" latinLnBrk="0" hangingPunct="1">
              <a:spcBef>
                <a:spcPct val="20000"/>
              </a:spcBef>
              <a:buClr>
                <a:schemeClr val="bg2"/>
              </a:buClr>
              <a:buFont typeface="Arial"/>
              <a:buChar char="–"/>
              <a:defRPr kumimoji="1" sz="1200" kern="1200">
                <a:solidFill>
                  <a:schemeClr val="tx2"/>
                </a:solidFill>
                <a:latin typeface="+mn-lt"/>
                <a:ea typeface="+mn-ea"/>
                <a:cs typeface="+mn-cs"/>
              </a:defRPr>
            </a:lvl4pPr>
            <a:lvl5pPr marL="1080000" indent="-216000" algn="l" defTabSz="457189" rtl="0" eaLnBrk="1" latinLnBrk="0" hangingPunct="1">
              <a:spcBef>
                <a:spcPct val="20000"/>
              </a:spcBef>
              <a:buClr>
                <a:schemeClr val="bg2"/>
              </a:buClr>
              <a:buFont typeface="Arial"/>
              <a:buChar char="»"/>
              <a:defRPr kumimoji="1" sz="1200" kern="1200">
                <a:solidFill>
                  <a:schemeClr val="tx2"/>
                </a:solidFill>
                <a:latin typeface="+mn-lt"/>
                <a:ea typeface="+mn-ea"/>
                <a:cs typeface="+mn-cs"/>
              </a:defRPr>
            </a:lvl5pPr>
            <a:lvl6pPr marL="2514537" indent="-228594" algn="l" defTabSz="457189" rtl="0" eaLnBrk="1" latinLnBrk="0" hangingPunct="1">
              <a:spcBef>
                <a:spcPct val="20000"/>
              </a:spcBef>
              <a:buFont typeface="Arial"/>
              <a:buChar char="•"/>
              <a:defRPr kumimoji="1"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kumimoji="1"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kumimoji="1"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kumimoji="1" sz="2000" kern="1200">
                <a:solidFill>
                  <a:schemeClr val="tx1"/>
                </a:solidFill>
                <a:latin typeface="+mn-lt"/>
                <a:ea typeface="+mn-ea"/>
                <a:cs typeface="+mn-cs"/>
              </a:defRPr>
            </a:lvl9pPr>
          </a:lstStyle>
          <a:p>
            <a:pPr defTabSz="457178">
              <a:buClr>
                <a:srgbClr val="00ADDF"/>
              </a:buClr>
              <a:defRPr/>
            </a:pPr>
            <a:r>
              <a:rPr lang="ru" dirty="0">
                <a:solidFill>
                  <a:srgbClr val="000000"/>
                </a:solidFill>
                <a:latin typeface="Arial"/>
              </a:rPr>
              <a:t>РМЖ — рак молочной железы; HER2 — рецептор эпидермального фактора роста человека 2 типа; ИГХ — иммуногистохимия; ISH — гибридизация </a:t>
            </a:r>
            <a:r>
              <a:rPr lang="ru" i="1" dirty="0">
                <a:solidFill>
                  <a:srgbClr val="000000"/>
                </a:solidFill>
                <a:latin typeface="Arial"/>
              </a:rPr>
              <a:t>in situ</a:t>
            </a:r>
          </a:p>
          <a:p>
            <a:pPr defTabSz="457178">
              <a:buClr>
                <a:srgbClr val="00ADDF"/>
              </a:buClr>
              <a:defRPr/>
            </a:pPr>
            <a:endParaRPr lang="ru" i="1" dirty="0">
              <a:solidFill>
                <a:srgbClr val="000000"/>
              </a:solidFill>
              <a:latin typeface="Arial"/>
            </a:endParaRPr>
          </a:p>
          <a:p>
            <a:pPr defTabSz="457178">
              <a:buClr>
                <a:srgbClr val="00ADDF"/>
              </a:buClr>
              <a:defRPr/>
            </a:pPr>
            <a:r>
              <a:rPr lang="ru" dirty="0">
                <a:solidFill>
                  <a:srgbClr val="000000">
                    <a:lumMod val="50000"/>
                    <a:lumOff val="50000"/>
                  </a:srgbClr>
                </a:solidFill>
                <a:latin typeface="Arial"/>
              </a:rPr>
              <a:t>Tarantino P, et al. </a:t>
            </a:r>
            <a:r>
              <a:rPr lang="ru" i="1" dirty="0">
                <a:solidFill>
                  <a:srgbClr val="000000">
                    <a:lumMod val="50000"/>
                    <a:lumOff val="50000"/>
                  </a:srgbClr>
                </a:solidFill>
                <a:latin typeface="Arial"/>
              </a:rPr>
              <a:t>J Clin Onc.</a:t>
            </a:r>
            <a:r>
              <a:rPr lang="ru" dirty="0">
                <a:solidFill>
                  <a:srgbClr val="000000">
                    <a:lumMod val="50000"/>
                    <a:lumOff val="50000"/>
                  </a:srgbClr>
                </a:solidFill>
                <a:latin typeface="Arial"/>
              </a:rPr>
              <a:t> 2020;38(17):1951–1962</a:t>
            </a:r>
          </a:p>
        </p:txBody>
      </p:sp>
    </p:spTree>
    <p:extLst>
      <p:ext uri="{BB962C8B-B14F-4D97-AF65-F5344CB8AC3E}">
        <p14:creationId xmlns:p14="http://schemas.microsoft.com/office/powerpoint/2010/main" val="17322263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3387CD8-93B5-45B7-AD36-7040D8EAE998}"/>
              </a:ext>
            </a:extLst>
          </p:cNvPr>
          <p:cNvSpPr>
            <a:spLocks noGrp="1"/>
          </p:cNvSpPr>
          <p:nvPr>
            <p:ph type="title"/>
          </p:nvPr>
        </p:nvSpPr>
        <p:spPr>
          <a:xfrm>
            <a:off x="161413" y="95750"/>
            <a:ext cx="8765651" cy="648561"/>
          </a:xfrm>
        </p:spPr>
        <p:txBody>
          <a:bodyPr/>
          <a:lstStyle/>
          <a:p>
            <a:pPr defTabSz="457189">
              <a:lnSpc>
                <a:spcPct val="100000"/>
              </a:lnSpc>
              <a:defRPr/>
            </a:pPr>
            <a:r>
              <a:rPr lang="ru" sz="2200" dirty="0"/>
              <a:t>До 55 % пациентов с РМЖ могут иметь низкий уровень экспрессии HER2</a:t>
            </a:r>
            <a:r>
              <a:rPr lang="ru" sz="2200" baseline="30000" dirty="0"/>
              <a:t>1</a:t>
            </a:r>
            <a:endParaRPr lang="en-US" sz="2200" baseline="30000" dirty="0"/>
          </a:p>
        </p:txBody>
      </p:sp>
      <p:sp>
        <p:nvSpPr>
          <p:cNvPr id="8" name="TextBox 7">
            <a:extLst>
              <a:ext uri="{FF2B5EF4-FFF2-40B4-BE49-F238E27FC236}">
                <a16:creationId xmlns:a16="http://schemas.microsoft.com/office/drawing/2014/main" xmlns="" id="{3D2F3B81-C860-49DC-AB1A-04738770369C}"/>
              </a:ext>
            </a:extLst>
          </p:cNvPr>
          <p:cNvSpPr txBox="1"/>
          <p:nvPr/>
        </p:nvSpPr>
        <p:spPr>
          <a:xfrm>
            <a:off x="203190" y="921320"/>
            <a:ext cx="8513417" cy="956672"/>
          </a:xfrm>
          <a:prstGeom prst="rect">
            <a:avLst/>
          </a:prstGeom>
          <a:noFill/>
        </p:spPr>
        <p:txBody>
          <a:bodyPr wrap="square" rtlCol="0">
            <a:spAutoFit/>
          </a:bodyPr>
          <a:lstStyle/>
          <a:p>
            <a:pPr marL="257175" indent="-257175" defTabSz="685800">
              <a:spcAft>
                <a:spcPts val="450"/>
              </a:spcAft>
              <a:buFont typeface="Wingdings" panose="05000000000000000000" pitchFamily="2" charset="2"/>
              <a:buChar char="Ø"/>
              <a:defRPr/>
            </a:pPr>
            <a:r>
              <a:rPr lang="ru" sz="1300" dirty="0">
                <a:solidFill>
                  <a:srgbClr val="000000"/>
                </a:solidFill>
                <a:latin typeface="Arial"/>
              </a:rPr>
              <a:t>Низкий уровень экспрессии HER2 определяется как оценка ИГХ 1+ или 2+ / ISH- при анализе на HER2</a:t>
            </a:r>
            <a:r>
              <a:rPr lang="ru" sz="1300" baseline="30000" dirty="0">
                <a:solidFill>
                  <a:srgbClr val="000000"/>
                </a:solidFill>
                <a:latin typeface="Arial" panose="020B0604020202020204" pitchFamily="34" charset="0"/>
                <a:cs typeface="Arial" panose="020B0604020202020204" pitchFamily="34" charset="0"/>
              </a:rPr>
              <a:t>1</a:t>
            </a:r>
          </a:p>
          <a:p>
            <a:pPr marL="257175" indent="-257175" defTabSz="685800">
              <a:spcAft>
                <a:spcPts val="450"/>
              </a:spcAft>
              <a:buFont typeface="Wingdings" panose="05000000000000000000" pitchFamily="2" charset="2"/>
              <a:buChar char="Ø"/>
              <a:defRPr/>
            </a:pPr>
            <a:r>
              <a:rPr lang="ru" sz="1300" dirty="0">
                <a:solidFill>
                  <a:srgbClr val="000000"/>
                </a:solidFill>
                <a:latin typeface="Arial" panose="020B0604020202020204" pitchFamily="34" charset="0"/>
                <a:cs typeface="Arial" panose="020B0604020202020204" pitchFamily="34" charset="0"/>
              </a:rPr>
              <a:t>Клинические характеристики пациентов с низким уровнем экспрессии HER2 все еще изучаются, но ранние данные свидетельствуют о том, что такие опухоли часто являются HR-положительными, отличаются большим размером первичного очага и более выраженным поражением лимфоузлов</a:t>
            </a:r>
            <a:r>
              <a:rPr lang="ru" sz="1300" baseline="30000" dirty="0">
                <a:solidFill>
                  <a:srgbClr val="000000"/>
                </a:solidFill>
                <a:latin typeface="Arial" panose="020B0604020202020204" pitchFamily="34" charset="0"/>
                <a:cs typeface="Arial" panose="020B0604020202020204" pitchFamily="34" charset="0"/>
              </a:rPr>
              <a:t>2</a:t>
            </a:r>
          </a:p>
        </p:txBody>
      </p:sp>
      <p:sp>
        <p:nvSpPr>
          <p:cNvPr id="41" name="TextBox 40">
            <a:extLst>
              <a:ext uri="{FF2B5EF4-FFF2-40B4-BE49-F238E27FC236}">
                <a16:creationId xmlns:a16="http://schemas.microsoft.com/office/drawing/2014/main" xmlns="" id="{D67CC315-CE98-44D1-A079-013A74901B60}"/>
              </a:ext>
            </a:extLst>
          </p:cNvPr>
          <p:cNvSpPr txBox="1"/>
          <p:nvPr/>
        </p:nvSpPr>
        <p:spPr>
          <a:xfrm>
            <a:off x="1280750" y="1925125"/>
            <a:ext cx="6358299" cy="300082"/>
          </a:xfrm>
          <a:prstGeom prst="rect">
            <a:avLst/>
          </a:prstGeom>
          <a:noFill/>
        </p:spPr>
        <p:txBody>
          <a:bodyPr wrap="square" rtlCol="0">
            <a:spAutoFit/>
          </a:bodyPr>
          <a:lstStyle/>
          <a:p>
            <a:pPr algn="ctr" defTabSz="685800">
              <a:defRPr/>
            </a:pPr>
            <a:r>
              <a:rPr lang="ru" sz="1350" b="1" dirty="0">
                <a:solidFill>
                  <a:srgbClr val="000000"/>
                </a:solidFill>
                <a:latin typeface="Arial" panose="020B0604020202020204" pitchFamily="34" charset="0"/>
                <a:cs typeface="Arial" panose="020B0604020202020204" pitchFamily="34" charset="0"/>
              </a:rPr>
              <a:t>Используемая в настоящее время классификация HER2-статуса</a:t>
            </a:r>
            <a:r>
              <a:rPr lang="ru" sz="1350" b="1" baseline="30000" dirty="0">
                <a:solidFill>
                  <a:srgbClr val="000000"/>
                </a:solidFill>
                <a:latin typeface="Arial" panose="020B0604020202020204" pitchFamily="34" charset="0"/>
                <a:cs typeface="Arial" panose="020B0604020202020204" pitchFamily="34" charset="0"/>
              </a:rPr>
              <a:t>3,4</a:t>
            </a:r>
          </a:p>
        </p:txBody>
      </p:sp>
      <p:sp>
        <p:nvSpPr>
          <p:cNvPr id="42" name="TextBox 41">
            <a:extLst>
              <a:ext uri="{FF2B5EF4-FFF2-40B4-BE49-F238E27FC236}">
                <a16:creationId xmlns:a16="http://schemas.microsoft.com/office/drawing/2014/main" xmlns="" id="{D5C1B698-7828-4A4C-97B5-EA1E10D5DC4C}"/>
              </a:ext>
            </a:extLst>
          </p:cNvPr>
          <p:cNvSpPr txBox="1"/>
          <p:nvPr/>
        </p:nvSpPr>
        <p:spPr>
          <a:xfrm>
            <a:off x="2466306" y="3527410"/>
            <a:ext cx="4519186" cy="276999"/>
          </a:xfrm>
          <a:prstGeom prst="rect">
            <a:avLst/>
          </a:prstGeom>
          <a:noFill/>
        </p:spPr>
        <p:txBody>
          <a:bodyPr wrap="none" rtlCol="0">
            <a:spAutoFit/>
          </a:bodyPr>
          <a:lstStyle/>
          <a:p>
            <a:pPr algn="ctr" defTabSz="685800">
              <a:defRPr/>
            </a:pPr>
            <a:r>
              <a:rPr lang="ru" sz="1200" b="1" kern="0">
                <a:solidFill>
                  <a:srgbClr val="000000"/>
                </a:solidFill>
                <a:latin typeface="Arial"/>
              </a:rPr>
              <a:t>Классификация HER2-слабоположительных опухолей</a:t>
            </a:r>
            <a:r>
              <a:rPr lang="ru" sz="1200" b="1" kern="0" baseline="30000">
                <a:solidFill>
                  <a:srgbClr val="000000"/>
                </a:solidFill>
                <a:latin typeface="Arial"/>
              </a:rPr>
              <a:t>1,4</a:t>
            </a:r>
          </a:p>
        </p:txBody>
      </p:sp>
      <p:sp>
        <p:nvSpPr>
          <p:cNvPr id="43" name="Rectangle 42">
            <a:extLst>
              <a:ext uri="{FF2B5EF4-FFF2-40B4-BE49-F238E27FC236}">
                <a16:creationId xmlns:a16="http://schemas.microsoft.com/office/drawing/2014/main" xmlns="" id="{EE69C926-E9CA-4AE3-BDAA-F3705962CAB0}"/>
              </a:ext>
            </a:extLst>
          </p:cNvPr>
          <p:cNvSpPr/>
          <p:nvPr/>
        </p:nvSpPr>
        <p:spPr>
          <a:xfrm>
            <a:off x="339132" y="4065737"/>
            <a:ext cx="8299883" cy="45573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ru" sz="1050" b="1" dirty="0">
                <a:solidFill>
                  <a:srgbClr val="FFFFFF"/>
                </a:solidFill>
                <a:latin typeface="Arial"/>
              </a:rPr>
              <a:t>HER2-слабоположительные случаи чаще обнаруживаются среди HER2-отрицательных / HR-положительных опухолей (~ 65 %), чем среди HER2-отрицательных / HR-отрицательных (ТНРМЖ) опухолей (~ 37 %)</a:t>
            </a:r>
            <a:r>
              <a:rPr lang="ru" sz="1050" b="1" baseline="30000" dirty="0">
                <a:solidFill>
                  <a:srgbClr val="FFFFFF"/>
                </a:solidFill>
                <a:latin typeface="Arial"/>
              </a:rPr>
              <a:t>2 </a:t>
            </a:r>
            <a:endParaRPr lang="en-US" sz="1050" b="1" baseline="30000" dirty="0">
              <a:solidFill>
                <a:srgbClr val="FFFFFF"/>
              </a:solidFill>
              <a:latin typeface="Arial"/>
            </a:endParaRPr>
          </a:p>
        </p:txBody>
      </p:sp>
      <p:grpSp>
        <p:nvGrpSpPr>
          <p:cNvPr id="44" name="Group 43">
            <a:extLst>
              <a:ext uri="{FF2B5EF4-FFF2-40B4-BE49-F238E27FC236}">
                <a16:creationId xmlns:a16="http://schemas.microsoft.com/office/drawing/2014/main" xmlns="" id="{70174396-821A-4134-AC0A-DD11A8AEDF7C}"/>
              </a:ext>
            </a:extLst>
          </p:cNvPr>
          <p:cNvGrpSpPr>
            <a:grpSpLocks noChangeAspect="1"/>
          </p:cNvGrpSpPr>
          <p:nvPr/>
        </p:nvGrpSpPr>
        <p:grpSpPr>
          <a:xfrm>
            <a:off x="634963" y="2246187"/>
            <a:ext cx="6904357" cy="1919540"/>
            <a:chOff x="145951" y="1386524"/>
            <a:chExt cx="11495430" cy="2269250"/>
          </a:xfrm>
        </p:grpSpPr>
        <p:sp>
          <p:nvSpPr>
            <p:cNvPr id="45" name="Rectangle 44">
              <a:extLst>
                <a:ext uri="{FF2B5EF4-FFF2-40B4-BE49-F238E27FC236}">
                  <a16:creationId xmlns:a16="http://schemas.microsoft.com/office/drawing/2014/main" xmlns="" id="{93E13BA6-242C-4F25-898A-10A8EB2BC4FA}"/>
                </a:ext>
              </a:extLst>
            </p:cNvPr>
            <p:cNvSpPr/>
            <p:nvPr/>
          </p:nvSpPr>
          <p:spPr>
            <a:xfrm>
              <a:off x="7817371" y="2178974"/>
              <a:ext cx="1272879" cy="545621"/>
            </a:xfrm>
            <a:prstGeom prst="rect">
              <a:avLst/>
            </a:prstGeom>
            <a:solidFill>
              <a:schemeClr val="accent3">
                <a:lumMod val="60000"/>
                <a:lumOff val="40000"/>
              </a:schemeClr>
            </a:solidFill>
            <a:ln w="25400" cap="flat" cmpd="sng" algn="ctr">
              <a:noFill/>
              <a:prstDash val="solid"/>
            </a:ln>
            <a:effectLst/>
          </p:spPr>
          <p:txBody>
            <a:bodyPr rtlCol="0" anchor="t"/>
            <a:lstStyle/>
            <a:p>
              <a:pPr algn="ctr" defTabSz="914378">
                <a:defRPr/>
              </a:pPr>
              <a:r>
                <a:rPr lang="ru" sz="1200" b="1" kern="0">
                  <a:solidFill>
                    <a:srgbClr val="003865">
                      <a:lumMod val="90000"/>
                      <a:lumOff val="10000"/>
                    </a:srgbClr>
                  </a:solidFill>
                  <a:latin typeface="Arial"/>
                </a:rPr>
                <a:t>2+/</a:t>
              </a:r>
            </a:p>
            <a:p>
              <a:pPr algn="ctr" defTabSz="914378">
                <a:defRPr/>
              </a:pPr>
              <a:r>
                <a:rPr lang="ru" sz="1200" b="1" kern="0">
                  <a:solidFill>
                    <a:srgbClr val="003865">
                      <a:lumMod val="90000"/>
                      <a:lumOff val="10000"/>
                    </a:srgbClr>
                  </a:solidFill>
                  <a:latin typeface="Arial"/>
                </a:rPr>
                <a:t>ISH-</a:t>
              </a:r>
            </a:p>
            <a:p>
              <a:pPr algn="ctr" defTabSz="914378">
                <a:defRPr/>
              </a:pPr>
              <a:endParaRPr lang="en-US" sz="1200" b="1" kern="0" dirty="0">
                <a:solidFill>
                  <a:srgbClr val="FFFFFF"/>
                </a:solidFill>
                <a:latin typeface="Arial"/>
              </a:endParaRPr>
            </a:p>
          </p:txBody>
        </p:sp>
        <p:sp>
          <p:nvSpPr>
            <p:cNvPr id="46" name="Rectangle 45">
              <a:extLst>
                <a:ext uri="{FF2B5EF4-FFF2-40B4-BE49-F238E27FC236}">
                  <a16:creationId xmlns:a16="http://schemas.microsoft.com/office/drawing/2014/main" xmlns="" id="{3E948A72-7900-4457-9DED-0D1023B83E8F}"/>
                </a:ext>
              </a:extLst>
            </p:cNvPr>
            <p:cNvSpPr/>
            <p:nvPr/>
          </p:nvSpPr>
          <p:spPr>
            <a:xfrm>
              <a:off x="9133084" y="2178974"/>
              <a:ext cx="978851" cy="545621"/>
            </a:xfrm>
            <a:prstGeom prst="rect">
              <a:avLst/>
            </a:prstGeom>
            <a:solidFill>
              <a:srgbClr val="FFCC66"/>
            </a:solidFill>
            <a:ln w="25400" cap="flat" cmpd="sng" algn="ctr">
              <a:noFill/>
              <a:prstDash val="solid"/>
            </a:ln>
            <a:effectLst/>
          </p:spPr>
          <p:txBody>
            <a:bodyPr rtlCol="0" anchor="t"/>
            <a:lstStyle/>
            <a:p>
              <a:pPr algn="ctr" defTabSz="914378">
                <a:defRPr/>
              </a:pPr>
              <a:r>
                <a:rPr lang="ru" sz="1200" b="1" kern="0">
                  <a:solidFill>
                    <a:srgbClr val="003865">
                      <a:lumMod val="90000"/>
                      <a:lumOff val="10000"/>
                    </a:srgbClr>
                  </a:solidFill>
                  <a:latin typeface="Arial"/>
                </a:rPr>
                <a:t>2+/</a:t>
              </a:r>
            </a:p>
            <a:p>
              <a:pPr algn="ctr" defTabSz="914378">
                <a:defRPr/>
              </a:pPr>
              <a:r>
                <a:rPr lang="ru" sz="1200" b="1" kern="0">
                  <a:solidFill>
                    <a:srgbClr val="003865">
                      <a:lumMod val="90000"/>
                      <a:lumOff val="10000"/>
                    </a:srgbClr>
                  </a:solidFill>
                  <a:latin typeface="Arial"/>
                </a:rPr>
                <a:t>ISH+</a:t>
              </a:r>
            </a:p>
            <a:p>
              <a:pPr algn="ctr" defTabSz="914378">
                <a:defRPr/>
              </a:pPr>
              <a:endParaRPr lang="en-US" sz="1200" b="1" kern="0" dirty="0">
                <a:solidFill>
                  <a:srgbClr val="FFFFFF"/>
                </a:solidFill>
                <a:latin typeface="Arial"/>
              </a:endParaRPr>
            </a:p>
          </p:txBody>
        </p:sp>
        <p:sp>
          <p:nvSpPr>
            <p:cNvPr id="47" name="TextBox 46">
              <a:extLst>
                <a:ext uri="{FF2B5EF4-FFF2-40B4-BE49-F238E27FC236}">
                  <a16:creationId xmlns:a16="http://schemas.microsoft.com/office/drawing/2014/main" xmlns="" id="{DE33C238-2224-4F30-AA58-8682D14FA33B}"/>
                </a:ext>
              </a:extLst>
            </p:cNvPr>
            <p:cNvSpPr txBox="1"/>
            <p:nvPr/>
          </p:nvSpPr>
          <p:spPr>
            <a:xfrm>
              <a:off x="145951" y="3328310"/>
              <a:ext cx="307568" cy="327464"/>
            </a:xfrm>
            <a:prstGeom prst="rect">
              <a:avLst/>
            </a:prstGeom>
            <a:noFill/>
          </p:spPr>
          <p:txBody>
            <a:bodyPr wrap="none" rtlCol="0">
              <a:spAutoFit/>
            </a:bodyPr>
            <a:lstStyle/>
            <a:p>
              <a:pPr defTabSz="914378">
                <a:defRPr/>
              </a:pPr>
              <a:endParaRPr lang="en-US" sz="1200" kern="0" dirty="0">
                <a:solidFill>
                  <a:srgbClr val="000000"/>
                </a:solidFill>
                <a:latin typeface="Arial"/>
              </a:endParaRPr>
            </a:p>
          </p:txBody>
        </p:sp>
        <p:sp>
          <p:nvSpPr>
            <p:cNvPr id="48" name="Rectangle 47">
              <a:extLst>
                <a:ext uri="{FF2B5EF4-FFF2-40B4-BE49-F238E27FC236}">
                  <a16:creationId xmlns:a16="http://schemas.microsoft.com/office/drawing/2014/main" xmlns="" id="{D4D3C19C-3AB4-47D1-867D-A54137E91563}"/>
                </a:ext>
              </a:extLst>
            </p:cNvPr>
            <p:cNvSpPr/>
            <p:nvPr/>
          </p:nvSpPr>
          <p:spPr>
            <a:xfrm>
              <a:off x="4641777" y="2178974"/>
              <a:ext cx="3175594" cy="545621"/>
            </a:xfrm>
            <a:prstGeom prst="rect">
              <a:avLst/>
            </a:prstGeom>
            <a:solidFill>
              <a:schemeClr val="accent3">
                <a:lumMod val="40000"/>
                <a:lumOff val="60000"/>
              </a:schemeClr>
            </a:solidFill>
            <a:ln w="25400" cap="flat" cmpd="sng" algn="ctr">
              <a:noFill/>
              <a:prstDash val="solid"/>
            </a:ln>
            <a:effectLst/>
          </p:spPr>
          <p:txBody>
            <a:bodyPr rtlCol="0" anchor="b"/>
            <a:lstStyle/>
            <a:p>
              <a:pPr algn="ctr" defTabSz="914378">
                <a:defRPr/>
              </a:pPr>
              <a:r>
                <a:rPr lang="ru" sz="1200" b="1" kern="0">
                  <a:solidFill>
                    <a:srgbClr val="003865">
                      <a:lumMod val="90000"/>
                      <a:lumOff val="10000"/>
                    </a:srgbClr>
                  </a:solidFill>
                  <a:latin typeface="Arial"/>
                </a:rPr>
                <a:t>1+</a:t>
              </a:r>
            </a:p>
            <a:p>
              <a:pPr algn="ctr" defTabSz="914378">
                <a:defRPr/>
              </a:pPr>
              <a:endParaRPr lang="en-US" sz="800" kern="0" dirty="0">
                <a:solidFill>
                  <a:srgbClr val="000000"/>
                </a:solidFill>
                <a:latin typeface="Arial"/>
              </a:endParaRPr>
            </a:p>
          </p:txBody>
        </p:sp>
        <p:sp>
          <p:nvSpPr>
            <p:cNvPr id="49" name="Rectangle 48">
              <a:extLst>
                <a:ext uri="{FF2B5EF4-FFF2-40B4-BE49-F238E27FC236}">
                  <a16:creationId xmlns:a16="http://schemas.microsoft.com/office/drawing/2014/main" xmlns="" id="{652C04AF-C139-40C4-8DE1-98C3EC7BEA5F}"/>
                </a:ext>
              </a:extLst>
            </p:cNvPr>
            <p:cNvSpPr/>
            <p:nvPr/>
          </p:nvSpPr>
          <p:spPr>
            <a:xfrm>
              <a:off x="10156199" y="2181211"/>
              <a:ext cx="1419258" cy="545621"/>
            </a:xfrm>
            <a:prstGeom prst="rect">
              <a:avLst/>
            </a:prstGeom>
            <a:solidFill>
              <a:srgbClr val="FFC000"/>
            </a:solidFill>
            <a:ln w="25400" cap="flat" cmpd="sng" algn="ctr">
              <a:noFill/>
              <a:prstDash val="solid"/>
            </a:ln>
            <a:effectLst/>
          </p:spPr>
          <p:txBody>
            <a:bodyPr rtlCol="0" anchor="ctr"/>
            <a:lstStyle/>
            <a:p>
              <a:pPr algn="ctr" defTabSz="914378">
                <a:defRPr/>
              </a:pPr>
              <a:r>
                <a:rPr lang="ru" sz="1200" b="1" kern="0">
                  <a:solidFill>
                    <a:srgbClr val="003865">
                      <a:lumMod val="90000"/>
                      <a:lumOff val="10000"/>
                    </a:srgbClr>
                  </a:solidFill>
                  <a:latin typeface="Arial"/>
                </a:rPr>
                <a:t>3+</a:t>
              </a:r>
            </a:p>
          </p:txBody>
        </p:sp>
        <p:sp>
          <p:nvSpPr>
            <p:cNvPr id="50" name="Rectangle 49">
              <a:extLst>
                <a:ext uri="{FF2B5EF4-FFF2-40B4-BE49-F238E27FC236}">
                  <a16:creationId xmlns:a16="http://schemas.microsoft.com/office/drawing/2014/main" xmlns="" id="{D28506FF-38C9-412D-8D2C-953DBBB84D17}"/>
                </a:ext>
              </a:extLst>
            </p:cNvPr>
            <p:cNvSpPr/>
            <p:nvPr/>
          </p:nvSpPr>
          <p:spPr>
            <a:xfrm>
              <a:off x="1749657" y="1392866"/>
              <a:ext cx="7339105" cy="651287"/>
            </a:xfrm>
            <a:prstGeom prst="rect">
              <a:avLst/>
            </a:prstGeom>
            <a:solidFill>
              <a:srgbClr val="003865"/>
            </a:solidFill>
            <a:ln w="25400" cap="flat" cmpd="sng" algn="ctr">
              <a:noFill/>
              <a:prstDash val="solid"/>
            </a:ln>
            <a:effectLst/>
          </p:spPr>
          <p:txBody>
            <a:bodyPr rtlCol="0" anchor="ctr"/>
            <a:lstStyle/>
            <a:p>
              <a:pPr algn="ctr" defTabSz="914378">
                <a:defRPr/>
              </a:pPr>
              <a:r>
                <a:rPr lang="ru" sz="1200" b="1" kern="0" dirty="0">
                  <a:solidFill>
                    <a:srgbClr val="FFFFFF"/>
                  </a:solidFill>
                  <a:latin typeface="Arial"/>
                </a:rPr>
                <a:t>    	 HER2-отрицательный</a:t>
              </a:r>
            </a:p>
          </p:txBody>
        </p:sp>
        <p:sp>
          <p:nvSpPr>
            <p:cNvPr id="51" name="Rectangle 50">
              <a:extLst>
                <a:ext uri="{FF2B5EF4-FFF2-40B4-BE49-F238E27FC236}">
                  <a16:creationId xmlns:a16="http://schemas.microsoft.com/office/drawing/2014/main" xmlns="" id="{35814E97-4D81-4386-95C9-A74410F49B5C}"/>
                </a:ext>
              </a:extLst>
            </p:cNvPr>
            <p:cNvSpPr/>
            <p:nvPr/>
          </p:nvSpPr>
          <p:spPr>
            <a:xfrm>
              <a:off x="9156179" y="1386524"/>
              <a:ext cx="2485202" cy="646621"/>
            </a:xfrm>
            <a:prstGeom prst="rect">
              <a:avLst/>
            </a:prstGeom>
            <a:solidFill>
              <a:srgbClr val="FFC000"/>
            </a:solidFill>
            <a:ln w="25400" cap="flat" cmpd="sng" algn="ctr">
              <a:noFill/>
              <a:prstDash val="solid"/>
            </a:ln>
            <a:effectLst/>
          </p:spPr>
          <p:txBody>
            <a:bodyPr rtlCol="0" anchor="ctr"/>
            <a:lstStyle/>
            <a:p>
              <a:pPr algn="ctr" defTabSz="914378">
                <a:defRPr/>
              </a:pPr>
              <a:r>
                <a:rPr lang="ru" sz="1200" b="1" kern="0" dirty="0">
                  <a:solidFill>
                    <a:srgbClr val="003865">
                      <a:lumMod val="90000"/>
                      <a:lumOff val="10000"/>
                    </a:srgbClr>
                  </a:solidFill>
                  <a:latin typeface="Arial"/>
                </a:rPr>
                <a:t>HER2-положительный</a:t>
              </a:r>
            </a:p>
          </p:txBody>
        </p:sp>
        <p:sp>
          <p:nvSpPr>
            <p:cNvPr id="52" name="Rectangle 51">
              <a:extLst>
                <a:ext uri="{FF2B5EF4-FFF2-40B4-BE49-F238E27FC236}">
                  <a16:creationId xmlns:a16="http://schemas.microsoft.com/office/drawing/2014/main" xmlns="" id="{B2C56410-044F-4976-AD4F-B6DC84FBEC4E}"/>
                </a:ext>
              </a:extLst>
            </p:cNvPr>
            <p:cNvSpPr/>
            <p:nvPr/>
          </p:nvSpPr>
          <p:spPr>
            <a:xfrm>
              <a:off x="1795413" y="2116796"/>
              <a:ext cx="9824307" cy="646621"/>
            </a:xfrm>
            <a:prstGeom prst="rect">
              <a:avLst/>
            </a:prstGeom>
            <a:noFill/>
            <a:ln w="28575" cap="flat" cmpd="sng" algn="ctr">
              <a:solidFill>
                <a:schemeClr val="accent6"/>
              </a:solidFill>
              <a:prstDash val="solid"/>
            </a:ln>
            <a:effectLst/>
          </p:spPr>
          <p:txBody>
            <a:bodyPr rtlCol="0" anchor="ctr"/>
            <a:lstStyle/>
            <a:p>
              <a:pPr algn="ctr" defTabSz="914378">
                <a:defRPr/>
              </a:pPr>
              <a:endParaRPr lang="en-US" sz="1200" kern="0" dirty="0">
                <a:solidFill>
                  <a:srgbClr val="FFFFFF"/>
                </a:solidFill>
                <a:latin typeface="Arial"/>
              </a:endParaRPr>
            </a:p>
          </p:txBody>
        </p:sp>
        <p:sp>
          <p:nvSpPr>
            <p:cNvPr id="53" name="Rectangle 52">
              <a:extLst>
                <a:ext uri="{FF2B5EF4-FFF2-40B4-BE49-F238E27FC236}">
                  <a16:creationId xmlns:a16="http://schemas.microsoft.com/office/drawing/2014/main" xmlns="" id="{EF7F13D7-77F6-4C05-AA3C-7D4591485D43}"/>
                </a:ext>
              </a:extLst>
            </p:cNvPr>
            <p:cNvSpPr/>
            <p:nvPr/>
          </p:nvSpPr>
          <p:spPr>
            <a:xfrm>
              <a:off x="1842422" y="2181211"/>
              <a:ext cx="2779787" cy="545621"/>
            </a:xfrm>
            <a:prstGeom prst="rect">
              <a:avLst/>
            </a:prstGeom>
            <a:solidFill>
              <a:schemeClr val="accent3">
                <a:lumMod val="20000"/>
                <a:lumOff val="80000"/>
              </a:schemeClr>
            </a:solidFill>
            <a:ln w="25400" cap="flat" cmpd="sng" algn="ctr">
              <a:noFill/>
              <a:prstDash val="solid"/>
            </a:ln>
            <a:effectLst/>
          </p:spPr>
          <p:txBody>
            <a:bodyPr rtlCol="0" anchor="b"/>
            <a:lstStyle/>
            <a:p>
              <a:pPr algn="ctr" defTabSz="914378">
                <a:defRPr/>
              </a:pPr>
              <a:r>
                <a:rPr lang="ru" sz="1200" b="1" kern="0">
                  <a:solidFill>
                    <a:srgbClr val="003865">
                      <a:lumMod val="90000"/>
                      <a:lumOff val="10000"/>
                    </a:srgbClr>
                  </a:solidFill>
                  <a:latin typeface="Arial"/>
                </a:rPr>
                <a:t>0</a:t>
              </a:r>
            </a:p>
            <a:p>
              <a:pPr algn="ctr" defTabSz="914378">
                <a:defRPr/>
              </a:pPr>
              <a:endParaRPr lang="en-US" sz="800" kern="0" dirty="0">
                <a:solidFill>
                  <a:srgbClr val="000000"/>
                </a:solidFill>
                <a:latin typeface="Arial"/>
              </a:endParaRPr>
            </a:p>
          </p:txBody>
        </p:sp>
        <p:cxnSp>
          <p:nvCxnSpPr>
            <p:cNvPr id="54" name="Straight Connector 53">
              <a:extLst>
                <a:ext uri="{FF2B5EF4-FFF2-40B4-BE49-F238E27FC236}">
                  <a16:creationId xmlns:a16="http://schemas.microsoft.com/office/drawing/2014/main" xmlns="" id="{5BCA8661-986F-4455-BF45-082515EF6890}"/>
                </a:ext>
              </a:extLst>
            </p:cNvPr>
            <p:cNvCxnSpPr>
              <a:cxnSpLocks/>
            </p:cNvCxnSpPr>
            <p:nvPr/>
          </p:nvCxnSpPr>
          <p:spPr>
            <a:xfrm>
              <a:off x="9134513" y="1392866"/>
              <a:ext cx="0" cy="2160980"/>
            </a:xfrm>
            <a:prstGeom prst="line">
              <a:avLst/>
            </a:prstGeom>
            <a:noFill/>
            <a:ln w="28575" cap="flat" cmpd="sng" algn="ctr">
              <a:solidFill>
                <a:srgbClr val="FF0000"/>
              </a:solidFill>
              <a:prstDash val="dash"/>
            </a:ln>
            <a:effectLst/>
          </p:spPr>
        </p:cxnSp>
      </p:grpSp>
      <p:sp>
        <p:nvSpPr>
          <p:cNvPr id="55" name="Rectangle 54">
            <a:extLst>
              <a:ext uri="{FF2B5EF4-FFF2-40B4-BE49-F238E27FC236}">
                <a16:creationId xmlns:a16="http://schemas.microsoft.com/office/drawing/2014/main" xmlns="" id="{F72064B1-69A4-4323-B8EF-52F4F54F8643}"/>
              </a:ext>
            </a:extLst>
          </p:cNvPr>
          <p:cNvSpPr/>
          <p:nvPr/>
        </p:nvSpPr>
        <p:spPr>
          <a:xfrm>
            <a:off x="3334113" y="3470991"/>
            <a:ext cx="2683583" cy="461536"/>
          </a:xfrm>
          <a:prstGeom prst="rect">
            <a:avLst/>
          </a:prstGeom>
          <a:solidFill>
            <a:schemeClr val="accent3">
              <a:lumMod val="60000"/>
              <a:lumOff val="40000"/>
            </a:schemeClr>
          </a:solidFill>
          <a:ln w="25400" cap="flat" cmpd="sng" algn="ctr">
            <a:noFill/>
            <a:prstDash val="solid"/>
          </a:ln>
          <a:effectLst/>
        </p:spPr>
        <p:txBody>
          <a:bodyPr rtlCol="0" anchor="ctr"/>
          <a:lstStyle/>
          <a:p>
            <a:pPr algn="ctr" defTabSz="914378">
              <a:defRPr/>
            </a:pPr>
            <a:r>
              <a:rPr lang="ru" sz="1200" b="1" kern="0" dirty="0">
                <a:solidFill>
                  <a:srgbClr val="003865">
                    <a:lumMod val="90000"/>
                    <a:lumOff val="10000"/>
                  </a:srgbClr>
                </a:solidFill>
                <a:latin typeface="Arial"/>
              </a:rPr>
              <a:t>HER2-слабоположительный</a:t>
            </a:r>
            <a:br>
              <a:rPr lang="ru" sz="1200" b="1" kern="0" dirty="0">
                <a:solidFill>
                  <a:srgbClr val="003865">
                    <a:lumMod val="90000"/>
                    <a:lumOff val="10000"/>
                  </a:srgbClr>
                </a:solidFill>
                <a:latin typeface="Arial"/>
              </a:rPr>
            </a:br>
            <a:r>
              <a:rPr lang="ru" sz="1200" b="1" kern="0" dirty="0">
                <a:solidFill>
                  <a:srgbClr val="003865">
                    <a:lumMod val="90000"/>
                    <a:lumOff val="10000"/>
                  </a:srgbClr>
                </a:solidFill>
                <a:latin typeface="Arial"/>
              </a:rPr>
              <a:t>1+ и 2+/ISH-</a:t>
            </a:r>
          </a:p>
        </p:txBody>
      </p:sp>
      <p:sp>
        <p:nvSpPr>
          <p:cNvPr id="56" name="Rectangle 55">
            <a:extLst>
              <a:ext uri="{FF2B5EF4-FFF2-40B4-BE49-F238E27FC236}">
                <a16:creationId xmlns:a16="http://schemas.microsoft.com/office/drawing/2014/main" xmlns="" id="{C3EEDA98-75B9-43C6-A530-E9B2A6220845}"/>
              </a:ext>
            </a:extLst>
          </p:cNvPr>
          <p:cNvSpPr/>
          <p:nvPr/>
        </p:nvSpPr>
        <p:spPr>
          <a:xfrm>
            <a:off x="6044284" y="3472883"/>
            <a:ext cx="1466072" cy="461536"/>
          </a:xfrm>
          <a:prstGeom prst="rect">
            <a:avLst/>
          </a:prstGeom>
          <a:solidFill>
            <a:srgbClr val="FFC000"/>
          </a:solidFill>
          <a:ln w="25400" cap="flat" cmpd="sng" algn="ctr">
            <a:noFill/>
            <a:prstDash val="solid"/>
          </a:ln>
          <a:effectLst/>
        </p:spPr>
        <p:txBody>
          <a:bodyPr rtlCol="0" anchor="ctr"/>
          <a:lstStyle/>
          <a:p>
            <a:pPr algn="ctr" defTabSz="914378">
              <a:defRPr/>
            </a:pPr>
            <a:r>
              <a:rPr lang="ru" sz="1200" b="1" kern="0">
                <a:solidFill>
                  <a:srgbClr val="003865">
                    <a:lumMod val="90000"/>
                    <a:lumOff val="10000"/>
                  </a:srgbClr>
                </a:solidFill>
                <a:latin typeface="Arial"/>
              </a:rPr>
              <a:t>HER2-положительный</a:t>
            </a:r>
          </a:p>
        </p:txBody>
      </p:sp>
      <p:sp>
        <p:nvSpPr>
          <p:cNvPr id="57" name="Rectangle 56">
            <a:extLst>
              <a:ext uri="{FF2B5EF4-FFF2-40B4-BE49-F238E27FC236}">
                <a16:creationId xmlns:a16="http://schemas.microsoft.com/office/drawing/2014/main" xmlns="" id="{AC0E0475-7F05-46BA-953D-8B0EB11C71EC}"/>
              </a:ext>
            </a:extLst>
          </p:cNvPr>
          <p:cNvSpPr/>
          <p:nvPr/>
        </p:nvSpPr>
        <p:spPr>
          <a:xfrm>
            <a:off x="1664524" y="3472883"/>
            <a:ext cx="1669589" cy="461536"/>
          </a:xfrm>
          <a:prstGeom prst="rect">
            <a:avLst/>
          </a:prstGeom>
          <a:solidFill>
            <a:schemeClr val="accent3">
              <a:lumMod val="20000"/>
              <a:lumOff val="80000"/>
            </a:schemeClr>
          </a:solidFill>
          <a:ln w="25400" cap="flat" cmpd="sng" algn="ctr">
            <a:noFill/>
            <a:prstDash val="solid"/>
          </a:ln>
          <a:effectLst/>
        </p:spPr>
        <p:txBody>
          <a:bodyPr rtlCol="0" anchor="b"/>
          <a:lstStyle/>
          <a:p>
            <a:pPr algn="ctr" defTabSz="914378">
              <a:defRPr/>
            </a:pPr>
            <a:r>
              <a:rPr lang="ru" sz="1200" b="1" kern="0">
                <a:solidFill>
                  <a:srgbClr val="003865">
                    <a:lumMod val="90000"/>
                    <a:lumOff val="10000"/>
                  </a:srgbClr>
                </a:solidFill>
                <a:latin typeface="Arial"/>
              </a:rPr>
              <a:t>HER2 ИГХ 0</a:t>
            </a:r>
          </a:p>
          <a:p>
            <a:pPr algn="ctr" defTabSz="914378">
              <a:defRPr/>
            </a:pPr>
            <a:endParaRPr lang="en-US" sz="800" kern="0" dirty="0">
              <a:solidFill>
                <a:srgbClr val="000000"/>
              </a:solidFill>
              <a:latin typeface="Arial"/>
            </a:endParaRPr>
          </a:p>
        </p:txBody>
      </p:sp>
      <p:cxnSp>
        <p:nvCxnSpPr>
          <p:cNvPr id="58" name="Straight Connector 57">
            <a:extLst>
              <a:ext uri="{FF2B5EF4-FFF2-40B4-BE49-F238E27FC236}">
                <a16:creationId xmlns:a16="http://schemas.microsoft.com/office/drawing/2014/main" xmlns="" id="{0C68E179-68A6-487C-8856-0AD37ABC34E8}"/>
              </a:ext>
            </a:extLst>
          </p:cNvPr>
          <p:cNvCxnSpPr>
            <a:cxnSpLocks/>
          </p:cNvCxnSpPr>
          <p:nvPr/>
        </p:nvCxnSpPr>
        <p:spPr>
          <a:xfrm>
            <a:off x="3339439" y="2261760"/>
            <a:ext cx="0" cy="1751286"/>
          </a:xfrm>
          <a:prstGeom prst="line">
            <a:avLst/>
          </a:prstGeom>
          <a:noFill/>
          <a:ln w="28575" cap="flat" cmpd="sng" algn="ctr">
            <a:solidFill>
              <a:srgbClr val="FF0000"/>
            </a:solidFill>
            <a:prstDash val="dash"/>
          </a:ln>
          <a:effectLst/>
        </p:spPr>
      </p:cxnSp>
      <p:sp>
        <p:nvSpPr>
          <p:cNvPr id="59" name="Text Placeholder 3">
            <a:extLst>
              <a:ext uri="{FF2B5EF4-FFF2-40B4-BE49-F238E27FC236}">
                <a16:creationId xmlns:a16="http://schemas.microsoft.com/office/drawing/2014/main" xmlns="" id="{03D41F8E-7611-4196-8DCD-C34C5C4C108F}"/>
              </a:ext>
            </a:extLst>
          </p:cNvPr>
          <p:cNvSpPr txBox="1">
            <a:spLocks/>
          </p:cNvSpPr>
          <p:nvPr/>
        </p:nvSpPr>
        <p:spPr>
          <a:xfrm>
            <a:off x="410763" y="4870614"/>
            <a:ext cx="8228252" cy="173124"/>
          </a:xfrm>
          <a:prstGeom prst="rect">
            <a:avLst/>
          </a:prstGeom>
        </p:spPr>
        <p:txBody>
          <a:bodyPr wrap="square" rtlCol="0" anchor="b" anchorCtr="0">
            <a:spAutoFit/>
          </a:bodyPr>
          <a:lstStyle>
            <a:lvl1pPr marL="0" indent="0" algn="l" defTabSz="457166" rtl="0" eaLnBrk="1" latinLnBrk="0" hangingPunct="1">
              <a:spcBef>
                <a:spcPts val="0"/>
              </a:spcBef>
              <a:buFont typeface="Arial"/>
              <a:buNone/>
              <a:defRPr kumimoji="1" sz="700" kern="1200">
                <a:solidFill>
                  <a:schemeClr val="tx1"/>
                </a:solidFill>
                <a:latin typeface="+mn-lt"/>
                <a:ea typeface="+mn-ea"/>
                <a:cs typeface="+mn-cs"/>
              </a:defRPr>
            </a:lvl1pPr>
            <a:lvl2pPr marL="0" indent="0" algn="l" defTabSz="457166" rtl="0" eaLnBrk="1" latinLnBrk="0" hangingPunct="1">
              <a:spcBef>
                <a:spcPts val="0"/>
              </a:spcBef>
              <a:buFont typeface="Arial"/>
              <a:buNone/>
              <a:defRPr kumimoji="1" sz="700" kern="1200">
                <a:solidFill>
                  <a:schemeClr val="tx1"/>
                </a:solidFill>
                <a:latin typeface="+mn-lt"/>
                <a:ea typeface="+mn-ea"/>
                <a:cs typeface="+mn-cs"/>
              </a:defRPr>
            </a:lvl2pPr>
            <a:lvl3pPr marL="0" indent="0" algn="l" defTabSz="457166" rtl="0" eaLnBrk="1" latinLnBrk="0" hangingPunct="1">
              <a:spcBef>
                <a:spcPts val="0"/>
              </a:spcBef>
              <a:buFont typeface="Arial"/>
              <a:buNone/>
              <a:defRPr kumimoji="1" sz="700" kern="1200">
                <a:solidFill>
                  <a:schemeClr val="tx1"/>
                </a:solidFill>
                <a:latin typeface="+mn-lt"/>
                <a:ea typeface="+mn-ea"/>
                <a:cs typeface="+mn-cs"/>
              </a:defRPr>
            </a:lvl3pPr>
            <a:lvl4pPr marL="0" indent="0" algn="l" defTabSz="457166" rtl="0" eaLnBrk="1" latinLnBrk="0" hangingPunct="1">
              <a:spcBef>
                <a:spcPts val="0"/>
              </a:spcBef>
              <a:buFont typeface="Arial"/>
              <a:buNone/>
              <a:defRPr kumimoji="1" sz="700" kern="1200">
                <a:solidFill>
                  <a:schemeClr val="tx1"/>
                </a:solidFill>
                <a:latin typeface="+mn-lt"/>
                <a:ea typeface="+mn-ea"/>
                <a:cs typeface="+mn-cs"/>
              </a:defRPr>
            </a:lvl4pPr>
            <a:lvl5pPr marL="0" indent="0" algn="l" defTabSz="457166" rtl="0" eaLnBrk="1" latinLnBrk="0" hangingPunct="1">
              <a:spcBef>
                <a:spcPts val="0"/>
              </a:spcBef>
              <a:buFont typeface="Arial"/>
              <a:buNone/>
              <a:defRPr kumimoji="1" sz="700" kern="1200">
                <a:solidFill>
                  <a:schemeClr val="tx1"/>
                </a:solidFill>
                <a:latin typeface="+mn-lt"/>
                <a:ea typeface="+mn-ea"/>
                <a:cs typeface="+mn-cs"/>
              </a:defRPr>
            </a:lvl5pPr>
            <a:lvl6pPr marL="2514411"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6pPr>
            <a:lvl7pPr marL="2971578"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7pPr>
            <a:lvl8pPr marL="3428744"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8pPr>
            <a:lvl9pPr marL="3885909"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9pPr>
          </a:lstStyle>
          <a:p>
            <a:pPr defTabSz="342866">
              <a:defRPr/>
            </a:pPr>
            <a:r>
              <a:rPr lang="ru" sz="525" dirty="0">
                <a:solidFill>
                  <a:srgbClr val="000000"/>
                </a:solidFill>
                <a:latin typeface="Arial"/>
              </a:rPr>
              <a:t>1. Tarantino P, et al. </a:t>
            </a:r>
            <a:r>
              <a:rPr lang="ru" sz="525" i="1" dirty="0">
                <a:solidFill>
                  <a:srgbClr val="000000"/>
                </a:solidFill>
                <a:latin typeface="Arial"/>
              </a:rPr>
              <a:t>J Clin Oncol</a:t>
            </a:r>
            <a:r>
              <a:rPr lang="ru" sz="525" dirty="0">
                <a:solidFill>
                  <a:srgbClr val="000000"/>
                </a:solidFill>
                <a:latin typeface="Arial"/>
              </a:rPr>
              <a:t>. 2020;38(17):1951-1962. 2. Schettini F, et al. </a:t>
            </a:r>
            <a:r>
              <a:rPr lang="ru" sz="525" i="1" dirty="0">
                <a:solidFill>
                  <a:srgbClr val="000000"/>
                </a:solidFill>
                <a:latin typeface="Arial"/>
              </a:rPr>
              <a:t>NPJ Breast Cancer. </a:t>
            </a:r>
            <a:r>
              <a:rPr lang="ru" sz="525" dirty="0">
                <a:solidFill>
                  <a:srgbClr val="000000"/>
                </a:solidFill>
                <a:latin typeface="Arial"/>
              </a:rPr>
              <a:t>2021;7(1):1. 3</a:t>
            </a:r>
            <a:r>
              <a:rPr lang="ru" sz="525" b="1" dirty="0">
                <a:solidFill>
                  <a:srgbClr val="000000"/>
                </a:solidFill>
                <a:latin typeface="Arial"/>
              </a:rPr>
              <a:t>. </a:t>
            </a:r>
            <a:r>
              <a:rPr lang="ru" sz="525" dirty="0">
                <a:solidFill>
                  <a:srgbClr val="000000"/>
                </a:solidFill>
                <a:latin typeface="Arial"/>
              </a:rPr>
              <a:t>Wolff AC, et al. </a:t>
            </a:r>
            <a:r>
              <a:rPr lang="ru" sz="525" i="1" dirty="0">
                <a:solidFill>
                  <a:srgbClr val="000000"/>
                </a:solidFill>
                <a:latin typeface="Arial"/>
              </a:rPr>
              <a:t>J Clin Oncol</a:t>
            </a:r>
            <a:r>
              <a:rPr lang="ru" sz="525" dirty="0">
                <a:solidFill>
                  <a:srgbClr val="000000"/>
                </a:solidFill>
                <a:latin typeface="Arial"/>
              </a:rPr>
              <a:t>. 2018;36(20):2105-2122. 4. Marchiò C, et al. </a:t>
            </a:r>
            <a:r>
              <a:rPr lang="ru" sz="525" i="1" dirty="0">
                <a:solidFill>
                  <a:srgbClr val="000000"/>
                </a:solidFill>
                <a:latin typeface="Arial"/>
              </a:rPr>
              <a:t>Semin Cancer Biol</a:t>
            </a:r>
            <a:r>
              <a:rPr lang="ru" sz="525" dirty="0">
                <a:solidFill>
                  <a:srgbClr val="000000"/>
                </a:solidFill>
                <a:latin typeface="Arial"/>
              </a:rPr>
              <a:t>. 2021;72:123-135.</a:t>
            </a:r>
            <a:endParaRPr lang="en-US" sz="525" dirty="0">
              <a:solidFill>
                <a:srgbClr val="000000"/>
              </a:solidFill>
              <a:latin typeface="Arial"/>
            </a:endParaRPr>
          </a:p>
        </p:txBody>
      </p:sp>
      <p:sp>
        <p:nvSpPr>
          <p:cNvPr id="23" name="TextBox 22">
            <a:extLst>
              <a:ext uri="{FF2B5EF4-FFF2-40B4-BE49-F238E27FC236}">
                <a16:creationId xmlns:a16="http://schemas.microsoft.com/office/drawing/2014/main" xmlns="" id="{524B8FF9-4BAF-4B9B-B02A-D66CCEDE724D}"/>
              </a:ext>
            </a:extLst>
          </p:cNvPr>
          <p:cNvSpPr txBox="1"/>
          <p:nvPr/>
        </p:nvSpPr>
        <p:spPr>
          <a:xfrm>
            <a:off x="410763" y="4597611"/>
            <a:ext cx="6004821" cy="277000"/>
          </a:xfrm>
          <a:prstGeom prst="rect">
            <a:avLst/>
          </a:prstGeom>
          <a:noFill/>
          <a:ln>
            <a:solidFill>
              <a:schemeClr val="bg1"/>
            </a:solidFill>
          </a:ln>
        </p:spPr>
        <p:txBody>
          <a:bodyPr wrap="none" rtlCol="0">
            <a:noAutofit/>
          </a:bodyPr>
          <a:lstStyle/>
          <a:p>
            <a:pPr algn="l">
              <a:lnSpc>
                <a:spcPct val="90000"/>
              </a:lnSpc>
              <a:spcAft>
                <a:spcPts val="600"/>
              </a:spcAft>
            </a:pPr>
            <a:r>
              <a:rPr lang="ru-RU" sz="800" dirty="0">
                <a:latin typeface="+mj-lt"/>
              </a:rPr>
              <a:t>ИГХ – </a:t>
            </a:r>
            <a:r>
              <a:rPr lang="ru-RU" sz="800" dirty="0" err="1">
                <a:latin typeface="+mj-lt"/>
              </a:rPr>
              <a:t>иммуногистохимия</a:t>
            </a:r>
            <a:r>
              <a:rPr lang="ru-RU" sz="800" dirty="0">
                <a:latin typeface="+mj-lt"/>
              </a:rPr>
              <a:t>, </a:t>
            </a:r>
            <a:r>
              <a:rPr lang="en-US" sz="800" dirty="0">
                <a:latin typeface="+mj-lt"/>
              </a:rPr>
              <a:t>ISH — </a:t>
            </a:r>
            <a:r>
              <a:rPr lang="ru-RU" sz="800" dirty="0">
                <a:latin typeface="+mj-lt"/>
              </a:rPr>
              <a:t>гибридизация </a:t>
            </a:r>
            <a:r>
              <a:rPr lang="en-US" sz="800" dirty="0">
                <a:latin typeface="+mj-lt"/>
              </a:rPr>
              <a:t>in sit</a:t>
            </a:r>
            <a:endParaRPr lang="ru-RU" sz="800" dirty="0">
              <a:latin typeface="+mj-lt"/>
            </a:endParaRPr>
          </a:p>
        </p:txBody>
      </p:sp>
    </p:spTree>
    <p:extLst>
      <p:ext uri="{BB962C8B-B14F-4D97-AF65-F5344CB8AC3E}">
        <p14:creationId xmlns:p14="http://schemas.microsoft.com/office/powerpoint/2010/main" val="2051246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5B8D9DA-26E2-41C2-9C27-CC6EC119E09E}"/>
              </a:ext>
            </a:extLst>
          </p:cNvPr>
          <p:cNvSpPr>
            <a:spLocks noGrp="1"/>
          </p:cNvSpPr>
          <p:nvPr>
            <p:ph type="title"/>
          </p:nvPr>
        </p:nvSpPr>
        <p:spPr/>
        <p:txBody>
          <a:bodyPr/>
          <a:lstStyle/>
          <a:p>
            <a:r>
              <a:rPr lang="ru-RU" sz="1800" dirty="0"/>
              <a:t>Большинство случаев HER2-отрицательного РМЖ являются HER2-слабоположительными</a:t>
            </a:r>
            <a:endParaRPr lang="en-US" sz="1800" dirty="0"/>
          </a:p>
        </p:txBody>
      </p:sp>
      <p:sp>
        <p:nvSpPr>
          <p:cNvPr id="5" name="TextBox 4">
            <a:extLst>
              <a:ext uri="{FF2B5EF4-FFF2-40B4-BE49-F238E27FC236}">
                <a16:creationId xmlns:a16="http://schemas.microsoft.com/office/drawing/2014/main" xmlns="" id="{8BAB5F75-60B4-48CD-BE9B-B62EF37195EF}"/>
              </a:ext>
            </a:extLst>
          </p:cNvPr>
          <p:cNvSpPr txBox="1"/>
          <p:nvPr/>
        </p:nvSpPr>
        <p:spPr>
          <a:xfrm>
            <a:off x="268576" y="1016531"/>
            <a:ext cx="4126003" cy="2646878"/>
          </a:xfrm>
          <a:prstGeom prst="rect">
            <a:avLst/>
          </a:prstGeom>
          <a:noFill/>
        </p:spPr>
        <p:txBody>
          <a:bodyPr wrap="square" rtlCol="0">
            <a:spAutoFit/>
          </a:bodyPr>
          <a:lstStyle/>
          <a:p>
            <a:pPr marL="214313" indent="-214313" defTabSz="685800">
              <a:spcAft>
                <a:spcPts val="600"/>
              </a:spcAft>
              <a:buFont typeface="Wingdings" panose="05000000000000000000" pitchFamily="2" charset="2"/>
              <a:buChar char="Ø"/>
              <a:defRPr/>
            </a:pPr>
            <a:r>
              <a:rPr lang="ru" sz="1200" kern="0" dirty="0">
                <a:solidFill>
                  <a:srgbClr val="000000"/>
                </a:solidFill>
                <a:latin typeface="Arial"/>
              </a:rPr>
              <a:t>Schettini и соавт. проанализировали 13 независимых наборов данных (N = 3689) пациентов с диагнозом HER2-отрицательного рака молочной железы, чтобы сравнить клинические признаки HER2-слабоположительной опухоли </a:t>
            </a:r>
            <a:r>
              <a:rPr lang="en-US" sz="1200" kern="0" dirty="0" smtClean="0">
                <a:solidFill>
                  <a:srgbClr val="000000"/>
                </a:solidFill>
                <a:latin typeface="Arial"/>
              </a:rPr>
              <a:t>(1+, 2+/FISH-) </a:t>
            </a:r>
            <a:r>
              <a:rPr lang="ru" sz="1200" kern="0" dirty="0" smtClean="0">
                <a:solidFill>
                  <a:srgbClr val="000000"/>
                </a:solidFill>
                <a:latin typeface="Arial"/>
              </a:rPr>
              <a:t>и </a:t>
            </a:r>
            <a:r>
              <a:rPr lang="ru" sz="1200" kern="0" dirty="0">
                <a:solidFill>
                  <a:srgbClr val="000000"/>
                </a:solidFill>
                <a:latin typeface="Arial"/>
              </a:rPr>
              <a:t>опухоли с HER2 ИГХ 0 </a:t>
            </a:r>
          </a:p>
          <a:p>
            <a:pPr marL="214313" indent="-214313" defTabSz="685800">
              <a:spcAft>
                <a:spcPts val="600"/>
              </a:spcAft>
              <a:buFont typeface="Wingdings" panose="05000000000000000000" pitchFamily="2" charset="2"/>
              <a:buChar char="Ø"/>
              <a:defRPr/>
            </a:pPr>
            <a:r>
              <a:rPr lang="ru" sz="1200" kern="0" dirty="0">
                <a:solidFill>
                  <a:srgbClr val="000000"/>
                </a:solidFill>
                <a:latin typeface="Arial"/>
              </a:rPr>
              <a:t>HER2-слабоположительный рак встречался значительно чаще среди HR-положительных опухолей, чем среди HR-отрицательных (ТНРМЖ) (65,4 % в сравнении с 36,5 %; P &lt; 0,001).</a:t>
            </a:r>
          </a:p>
          <a:p>
            <a:pPr marL="214313" indent="-214313" defTabSz="685800">
              <a:spcAft>
                <a:spcPts val="600"/>
              </a:spcAft>
              <a:buFont typeface="Wingdings" panose="05000000000000000000" pitchFamily="2" charset="2"/>
              <a:buChar char="Ø"/>
              <a:defRPr/>
            </a:pPr>
            <a:r>
              <a:rPr lang="ru" sz="1200" kern="0" dirty="0">
                <a:solidFill>
                  <a:srgbClr val="000000"/>
                </a:solidFill>
                <a:latin typeface="Arial"/>
              </a:rPr>
              <a:t>~ 68 % HER2-слабоположительных опухолей относятся к категории ИГХ 1+, независимо от HR-статуса</a:t>
            </a:r>
          </a:p>
        </p:txBody>
      </p:sp>
      <p:sp>
        <p:nvSpPr>
          <p:cNvPr id="6" name="Rectangle 5">
            <a:extLst>
              <a:ext uri="{FF2B5EF4-FFF2-40B4-BE49-F238E27FC236}">
                <a16:creationId xmlns:a16="http://schemas.microsoft.com/office/drawing/2014/main" xmlns="" id="{7EEEF1A3-9D75-4491-A240-D7386E57BC11}"/>
              </a:ext>
            </a:extLst>
          </p:cNvPr>
          <p:cNvSpPr/>
          <p:nvPr/>
        </p:nvSpPr>
        <p:spPr>
          <a:xfrm>
            <a:off x="498143" y="4141562"/>
            <a:ext cx="8147713" cy="41148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r>
              <a:rPr lang="ru" sz="1350" b="1" dirty="0">
                <a:solidFill>
                  <a:srgbClr val="FFFFFF"/>
                </a:solidFill>
                <a:latin typeface="Arial"/>
              </a:rPr>
              <a:t>Пациенты с HER2-слабоположительным РМЖ составляют большинство (~ 60 %) пациентов с HER2-отрицательными опухолями</a:t>
            </a:r>
          </a:p>
        </p:txBody>
      </p:sp>
      <p:pic>
        <p:nvPicPr>
          <p:cNvPr id="7" name="Picture 6">
            <a:extLst>
              <a:ext uri="{FF2B5EF4-FFF2-40B4-BE49-F238E27FC236}">
                <a16:creationId xmlns:a16="http://schemas.microsoft.com/office/drawing/2014/main" xmlns="" id="{9169558F-0587-4690-A234-711C1ED53D58}"/>
              </a:ext>
            </a:extLst>
          </p:cNvPr>
          <p:cNvPicPr>
            <a:picLocks noChangeAspect="1"/>
          </p:cNvPicPr>
          <p:nvPr/>
        </p:nvPicPr>
        <p:blipFill>
          <a:blip r:embed="rId2"/>
          <a:stretch>
            <a:fillRect/>
          </a:stretch>
        </p:blipFill>
        <p:spPr>
          <a:xfrm>
            <a:off x="4257279" y="709911"/>
            <a:ext cx="4572396" cy="3260119"/>
          </a:xfrm>
          <a:prstGeom prst="rect">
            <a:avLst/>
          </a:prstGeom>
        </p:spPr>
      </p:pic>
      <p:sp>
        <p:nvSpPr>
          <p:cNvPr id="8" name="Text Placeholder 5">
            <a:extLst>
              <a:ext uri="{FF2B5EF4-FFF2-40B4-BE49-F238E27FC236}">
                <a16:creationId xmlns:a16="http://schemas.microsoft.com/office/drawing/2014/main" xmlns="" id="{D292E8F0-A19C-4A36-9B83-90BBABFF71A1}"/>
              </a:ext>
            </a:extLst>
          </p:cNvPr>
          <p:cNvSpPr txBox="1">
            <a:spLocks/>
          </p:cNvSpPr>
          <p:nvPr/>
        </p:nvSpPr>
        <p:spPr>
          <a:xfrm>
            <a:off x="337105" y="4866496"/>
            <a:ext cx="8885501" cy="237653"/>
          </a:xfrm>
          <a:prstGeom prst="rect">
            <a:avLst/>
          </a:prstGeom>
        </p:spPr>
        <p:txBody>
          <a:bodyPr rtlCol="0"/>
          <a:lstStyle>
            <a:lvl1pPr marL="457189" indent="-457189" algn="l" defTabSz="609585" rtl="0" eaLnBrk="1" latinLnBrk="0" hangingPunct="1">
              <a:spcBef>
                <a:spcPct val="20000"/>
              </a:spcBef>
              <a:buFont typeface="Arial"/>
              <a:buChar char="•"/>
              <a:defRPr kumimoji="1"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kumimoji="1"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kumimoji="1"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9pPr>
          </a:lstStyle>
          <a:p>
            <a:pPr marL="0" indent="0" defTabSz="457189">
              <a:buNone/>
              <a:defRPr/>
            </a:pPr>
            <a:r>
              <a:rPr lang="ru" sz="525" b="1" dirty="0">
                <a:solidFill>
                  <a:srgbClr val="000000"/>
                </a:solidFill>
                <a:latin typeface="Arial"/>
                <a:cs typeface="Arial" panose="020B0604020202020204" pitchFamily="34" charset="0"/>
              </a:rPr>
              <a:t>1. </a:t>
            </a:r>
            <a:r>
              <a:rPr lang="ru" sz="525" dirty="0">
                <a:solidFill>
                  <a:srgbClr val="000000"/>
                </a:solidFill>
                <a:latin typeface="Arial"/>
              </a:rPr>
              <a:t>Burstein H. </a:t>
            </a:r>
            <a:r>
              <a:rPr lang="ru" sz="525" i="1" dirty="0">
                <a:solidFill>
                  <a:srgbClr val="000000"/>
                </a:solidFill>
                <a:latin typeface="Arial"/>
              </a:rPr>
              <a:t>N Engl J Med</a:t>
            </a:r>
            <a:r>
              <a:rPr lang="ru" sz="525" dirty="0">
                <a:solidFill>
                  <a:srgbClr val="000000"/>
                </a:solidFill>
                <a:latin typeface="Arial"/>
              </a:rPr>
              <a:t>. 2005;353(16):1652-1654. </a:t>
            </a:r>
            <a:r>
              <a:rPr lang="ru" sz="525" b="1" dirty="0">
                <a:solidFill>
                  <a:srgbClr val="000000"/>
                </a:solidFill>
                <a:latin typeface="Arial"/>
                <a:cs typeface="Arial" panose="020B0604020202020204" pitchFamily="34" charset="0"/>
              </a:rPr>
              <a:t>2. </a:t>
            </a:r>
            <a:r>
              <a:rPr lang="ru" sz="525" dirty="0">
                <a:solidFill>
                  <a:srgbClr val="000000"/>
                </a:solidFill>
                <a:latin typeface="Arial"/>
                <a:cs typeface="Arial" panose="020B0604020202020204" pitchFamily="34" charset="0"/>
              </a:rPr>
              <a:t>Marchiò C, et al. </a:t>
            </a:r>
            <a:r>
              <a:rPr lang="ru" sz="525" i="1" dirty="0">
                <a:solidFill>
                  <a:srgbClr val="000000"/>
                </a:solidFill>
                <a:latin typeface="Arial"/>
                <a:cs typeface="Arial" panose="020B0604020202020204" pitchFamily="34" charset="0"/>
              </a:rPr>
              <a:t>Semin Cancer Biol. </a:t>
            </a:r>
            <a:r>
              <a:rPr lang="ru" sz="525" dirty="0">
                <a:solidFill>
                  <a:srgbClr val="000000"/>
                </a:solidFill>
                <a:latin typeface="Arial"/>
              </a:rPr>
              <a:t>2021;72:123-135. </a:t>
            </a:r>
            <a:r>
              <a:rPr lang="ru" sz="525" b="1" dirty="0">
                <a:solidFill>
                  <a:srgbClr val="000000"/>
                </a:solidFill>
                <a:latin typeface="Arial"/>
                <a:cs typeface="Arial" panose="020B0604020202020204" pitchFamily="34" charset="0"/>
              </a:rPr>
              <a:t>3. </a:t>
            </a:r>
            <a:r>
              <a:rPr lang="ru" sz="525" dirty="0">
                <a:solidFill>
                  <a:srgbClr val="000000"/>
                </a:solidFill>
                <a:latin typeface="Arial"/>
                <a:cs typeface="Arial" panose="020B0604020202020204" pitchFamily="34" charset="0"/>
              </a:rPr>
              <a:t>Tarantino P et al. </a:t>
            </a:r>
            <a:r>
              <a:rPr lang="ru" sz="525" i="1" dirty="0">
                <a:solidFill>
                  <a:srgbClr val="000000"/>
                </a:solidFill>
                <a:latin typeface="Arial"/>
                <a:cs typeface="Arial" panose="020B0604020202020204" pitchFamily="34" charset="0"/>
              </a:rPr>
              <a:t>J Clin Oncol. </a:t>
            </a:r>
            <a:r>
              <a:rPr lang="ru" sz="525" dirty="0">
                <a:solidFill>
                  <a:srgbClr val="000000"/>
                </a:solidFill>
                <a:latin typeface="Arial"/>
                <a:cs typeface="Arial" panose="020B0604020202020204" pitchFamily="34" charset="0"/>
              </a:rPr>
              <a:t>2020;38(17):1951-1962. </a:t>
            </a:r>
            <a:endParaRPr lang="en-US" sz="525" dirty="0">
              <a:solidFill>
                <a:srgbClr val="000000"/>
              </a:solidFill>
              <a:latin typeface="Arial"/>
              <a:cs typeface="Arial" panose="020B0604020202020204" pitchFamily="34" charset="0"/>
            </a:endParaRPr>
          </a:p>
        </p:txBody>
      </p:sp>
      <p:sp>
        <p:nvSpPr>
          <p:cNvPr id="9" name="TextBox 8">
            <a:extLst>
              <a:ext uri="{FF2B5EF4-FFF2-40B4-BE49-F238E27FC236}">
                <a16:creationId xmlns:a16="http://schemas.microsoft.com/office/drawing/2014/main" xmlns="" id="{DA71139E-8944-4CF4-87CA-680DFD788E27}"/>
              </a:ext>
            </a:extLst>
          </p:cNvPr>
          <p:cNvSpPr txBox="1"/>
          <p:nvPr/>
        </p:nvSpPr>
        <p:spPr>
          <a:xfrm>
            <a:off x="397490" y="4608890"/>
            <a:ext cx="6004821" cy="277000"/>
          </a:xfrm>
          <a:prstGeom prst="rect">
            <a:avLst/>
          </a:prstGeom>
          <a:noFill/>
          <a:ln>
            <a:solidFill>
              <a:schemeClr val="bg1"/>
            </a:solidFill>
          </a:ln>
        </p:spPr>
        <p:txBody>
          <a:bodyPr wrap="none" rtlCol="0">
            <a:noAutofit/>
          </a:bodyPr>
          <a:lstStyle/>
          <a:p>
            <a:pPr algn="l">
              <a:lnSpc>
                <a:spcPct val="90000"/>
              </a:lnSpc>
              <a:spcAft>
                <a:spcPts val="600"/>
              </a:spcAft>
            </a:pPr>
            <a:r>
              <a:rPr lang="ru-RU" sz="900" dirty="0"/>
              <a:t>РМЖ – рак молочной железы, ИГХ – </a:t>
            </a:r>
            <a:r>
              <a:rPr lang="ru-RU" sz="900" dirty="0" err="1"/>
              <a:t>иммуногистохимия</a:t>
            </a:r>
            <a:r>
              <a:rPr lang="ru-RU" sz="900" dirty="0"/>
              <a:t>, </a:t>
            </a:r>
            <a:r>
              <a:rPr lang="en-US" sz="900" dirty="0">
                <a:latin typeface="Arial"/>
              </a:rPr>
              <a:t>ISH — </a:t>
            </a:r>
            <a:r>
              <a:rPr lang="ru-RU" sz="900" dirty="0">
                <a:latin typeface="Arial"/>
              </a:rPr>
              <a:t>гибридизация </a:t>
            </a:r>
            <a:r>
              <a:rPr lang="en-US" sz="900" dirty="0">
                <a:latin typeface="Arial"/>
              </a:rPr>
              <a:t>in sit</a:t>
            </a:r>
            <a:endParaRPr lang="ru-RU" sz="900" dirty="0">
              <a:latin typeface="Arial"/>
            </a:endParaRPr>
          </a:p>
        </p:txBody>
      </p:sp>
    </p:spTree>
    <p:extLst>
      <p:ext uri="{BB962C8B-B14F-4D97-AF65-F5344CB8AC3E}">
        <p14:creationId xmlns:p14="http://schemas.microsoft.com/office/powerpoint/2010/main" val="888701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0172AA7B-11BB-4812-8753-123CB7EFAB8C}"/>
              </a:ext>
            </a:extLst>
          </p:cNvPr>
          <p:cNvSpPr>
            <a:spLocks noGrp="1"/>
          </p:cNvSpPr>
          <p:nvPr>
            <p:ph type="title"/>
          </p:nvPr>
        </p:nvSpPr>
        <p:spPr>
          <a:xfrm>
            <a:off x="352005" y="100868"/>
            <a:ext cx="8765651" cy="504000"/>
          </a:xfrm>
        </p:spPr>
        <p:txBody>
          <a:bodyPr/>
          <a:lstStyle/>
          <a:p>
            <a:r>
              <a:rPr lang="ru-RU" dirty="0"/>
              <a:t>Заключение: ключевая информация</a:t>
            </a:r>
            <a:endParaRPr lang="en-US" dirty="0"/>
          </a:p>
        </p:txBody>
      </p:sp>
      <p:sp>
        <p:nvSpPr>
          <p:cNvPr id="2" name="Rectangle 9">
            <a:extLst>
              <a:ext uri="{FF2B5EF4-FFF2-40B4-BE49-F238E27FC236}">
                <a16:creationId xmlns:a16="http://schemas.microsoft.com/office/drawing/2014/main" xmlns="" id="{B996C2ED-E559-361C-9370-D4B266FD4A2F}"/>
              </a:ext>
            </a:extLst>
          </p:cNvPr>
          <p:cNvSpPr>
            <a:spLocks noChangeArrowheads="1"/>
          </p:cNvSpPr>
          <p:nvPr/>
        </p:nvSpPr>
        <p:spPr bwMode="auto">
          <a:xfrm>
            <a:off x="265740" y="829530"/>
            <a:ext cx="8420385" cy="2886202"/>
          </a:xfrm>
          <a:prstGeom prst="rect">
            <a:avLst/>
          </a:prstGeom>
          <a:noFill/>
          <a:ln w="9525" cap="flat">
            <a:noFill/>
            <a:round/>
            <a:headEnd/>
            <a:tailEnd/>
          </a:ln>
          <a:effectLst/>
        </p:spPr>
        <p:txBody>
          <a:bodyPr wrap="square" lIns="0" tIns="12600" rIns="0" bIns="0" rtlCol="0">
            <a:spAutoFit/>
          </a:bodyPr>
          <a:lstStyle/>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У некоторых пациентов </a:t>
            </a:r>
            <a:r>
              <a:rPr lang="ru-RU" sz="1350" dirty="0">
                <a:solidFill>
                  <a:srgbClr val="000000"/>
                </a:solidFill>
                <a:latin typeface="Arial"/>
              </a:rPr>
              <a:t>РМЖ</a:t>
            </a:r>
            <a:r>
              <a:rPr lang="ru" sz="1350" dirty="0">
                <a:solidFill>
                  <a:srgbClr val="000000"/>
                </a:solidFill>
                <a:latin typeface="Arial"/>
              </a:rPr>
              <a:t>, в настоящее время относящийся к HER2-отрицательным злокачественным новообразованиям, соответствует пороговым значениям новой предлагаемой категории, называемой РМЖ со слабоположительной экспрессией HER2 (</a:t>
            </a:r>
            <a:r>
              <a:rPr lang="en-US" sz="1350" dirty="0">
                <a:solidFill>
                  <a:srgbClr val="000000"/>
                </a:solidFill>
                <a:latin typeface="Arial"/>
              </a:rPr>
              <a:t>HER2 low)</a:t>
            </a:r>
            <a:r>
              <a:rPr lang="ru-RU" sz="1350" baseline="30000" dirty="0">
                <a:solidFill>
                  <a:srgbClr val="000000"/>
                </a:solidFill>
                <a:latin typeface="Arial"/>
              </a:rPr>
              <a:t>1.</a:t>
            </a:r>
            <a:endParaRPr lang="en" sz="1350" baseline="3000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Получены клинические доказательства того, что анти-HER2-терапия может быть эффективной при применении у пациентов с подтипом рака </a:t>
            </a:r>
            <a:r>
              <a:rPr lang="ru-RU" sz="1350" dirty="0">
                <a:solidFill>
                  <a:srgbClr val="000000"/>
                </a:solidFill>
                <a:latin typeface="Arial"/>
              </a:rPr>
              <a:t>со слабоположительной </a:t>
            </a:r>
            <a:r>
              <a:rPr lang="ru" sz="1350" dirty="0">
                <a:solidFill>
                  <a:srgbClr val="000000"/>
                </a:solidFill>
                <a:latin typeface="Arial"/>
              </a:rPr>
              <a:t>экспрессией HER2</a:t>
            </a:r>
            <a:r>
              <a:rPr lang="en-US" sz="1350" dirty="0">
                <a:solidFill>
                  <a:srgbClr val="000000"/>
                </a:solidFill>
                <a:latin typeface="Arial"/>
              </a:rPr>
              <a:t> </a:t>
            </a:r>
            <a:r>
              <a:rPr lang="ru" sz="1350" dirty="0">
                <a:solidFill>
                  <a:srgbClr val="000000"/>
                </a:solidFill>
                <a:latin typeface="Arial"/>
              </a:rPr>
              <a:t>(</a:t>
            </a:r>
            <a:r>
              <a:rPr lang="en-US" sz="1350" dirty="0">
                <a:solidFill>
                  <a:srgbClr val="000000"/>
                </a:solidFill>
                <a:latin typeface="Arial"/>
              </a:rPr>
              <a:t>HER2 low)</a:t>
            </a:r>
            <a:r>
              <a:rPr lang="ru-RU" sz="1350" baseline="30000" dirty="0">
                <a:solidFill>
                  <a:srgbClr val="000000"/>
                </a:solidFill>
                <a:latin typeface="Arial"/>
              </a:rPr>
              <a:t>2</a:t>
            </a:r>
            <a:r>
              <a:rPr lang="ru-RU" sz="1350" dirty="0">
                <a:solidFill>
                  <a:srgbClr val="000000"/>
                </a:solidFill>
                <a:latin typeface="Arial"/>
              </a:rPr>
              <a:t>.</a:t>
            </a:r>
            <a:endParaRPr lang="ru" sz="135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В настоящее время результаты определения HER2-статуса интерпретируют бинарно:  HER2-положительный и HER2-отрицательный</a:t>
            </a:r>
            <a:r>
              <a:rPr lang="en-US" sz="1350" baseline="30000" dirty="0">
                <a:solidFill>
                  <a:srgbClr val="000000"/>
                </a:solidFill>
                <a:latin typeface="Arial"/>
              </a:rPr>
              <a:t>3</a:t>
            </a:r>
            <a:r>
              <a:rPr lang="ru" sz="1350" baseline="30000" dirty="0">
                <a:solidFill>
                  <a:srgbClr val="000000"/>
                </a:solidFill>
                <a:latin typeface="Arial"/>
              </a:rPr>
              <a:t>-</a:t>
            </a:r>
            <a:r>
              <a:rPr lang="en-US" sz="1350" baseline="30000" dirty="0">
                <a:solidFill>
                  <a:srgbClr val="000000"/>
                </a:solidFill>
                <a:latin typeface="Arial"/>
              </a:rPr>
              <a:t>5</a:t>
            </a:r>
            <a:r>
              <a:rPr lang="ru" sz="1350" baseline="30000" dirty="0">
                <a:solidFill>
                  <a:srgbClr val="000000"/>
                </a:solidFill>
                <a:latin typeface="Arial"/>
              </a:rPr>
              <a:t>.</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В диагностических алгоритмах определения HER2 категория рака </a:t>
            </a:r>
            <a:r>
              <a:rPr lang="ru-RU" sz="1350" dirty="0">
                <a:solidFill>
                  <a:srgbClr val="000000"/>
                </a:solidFill>
                <a:latin typeface="Arial"/>
              </a:rPr>
              <a:t>со слабоположительной </a:t>
            </a:r>
            <a:r>
              <a:rPr lang="ru" sz="1350" dirty="0">
                <a:solidFill>
                  <a:srgbClr val="000000"/>
                </a:solidFill>
                <a:latin typeface="Arial"/>
              </a:rPr>
              <a:t>экспрессией HER2 (</a:t>
            </a:r>
            <a:r>
              <a:rPr lang="en-US" sz="1350" dirty="0">
                <a:solidFill>
                  <a:srgbClr val="000000"/>
                </a:solidFill>
                <a:latin typeface="Arial"/>
              </a:rPr>
              <a:t>HER2 low)</a:t>
            </a:r>
            <a:r>
              <a:rPr lang="ru" sz="1350" dirty="0">
                <a:solidFill>
                  <a:srgbClr val="000000"/>
                </a:solidFill>
                <a:latin typeface="Arial"/>
              </a:rPr>
              <a:t> включает в себя пациентов с ИГХ 1+ или ИГХ 2+ при отрицательном результате ISH, которые традиционно относились к категории HER2-отрицательного рака</a:t>
            </a:r>
            <a:r>
              <a:rPr lang="ru" sz="1350" baseline="30000" dirty="0">
                <a:solidFill>
                  <a:srgbClr val="000000"/>
                </a:solidFill>
                <a:latin typeface="Arial"/>
              </a:rPr>
              <a:t>1</a:t>
            </a:r>
            <a:r>
              <a:rPr lang="ru" sz="1350" dirty="0">
                <a:solidFill>
                  <a:srgbClr val="000000"/>
                </a:solidFill>
                <a:latin typeface="Arial"/>
              </a:rPr>
              <a:t>.</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При использовании нового алгоритма диагностического определения пациентов с РМЖ можно охарактеризовать как HER2-отрицательные, </a:t>
            </a:r>
            <a:r>
              <a:rPr lang="ru-RU" sz="1350" dirty="0">
                <a:solidFill>
                  <a:srgbClr val="000000"/>
                </a:solidFill>
                <a:latin typeface="Arial"/>
              </a:rPr>
              <a:t>со слабоположительной </a:t>
            </a:r>
            <a:r>
              <a:rPr lang="ru" sz="1350" dirty="0">
                <a:solidFill>
                  <a:srgbClr val="000000"/>
                </a:solidFill>
                <a:latin typeface="Arial"/>
              </a:rPr>
              <a:t>экспрессией HER2</a:t>
            </a:r>
            <a:r>
              <a:rPr lang="en-US" sz="1350" dirty="0">
                <a:solidFill>
                  <a:srgbClr val="000000"/>
                </a:solidFill>
                <a:latin typeface="Arial"/>
              </a:rPr>
              <a:t> </a:t>
            </a:r>
            <a:r>
              <a:rPr lang="ru" sz="1350" dirty="0">
                <a:solidFill>
                  <a:srgbClr val="000000"/>
                </a:solidFill>
                <a:latin typeface="Arial"/>
              </a:rPr>
              <a:t>(</a:t>
            </a:r>
            <a:r>
              <a:rPr lang="en-US" sz="1350" dirty="0">
                <a:solidFill>
                  <a:srgbClr val="000000"/>
                </a:solidFill>
                <a:latin typeface="Arial"/>
              </a:rPr>
              <a:t>HER2 low)</a:t>
            </a:r>
            <a:r>
              <a:rPr lang="ru" sz="1350" dirty="0">
                <a:solidFill>
                  <a:srgbClr val="000000"/>
                </a:solidFill>
                <a:latin typeface="Arial"/>
              </a:rPr>
              <a:t> или HER2-положительные</a:t>
            </a:r>
            <a:r>
              <a:rPr lang="ru" sz="1350" baseline="30000" dirty="0">
                <a:solidFill>
                  <a:srgbClr val="000000"/>
                </a:solidFill>
                <a:latin typeface="Arial"/>
              </a:rPr>
              <a:t>1</a:t>
            </a:r>
            <a:r>
              <a:rPr lang="ru" sz="1350" dirty="0">
                <a:solidFill>
                  <a:srgbClr val="000000"/>
                </a:solidFill>
                <a:latin typeface="Arial"/>
              </a:rPr>
              <a:t>.</a:t>
            </a:r>
          </a:p>
        </p:txBody>
      </p:sp>
      <p:sp>
        <p:nvSpPr>
          <p:cNvPr id="3" name="TextBox 2">
            <a:extLst>
              <a:ext uri="{FF2B5EF4-FFF2-40B4-BE49-F238E27FC236}">
                <a16:creationId xmlns:a16="http://schemas.microsoft.com/office/drawing/2014/main" xmlns="" id="{3B9EC6DA-CE28-CE02-7A37-0DB719EC8EBE}"/>
              </a:ext>
            </a:extLst>
          </p:cNvPr>
          <p:cNvSpPr txBox="1"/>
          <p:nvPr/>
        </p:nvSpPr>
        <p:spPr>
          <a:xfrm>
            <a:off x="352005" y="3940395"/>
            <a:ext cx="6779688" cy="502906"/>
          </a:xfrm>
          <a:prstGeom prst="rect">
            <a:avLst/>
          </a:prstGeom>
          <a:noFill/>
          <a:ln>
            <a:solidFill>
              <a:schemeClr val="tx1">
                <a:lumMod val="50000"/>
                <a:lumOff val="50000"/>
              </a:schemeClr>
            </a:solidFill>
          </a:ln>
        </p:spPr>
        <p:txBody>
          <a:bodyPr wrap="none" rtlCol="0">
            <a:noAutofit/>
          </a:bodyPr>
          <a:lstStyle/>
          <a:p>
            <a:pPr algn="l">
              <a:lnSpc>
                <a:spcPct val="90000"/>
              </a:lnSpc>
              <a:spcAft>
                <a:spcPts val="600"/>
              </a:spcAft>
            </a:pPr>
            <a:r>
              <a:rPr lang="ru-RU" sz="1200" i="1" dirty="0">
                <a:solidFill>
                  <a:schemeClr val="tx1">
                    <a:lumMod val="50000"/>
                    <a:lumOff val="50000"/>
                  </a:schemeClr>
                </a:solidFill>
              </a:rPr>
              <a:t>РМЖ – рак молочной железы, ТНРМЖ – тройной негативный рак молочной железы</a:t>
            </a:r>
          </a:p>
          <a:p>
            <a:pPr algn="l">
              <a:lnSpc>
                <a:spcPct val="90000"/>
              </a:lnSpc>
              <a:spcAft>
                <a:spcPts val="600"/>
              </a:spcAft>
            </a:pPr>
            <a:r>
              <a:rPr lang="ru-RU" sz="1200" i="1" dirty="0">
                <a:solidFill>
                  <a:schemeClr val="tx1">
                    <a:lumMod val="50000"/>
                    <a:lumOff val="50000"/>
                  </a:schemeClr>
                </a:solidFill>
              </a:rPr>
              <a:t>ИГХ – </a:t>
            </a:r>
            <a:r>
              <a:rPr lang="ru-RU" sz="1200" i="1" dirty="0" err="1">
                <a:solidFill>
                  <a:schemeClr val="tx1">
                    <a:lumMod val="50000"/>
                    <a:lumOff val="50000"/>
                  </a:schemeClr>
                </a:solidFill>
              </a:rPr>
              <a:t>иммуногистохимия</a:t>
            </a:r>
            <a:r>
              <a:rPr lang="ru-RU" sz="1200" i="1" dirty="0">
                <a:solidFill>
                  <a:schemeClr val="tx1">
                    <a:lumMod val="50000"/>
                    <a:lumOff val="50000"/>
                  </a:schemeClr>
                </a:solidFill>
              </a:rPr>
              <a:t>, </a:t>
            </a:r>
            <a:r>
              <a:rPr lang="en-US" sz="1200" i="1" dirty="0">
                <a:solidFill>
                  <a:schemeClr val="tx1">
                    <a:lumMod val="50000"/>
                    <a:lumOff val="50000"/>
                  </a:schemeClr>
                </a:solidFill>
                <a:latin typeface="Arial"/>
              </a:rPr>
              <a:t>ISH — </a:t>
            </a:r>
            <a:r>
              <a:rPr lang="ru-RU" sz="1200" i="1" dirty="0">
                <a:solidFill>
                  <a:schemeClr val="tx1">
                    <a:lumMod val="50000"/>
                    <a:lumOff val="50000"/>
                  </a:schemeClr>
                </a:solidFill>
                <a:latin typeface="Arial"/>
              </a:rPr>
              <a:t>гибридизация </a:t>
            </a:r>
            <a:r>
              <a:rPr lang="en-US" sz="1200" i="1" dirty="0">
                <a:solidFill>
                  <a:schemeClr val="tx1">
                    <a:lumMod val="50000"/>
                    <a:lumOff val="50000"/>
                  </a:schemeClr>
                </a:solidFill>
                <a:latin typeface="Arial"/>
              </a:rPr>
              <a:t>in situ</a:t>
            </a:r>
            <a:endParaRPr lang="ru-RU" sz="1200" i="1" dirty="0">
              <a:solidFill>
                <a:schemeClr val="tx1">
                  <a:lumMod val="50000"/>
                  <a:lumOff val="50000"/>
                </a:schemeClr>
              </a:solidFill>
              <a:latin typeface="Arial"/>
            </a:endParaRPr>
          </a:p>
        </p:txBody>
      </p:sp>
      <p:sp>
        <p:nvSpPr>
          <p:cNvPr id="7" name="Text Placeholder 3">
            <a:extLst>
              <a:ext uri="{FF2B5EF4-FFF2-40B4-BE49-F238E27FC236}">
                <a16:creationId xmlns:a16="http://schemas.microsoft.com/office/drawing/2014/main" xmlns="" id="{BCF53F97-9EE7-4384-3BF4-717D2B0B2E1E}"/>
              </a:ext>
            </a:extLst>
          </p:cNvPr>
          <p:cNvSpPr txBox="1">
            <a:spLocks/>
          </p:cNvSpPr>
          <p:nvPr/>
        </p:nvSpPr>
        <p:spPr>
          <a:xfrm>
            <a:off x="256962" y="4623516"/>
            <a:ext cx="8542983" cy="334707"/>
          </a:xfrm>
          <a:prstGeom prst="rect">
            <a:avLst/>
          </a:prstGeom>
        </p:spPr>
        <p:txBody>
          <a:bodyPr wrap="square" rtlCol="0" anchor="b" anchorCtr="0">
            <a:spAutoFit/>
          </a:bodyPr>
          <a:lstStyle>
            <a:lvl1pPr marL="0" indent="0" algn="l" defTabSz="457166" rtl="0" eaLnBrk="1" latinLnBrk="0" hangingPunct="1">
              <a:spcBef>
                <a:spcPts val="0"/>
              </a:spcBef>
              <a:buFont typeface="Arial"/>
              <a:buNone/>
              <a:defRPr kumimoji="1" sz="700" kern="1200">
                <a:solidFill>
                  <a:schemeClr val="tx1"/>
                </a:solidFill>
                <a:latin typeface="+mn-lt"/>
                <a:ea typeface="+mn-ea"/>
                <a:cs typeface="+mn-cs"/>
              </a:defRPr>
            </a:lvl1pPr>
            <a:lvl2pPr marL="0" indent="0" algn="l" defTabSz="457166" rtl="0" eaLnBrk="1" latinLnBrk="0" hangingPunct="1">
              <a:spcBef>
                <a:spcPts val="0"/>
              </a:spcBef>
              <a:buFont typeface="Arial"/>
              <a:buNone/>
              <a:defRPr kumimoji="1" sz="700" kern="1200">
                <a:solidFill>
                  <a:schemeClr val="tx1"/>
                </a:solidFill>
                <a:latin typeface="+mn-lt"/>
                <a:ea typeface="+mn-ea"/>
                <a:cs typeface="+mn-cs"/>
              </a:defRPr>
            </a:lvl2pPr>
            <a:lvl3pPr marL="0" indent="0" algn="l" defTabSz="457166" rtl="0" eaLnBrk="1" latinLnBrk="0" hangingPunct="1">
              <a:spcBef>
                <a:spcPts val="0"/>
              </a:spcBef>
              <a:buFont typeface="Arial"/>
              <a:buNone/>
              <a:defRPr kumimoji="1" sz="700" kern="1200">
                <a:solidFill>
                  <a:schemeClr val="tx1"/>
                </a:solidFill>
                <a:latin typeface="+mn-lt"/>
                <a:ea typeface="+mn-ea"/>
                <a:cs typeface="+mn-cs"/>
              </a:defRPr>
            </a:lvl3pPr>
            <a:lvl4pPr marL="0" indent="0" algn="l" defTabSz="457166" rtl="0" eaLnBrk="1" latinLnBrk="0" hangingPunct="1">
              <a:spcBef>
                <a:spcPts val="0"/>
              </a:spcBef>
              <a:buFont typeface="Arial"/>
              <a:buNone/>
              <a:defRPr kumimoji="1" sz="700" kern="1200">
                <a:solidFill>
                  <a:schemeClr val="tx1"/>
                </a:solidFill>
                <a:latin typeface="+mn-lt"/>
                <a:ea typeface="+mn-ea"/>
                <a:cs typeface="+mn-cs"/>
              </a:defRPr>
            </a:lvl4pPr>
            <a:lvl5pPr marL="0" indent="0" algn="l" defTabSz="457166" rtl="0" eaLnBrk="1" latinLnBrk="0" hangingPunct="1">
              <a:spcBef>
                <a:spcPts val="0"/>
              </a:spcBef>
              <a:buFont typeface="Arial"/>
              <a:buNone/>
              <a:defRPr kumimoji="1" sz="700" kern="1200">
                <a:solidFill>
                  <a:schemeClr val="tx1"/>
                </a:solidFill>
                <a:latin typeface="+mn-lt"/>
                <a:ea typeface="+mn-ea"/>
                <a:cs typeface="+mn-cs"/>
              </a:defRPr>
            </a:lvl5pPr>
            <a:lvl6pPr marL="2514411"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6pPr>
            <a:lvl7pPr marL="2971578"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7pPr>
            <a:lvl8pPr marL="3428744"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8pPr>
            <a:lvl9pPr marL="3885909" indent="-228582" algn="l" defTabSz="457166" rtl="0" eaLnBrk="1" latinLnBrk="0" hangingPunct="1">
              <a:spcBef>
                <a:spcPct val="20000"/>
              </a:spcBef>
              <a:buFont typeface="Arial"/>
              <a:buChar char="•"/>
              <a:defRPr kumimoji="1" sz="2000" kern="1200">
                <a:solidFill>
                  <a:schemeClr val="tx1"/>
                </a:solidFill>
                <a:latin typeface="+mn-lt"/>
                <a:ea typeface="+mn-ea"/>
                <a:cs typeface="+mn-cs"/>
              </a:defRPr>
            </a:lvl9pPr>
          </a:lstStyle>
          <a:p>
            <a:pPr defTabSz="342866">
              <a:defRPr/>
            </a:pPr>
            <a:r>
              <a:rPr lang="ru" sz="525" dirty="0">
                <a:solidFill>
                  <a:srgbClr val="000000"/>
                </a:solidFill>
                <a:latin typeface="Arial"/>
              </a:rPr>
              <a:t>1. Tarantino P, et al. </a:t>
            </a:r>
            <a:r>
              <a:rPr lang="ru" sz="525" i="1" dirty="0">
                <a:solidFill>
                  <a:srgbClr val="000000"/>
                </a:solidFill>
                <a:latin typeface="Arial"/>
              </a:rPr>
              <a:t>J Clin Oncol</a:t>
            </a:r>
            <a:r>
              <a:rPr lang="ru" sz="525" dirty="0">
                <a:solidFill>
                  <a:srgbClr val="000000"/>
                </a:solidFill>
                <a:latin typeface="Arial"/>
              </a:rPr>
              <a:t>. 2020;38(17):1951-1962. 2. Schettini F, et al. </a:t>
            </a:r>
            <a:r>
              <a:rPr lang="ru" sz="525" i="1" dirty="0">
                <a:solidFill>
                  <a:srgbClr val="000000"/>
                </a:solidFill>
                <a:latin typeface="Arial"/>
              </a:rPr>
              <a:t>NPJ Breast Cancer. </a:t>
            </a:r>
            <a:r>
              <a:rPr lang="ru" sz="525" dirty="0">
                <a:solidFill>
                  <a:srgbClr val="000000"/>
                </a:solidFill>
                <a:latin typeface="Arial"/>
              </a:rPr>
              <a:t>2021;7(1):1. 3</a:t>
            </a:r>
            <a:r>
              <a:rPr lang="ru" sz="525" b="1" dirty="0">
                <a:solidFill>
                  <a:srgbClr val="000000"/>
                </a:solidFill>
                <a:latin typeface="Arial"/>
              </a:rPr>
              <a:t>. </a:t>
            </a:r>
            <a:r>
              <a:rPr lang="ru" sz="525" dirty="0">
                <a:solidFill>
                  <a:srgbClr val="000000"/>
                </a:solidFill>
                <a:latin typeface="Arial"/>
              </a:rPr>
              <a:t>Wolff AC, et al. </a:t>
            </a:r>
            <a:r>
              <a:rPr lang="ru" sz="525" i="1" dirty="0">
                <a:solidFill>
                  <a:srgbClr val="000000"/>
                </a:solidFill>
                <a:latin typeface="Arial"/>
              </a:rPr>
              <a:t>J Clin Oncol</a:t>
            </a:r>
            <a:r>
              <a:rPr lang="ru" sz="525" dirty="0">
                <a:solidFill>
                  <a:srgbClr val="000000"/>
                </a:solidFill>
                <a:latin typeface="Arial"/>
              </a:rPr>
              <a:t>. 2018;36(20):2105-2122. 4. Marchiò C, et al. </a:t>
            </a:r>
            <a:r>
              <a:rPr lang="ru" sz="525" i="1" dirty="0">
                <a:solidFill>
                  <a:srgbClr val="000000"/>
                </a:solidFill>
                <a:latin typeface="Arial"/>
              </a:rPr>
              <a:t>Semin Cancer Biol</a:t>
            </a:r>
            <a:r>
              <a:rPr lang="ru" sz="525" dirty="0">
                <a:solidFill>
                  <a:srgbClr val="000000"/>
                </a:solidFill>
                <a:latin typeface="Arial"/>
              </a:rPr>
              <a:t>. 2021;72:123-135 2.</a:t>
            </a:r>
            <a:r>
              <a:rPr lang="en-US" sz="525" dirty="0">
                <a:solidFill>
                  <a:srgbClr val="000000"/>
                </a:solidFill>
                <a:latin typeface="Arial"/>
              </a:rPr>
              <a:t> Modi S et al. DESTINY-Breast04 Trial Investigators. Trastuzumab </a:t>
            </a:r>
            <a:r>
              <a:rPr lang="en-US" sz="525" dirty="0" err="1">
                <a:solidFill>
                  <a:srgbClr val="000000"/>
                </a:solidFill>
                <a:latin typeface="Arial"/>
              </a:rPr>
              <a:t>Deruxtecan</a:t>
            </a:r>
            <a:r>
              <a:rPr lang="en-US" sz="525" dirty="0">
                <a:solidFill>
                  <a:srgbClr val="000000"/>
                </a:solidFill>
                <a:latin typeface="Arial"/>
              </a:rPr>
              <a:t> in Previously Treated HER2-Low Advanced Breast Cancer. N </a:t>
            </a:r>
            <a:r>
              <a:rPr lang="en-US" sz="525" dirty="0" err="1">
                <a:solidFill>
                  <a:srgbClr val="000000"/>
                </a:solidFill>
                <a:latin typeface="Arial"/>
              </a:rPr>
              <a:t>Engl</a:t>
            </a:r>
            <a:r>
              <a:rPr lang="en-US" sz="525" dirty="0">
                <a:solidFill>
                  <a:srgbClr val="000000"/>
                </a:solidFill>
                <a:latin typeface="Arial"/>
              </a:rPr>
              <a:t> J Med. 2022 Jul 7;387(1):9-20. </a:t>
            </a:r>
            <a:r>
              <a:rPr lang="en-US" sz="525" dirty="0" err="1">
                <a:solidFill>
                  <a:srgbClr val="000000"/>
                </a:solidFill>
                <a:latin typeface="Arial"/>
              </a:rPr>
              <a:t>doi</a:t>
            </a:r>
            <a:r>
              <a:rPr lang="en-US" sz="525" dirty="0">
                <a:solidFill>
                  <a:srgbClr val="000000"/>
                </a:solidFill>
                <a:latin typeface="Arial"/>
              </a:rPr>
              <a:t>: 10.1056/NEJMoa2203690. </a:t>
            </a:r>
            <a:r>
              <a:rPr lang="en-US" sz="525" dirty="0" err="1">
                <a:solidFill>
                  <a:srgbClr val="000000"/>
                </a:solidFill>
                <a:latin typeface="Arial"/>
              </a:rPr>
              <a:t>Epub</a:t>
            </a:r>
            <a:r>
              <a:rPr lang="en-US" sz="525" dirty="0">
                <a:solidFill>
                  <a:srgbClr val="000000"/>
                </a:solidFill>
                <a:latin typeface="Arial"/>
              </a:rPr>
              <a:t> 2022 Jun 5. PMID: 35665782.</a:t>
            </a:r>
            <a:r>
              <a:rPr lang="ru" sz="525" dirty="0">
                <a:solidFill>
                  <a:srgbClr val="000000"/>
                </a:solidFill>
                <a:latin typeface="Arial"/>
              </a:rPr>
              <a:t> </a:t>
            </a:r>
            <a:r>
              <a:rPr lang="ru-RU" sz="525" dirty="0">
                <a:solidFill>
                  <a:srgbClr val="000000"/>
                </a:solidFill>
                <a:latin typeface="Arial"/>
              </a:rPr>
              <a:t> </a:t>
            </a:r>
            <a:r>
              <a:rPr lang="en-US" sz="525" dirty="0">
                <a:solidFill>
                  <a:srgbClr val="000000"/>
                </a:solidFill>
                <a:latin typeface="Arial"/>
              </a:rPr>
              <a:t>3. </a:t>
            </a:r>
            <a:r>
              <a:rPr lang="ru-RU" sz="525" dirty="0" err="1">
                <a:solidFill>
                  <a:srgbClr val="000000"/>
                </a:solidFill>
                <a:latin typeface="Arial"/>
              </a:rPr>
              <a:t>Burstein</a:t>
            </a:r>
            <a:r>
              <a:rPr lang="ru-RU" sz="525" dirty="0">
                <a:solidFill>
                  <a:srgbClr val="000000"/>
                </a:solidFill>
                <a:latin typeface="Arial"/>
              </a:rPr>
              <a:t> HJ. N </a:t>
            </a:r>
            <a:r>
              <a:rPr lang="ru-RU" sz="525" dirty="0" err="1">
                <a:solidFill>
                  <a:srgbClr val="000000"/>
                </a:solidFill>
                <a:latin typeface="Arial"/>
              </a:rPr>
              <a:t>Engl</a:t>
            </a:r>
            <a:r>
              <a:rPr lang="ru-RU" sz="525" dirty="0">
                <a:solidFill>
                  <a:srgbClr val="000000"/>
                </a:solidFill>
                <a:latin typeface="Arial"/>
              </a:rPr>
              <a:t> J </a:t>
            </a:r>
            <a:r>
              <a:rPr lang="ru-RU" sz="525" dirty="0" err="1">
                <a:solidFill>
                  <a:srgbClr val="000000"/>
                </a:solidFill>
                <a:latin typeface="Arial"/>
              </a:rPr>
              <a:t>Med</a:t>
            </a:r>
            <a:r>
              <a:rPr lang="ru-RU" sz="525" dirty="0">
                <a:solidFill>
                  <a:srgbClr val="000000"/>
                </a:solidFill>
                <a:latin typeface="Arial"/>
              </a:rPr>
              <a:t>. 2005;353(16):1652-1654. </a:t>
            </a:r>
            <a:r>
              <a:rPr lang="en-US" sz="525" dirty="0">
                <a:solidFill>
                  <a:srgbClr val="000000"/>
                </a:solidFill>
                <a:latin typeface="Arial"/>
              </a:rPr>
              <a:t>4</a:t>
            </a:r>
            <a:r>
              <a:rPr lang="ru-RU" sz="525" dirty="0">
                <a:solidFill>
                  <a:srgbClr val="000000"/>
                </a:solidFill>
                <a:latin typeface="Arial"/>
              </a:rPr>
              <a:t>. </a:t>
            </a:r>
            <a:r>
              <a:rPr lang="ru-RU" sz="525" dirty="0" err="1">
                <a:solidFill>
                  <a:srgbClr val="000000"/>
                </a:solidFill>
                <a:latin typeface="Arial"/>
              </a:rPr>
              <a:t>Cronin</a:t>
            </a:r>
            <a:r>
              <a:rPr lang="ru-RU" sz="525" dirty="0">
                <a:solidFill>
                  <a:srgbClr val="000000"/>
                </a:solidFill>
                <a:latin typeface="Arial"/>
              </a:rPr>
              <a:t> KA, </a:t>
            </a:r>
            <a:r>
              <a:rPr lang="ru-RU" sz="525" dirty="0" err="1">
                <a:solidFill>
                  <a:srgbClr val="000000"/>
                </a:solidFill>
                <a:latin typeface="Arial"/>
              </a:rPr>
              <a:t>et</a:t>
            </a:r>
            <a:r>
              <a:rPr lang="ru-RU" sz="525" dirty="0">
                <a:solidFill>
                  <a:srgbClr val="000000"/>
                </a:solidFill>
                <a:latin typeface="Arial"/>
              </a:rPr>
              <a:t> </a:t>
            </a:r>
            <a:r>
              <a:rPr lang="ru-RU" sz="525" dirty="0" err="1">
                <a:solidFill>
                  <a:srgbClr val="000000"/>
                </a:solidFill>
                <a:latin typeface="Arial"/>
              </a:rPr>
              <a:t>al</a:t>
            </a:r>
            <a:r>
              <a:rPr lang="ru-RU" sz="525" dirty="0">
                <a:solidFill>
                  <a:srgbClr val="000000"/>
                </a:solidFill>
                <a:latin typeface="Arial"/>
              </a:rPr>
              <a:t>. </a:t>
            </a:r>
            <a:r>
              <a:rPr lang="ru-RU" sz="525" dirty="0" err="1">
                <a:solidFill>
                  <a:srgbClr val="000000"/>
                </a:solidFill>
                <a:latin typeface="Arial"/>
              </a:rPr>
              <a:t>Cancer</a:t>
            </a:r>
            <a:r>
              <a:rPr lang="ru-RU" sz="525" dirty="0">
                <a:solidFill>
                  <a:srgbClr val="000000"/>
                </a:solidFill>
                <a:latin typeface="Arial"/>
              </a:rPr>
              <a:t> Invest. 2010;28(9):963-968. </a:t>
            </a:r>
            <a:r>
              <a:rPr lang="en-US" sz="525" dirty="0">
                <a:solidFill>
                  <a:srgbClr val="000000"/>
                </a:solidFill>
                <a:latin typeface="Arial"/>
              </a:rPr>
              <a:t>5</a:t>
            </a:r>
            <a:r>
              <a:rPr lang="ru-RU" sz="525" dirty="0">
                <a:solidFill>
                  <a:srgbClr val="000000"/>
                </a:solidFill>
                <a:latin typeface="Arial"/>
              </a:rPr>
              <a:t>. . NCCN </a:t>
            </a:r>
            <a:r>
              <a:rPr lang="ru-RU" sz="525" dirty="0" err="1">
                <a:solidFill>
                  <a:srgbClr val="000000"/>
                </a:solidFill>
                <a:latin typeface="Arial"/>
              </a:rPr>
              <a:t>Guidelines</a:t>
            </a:r>
            <a:r>
              <a:rPr lang="ru-RU" sz="525" dirty="0">
                <a:solidFill>
                  <a:srgbClr val="000000"/>
                </a:solidFill>
                <a:latin typeface="Arial"/>
              </a:rPr>
              <a:t> v.3.2022 электронный ресурс </a:t>
            </a:r>
            <a:r>
              <a:rPr lang="ru" sz="500" dirty="0">
                <a:solidFill>
                  <a:srgbClr val="000000"/>
                </a:solidFill>
                <a:latin typeface="+mj-lt"/>
              </a:rPr>
              <a:t>. </a:t>
            </a:r>
            <a:r>
              <a:rPr lang="en-US" sz="500" dirty="0">
                <a:solidFill>
                  <a:schemeClr val="accent6">
                    <a:lumMod val="50000"/>
                  </a:schemeClr>
                </a:solidFill>
                <a:latin typeface="+mj-lt"/>
              </a:rPr>
              <a:t>NCCN </a:t>
            </a:r>
            <a:r>
              <a:rPr lang="en-US" sz="500" dirty="0">
                <a:latin typeface="+mj-lt"/>
              </a:rPr>
              <a:t>Guidelines v.3.2022</a:t>
            </a:r>
            <a:r>
              <a:rPr lang="ru-RU" sz="500" dirty="0">
                <a:latin typeface="+mj-lt"/>
              </a:rPr>
              <a:t> электронный ресурс </a:t>
            </a:r>
            <a:r>
              <a:rPr lang="ru-RU" sz="500" dirty="0">
                <a:latin typeface="+mj-lt"/>
                <a:hlinkClick r:id="rId3"/>
              </a:rPr>
              <a:t>https://www.nccn.org/guidelines/guidelines-detail?category=1&amp;id=1419</a:t>
            </a:r>
            <a:r>
              <a:rPr lang="ru-RU" sz="500" dirty="0">
                <a:latin typeface="+mj-lt"/>
              </a:rPr>
              <a:t> дата обращения 16.03.2023</a:t>
            </a:r>
            <a:r>
              <a:rPr lang="ru-RU" sz="525" dirty="0">
                <a:solidFill>
                  <a:srgbClr val="000000"/>
                </a:solidFill>
                <a:latin typeface="Arial"/>
              </a:rPr>
              <a:t> дата обращения 16.03.2023 </a:t>
            </a:r>
            <a:endParaRPr lang="en-US" sz="525" dirty="0">
              <a:solidFill>
                <a:srgbClr val="000000"/>
              </a:solidFill>
              <a:latin typeface="Arial"/>
            </a:endParaRPr>
          </a:p>
        </p:txBody>
      </p:sp>
    </p:spTree>
    <p:extLst>
      <p:ext uri="{BB962C8B-B14F-4D97-AF65-F5344CB8AC3E}">
        <p14:creationId xmlns:p14="http://schemas.microsoft.com/office/powerpoint/2010/main" val="19664245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7D6695-0FA5-4D13-AE90-01E1A4A35236}"/>
              </a:ext>
            </a:extLst>
          </p:cNvPr>
          <p:cNvSpPr>
            <a:spLocks noGrp="1"/>
          </p:cNvSpPr>
          <p:nvPr>
            <p:ph type="title"/>
          </p:nvPr>
        </p:nvSpPr>
        <p:spPr>
          <a:xfrm>
            <a:off x="216001" y="1107561"/>
            <a:ext cx="8539810" cy="962778"/>
          </a:xfrm>
        </p:spPr>
        <p:txBody>
          <a:bodyPr/>
          <a:lstStyle/>
          <a:p>
            <a:r>
              <a:rPr lang="ru-RU" dirty="0"/>
              <a:t>Определение </a:t>
            </a:r>
            <a:r>
              <a:rPr lang="en-US" dirty="0"/>
              <a:t>HER2 </a:t>
            </a:r>
            <a:r>
              <a:rPr lang="ru-RU" dirty="0"/>
              <a:t>статуса при раке желудка</a:t>
            </a:r>
            <a:br>
              <a:rPr lang="ru-RU" dirty="0"/>
            </a:br>
            <a:r>
              <a:rPr lang="ru-RU" dirty="0"/>
              <a:t>Особенности морфологической диагностики</a:t>
            </a:r>
            <a:br>
              <a:rPr lang="ru-RU" dirty="0"/>
            </a:br>
            <a:r>
              <a:rPr lang="ru-RU" dirty="0"/>
              <a:t/>
            </a:r>
            <a:br>
              <a:rPr lang="ru-RU" dirty="0"/>
            </a:br>
            <a:endParaRPr lang="en-US" dirty="0"/>
          </a:p>
        </p:txBody>
      </p:sp>
    </p:spTree>
    <p:extLst>
      <p:ext uri="{BB962C8B-B14F-4D97-AF65-F5344CB8AC3E}">
        <p14:creationId xmlns:p14="http://schemas.microsoft.com/office/powerpoint/2010/main" val="8063409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1">
            <a:extLst>
              <a:ext uri="{FF2B5EF4-FFF2-40B4-BE49-F238E27FC236}">
                <a16:creationId xmlns:a16="http://schemas.microsoft.com/office/drawing/2014/main" xmlns="" id="{3BB5CD86-3FCD-4BAF-A939-077A5D589126}"/>
              </a:ext>
            </a:extLst>
          </p:cNvPr>
          <p:cNvSpPr txBox="1">
            <a:spLocks/>
          </p:cNvSpPr>
          <p:nvPr/>
        </p:nvSpPr>
        <p:spPr>
          <a:xfrm>
            <a:off x="43803" y="-65406"/>
            <a:ext cx="8886900" cy="1158774"/>
          </a:xfrm>
          <a:prstGeom prst="rect">
            <a:avLst/>
          </a:prstGeom>
        </p:spPr>
        <p:txBody>
          <a:bodyPr vert="horz">
            <a:normAutofit fontScale="97500"/>
          </a:bodyPr>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ru-RU" dirty="0"/>
              <a:t>Рак желудка: </a:t>
            </a:r>
            <a:r>
              <a:rPr lang="ru-RU" b="0" dirty="0"/>
              <a:t>следует определять экспрессию/амплификацию HER2 в опухолевой ткани для определения тактики лечения</a:t>
            </a:r>
            <a:br>
              <a:rPr lang="ru-RU" b="0" dirty="0"/>
            </a:br>
            <a:endParaRPr lang="ru-RU" sz="2000" b="0" dirty="0"/>
          </a:p>
        </p:txBody>
      </p:sp>
      <p:grpSp>
        <p:nvGrpSpPr>
          <p:cNvPr id="20" name="Group 11">
            <a:extLst>
              <a:ext uri="{FF2B5EF4-FFF2-40B4-BE49-F238E27FC236}">
                <a16:creationId xmlns:a16="http://schemas.microsoft.com/office/drawing/2014/main" xmlns="" id="{86A4697B-5738-4C9C-9590-B53F5A2C93AA}"/>
              </a:ext>
            </a:extLst>
          </p:cNvPr>
          <p:cNvGrpSpPr/>
          <p:nvPr/>
        </p:nvGrpSpPr>
        <p:grpSpPr>
          <a:xfrm>
            <a:off x="43803" y="706722"/>
            <a:ext cx="8116785" cy="2200380"/>
            <a:chOff x="902698" y="1971239"/>
            <a:chExt cx="10010848" cy="2974550"/>
          </a:xfrm>
        </p:grpSpPr>
        <p:pic>
          <p:nvPicPr>
            <p:cNvPr id="21" name="Picture 4">
              <a:extLst>
                <a:ext uri="{FF2B5EF4-FFF2-40B4-BE49-F238E27FC236}">
                  <a16:creationId xmlns:a16="http://schemas.microsoft.com/office/drawing/2014/main" xmlns="" id="{F05D4B3C-C25D-4DE1-BF17-3694F620780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998358" y="1971239"/>
              <a:ext cx="1601039" cy="946874"/>
            </a:xfrm>
            <a:prstGeom prst="rect">
              <a:avLst/>
            </a:prstGeom>
          </p:spPr>
        </p:pic>
        <p:pic>
          <p:nvPicPr>
            <p:cNvPr id="22" name="Picture 5">
              <a:extLst>
                <a:ext uri="{FF2B5EF4-FFF2-40B4-BE49-F238E27FC236}">
                  <a16:creationId xmlns:a16="http://schemas.microsoft.com/office/drawing/2014/main" xmlns="" id="{D18E246D-49F1-40C3-8E0F-1852C3E25D3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215010" y="2085003"/>
              <a:ext cx="2249008" cy="789897"/>
            </a:xfrm>
            <a:prstGeom prst="rect">
              <a:avLst/>
            </a:prstGeom>
          </p:spPr>
        </p:pic>
        <p:sp>
          <p:nvSpPr>
            <p:cNvPr id="23" name="Content Placeholder 9">
              <a:extLst>
                <a:ext uri="{FF2B5EF4-FFF2-40B4-BE49-F238E27FC236}">
                  <a16:creationId xmlns:a16="http://schemas.microsoft.com/office/drawing/2014/main" xmlns="" id="{13154257-DBB7-4F84-9882-1DEF10365157}"/>
                </a:ext>
              </a:extLst>
            </p:cNvPr>
            <p:cNvSpPr txBox="1">
              <a:spLocks/>
            </p:cNvSpPr>
            <p:nvPr/>
          </p:nvSpPr>
          <p:spPr>
            <a:xfrm>
              <a:off x="902698" y="2953390"/>
              <a:ext cx="3054984" cy="686313"/>
            </a:xfrm>
            <a:prstGeom prst="rect">
              <a:avLst/>
            </a:prstGeom>
          </p:spPr>
          <p:txBody>
            <a:bodyPr lIns="0" rIns="0" rtlCol="0"/>
            <a:lstStyle>
              <a:defPPr>
                <a:defRPr lang="en-US"/>
              </a:defPPr>
              <a:lvl1pPr marL="115879" indent="-115879" defTabSz="457166">
                <a:spcBef>
                  <a:spcPts val="600"/>
                </a:spcBef>
                <a:buClr>
                  <a:srgbClr val="C4D600"/>
                </a:buClr>
                <a:buFont typeface="Arial"/>
                <a:buChar char="•"/>
                <a:defRPr kumimoji="1" sz="1100">
                  <a:solidFill>
                    <a:srgbClr val="3F4444"/>
                  </a:solidFill>
                  <a:latin typeface="Arial"/>
                </a:defRPr>
              </a:lvl1pPr>
              <a:lvl2pPr marL="685800" indent="-457200" defTabSz="457200">
                <a:spcBef>
                  <a:spcPct val="20000"/>
                </a:spcBef>
                <a:buFont typeface="Arial"/>
                <a:buChar char="–"/>
                <a:defRPr kumimoji="1" sz="2800"/>
              </a:lvl2pPr>
              <a:lvl3pPr marL="742950" indent="-285750" defTabSz="457200">
                <a:spcBef>
                  <a:spcPct val="20000"/>
                </a:spcBef>
                <a:buFont typeface="Arial"/>
                <a:buChar char="•"/>
                <a:defRPr kumimoji="1" sz="1800">
                  <a:solidFill>
                    <a:schemeClr val="tx2"/>
                  </a:solidFill>
                </a:defRPr>
              </a:lvl3pPr>
              <a:lvl4pPr marL="971550" indent="-285750" defTabSz="457200">
                <a:spcBef>
                  <a:spcPct val="20000"/>
                </a:spcBef>
                <a:buFont typeface="Arial"/>
                <a:buChar char="–"/>
                <a:defRPr kumimoji="1" sz="1400">
                  <a:solidFill>
                    <a:schemeClr val="tx2"/>
                  </a:solidFill>
                </a:defRPr>
              </a:lvl4pPr>
              <a:lvl5pPr marL="2057400" indent="-228600" defTabSz="457200">
                <a:spcBef>
                  <a:spcPct val="20000"/>
                </a:spcBef>
                <a:buFont typeface="Arial"/>
                <a:buChar char="»"/>
                <a:defRPr kumimoji="1" sz="1400">
                  <a:solidFill>
                    <a:schemeClr val="tx2"/>
                  </a:solidFill>
                </a:defRPr>
              </a:lvl5pPr>
              <a:lvl6pPr marL="2514600" indent="-228600" defTabSz="457200">
                <a:spcBef>
                  <a:spcPct val="20000"/>
                </a:spcBef>
                <a:buFont typeface="Arial"/>
                <a:buChar char="•"/>
                <a:defRPr kumimoji="1" sz="2000"/>
              </a:lvl6pPr>
              <a:lvl7pPr marL="2971800" indent="-228600" defTabSz="457200">
                <a:spcBef>
                  <a:spcPct val="20000"/>
                </a:spcBef>
                <a:buFont typeface="Arial"/>
                <a:buChar char="•"/>
                <a:defRPr kumimoji="1" sz="2000"/>
              </a:lvl7pPr>
              <a:lvl8pPr marL="3429000" indent="-228600" defTabSz="457200">
                <a:spcBef>
                  <a:spcPct val="20000"/>
                </a:spcBef>
                <a:buFont typeface="Arial"/>
                <a:buChar char="•"/>
                <a:defRPr kumimoji="1" sz="2000"/>
              </a:lvl8pPr>
              <a:lvl9pPr marL="3886200" indent="-228600" defTabSz="457200">
                <a:spcBef>
                  <a:spcPct val="20000"/>
                </a:spcBef>
                <a:buFont typeface="Arial"/>
                <a:buChar char="•"/>
                <a:defRPr kumimoji="1" sz="2000"/>
              </a:lvl9pPr>
            </a:lstStyle>
            <a:p>
              <a:pPr algn="l"/>
              <a:r>
                <a:rPr lang="ru-RU" sz="1400" b="1" i="0" u="none" strike="noStrike" baseline="0" dirty="0">
                  <a:solidFill>
                    <a:schemeClr val="tx1"/>
                  </a:solidFill>
                  <a:latin typeface="Arial" panose="020B0604020202020204" pitchFamily="34" charset="0"/>
                </a:rPr>
                <a:t>Тестирование на </a:t>
              </a:r>
              <a:r>
                <a:rPr lang="en-GB" sz="1400" b="1" i="0" u="none" strike="noStrike" baseline="0" dirty="0">
                  <a:solidFill>
                    <a:schemeClr val="tx1"/>
                  </a:solidFill>
                  <a:latin typeface="Arial" panose="020B0604020202020204" pitchFamily="34" charset="0"/>
                </a:rPr>
                <a:t>HER2 </a:t>
              </a:r>
              <a:r>
                <a:rPr lang="ru-RU" sz="1400" b="0" i="0" u="none" strike="noStrike" baseline="0" dirty="0">
                  <a:solidFill>
                    <a:schemeClr val="tx1"/>
                  </a:solidFill>
                  <a:latin typeface="Arial" panose="020B0604020202020204" pitchFamily="34" charset="0"/>
                </a:rPr>
                <a:t>рекомендовано всем пациентам с диагнозом рак желудка в момент постановки диагноза, если зарегистрирован или заподозрен метастатический процесс. </a:t>
              </a:r>
            </a:p>
            <a:p>
              <a:pPr algn="l"/>
              <a:r>
                <a:rPr lang="ru-RU" sz="1400" dirty="0">
                  <a:solidFill>
                    <a:schemeClr val="tx1"/>
                  </a:solidFill>
                  <a:latin typeface="Arial" panose="020B0604020202020204" pitchFamily="34" charset="0"/>
                </a:rPr>
                <a:t>В первую очередь с целью диагностики должны быть рассмотрены методы ИГХ</a:t>
              </a:r>
              <a:r>
                <a:rPr lang="en-GB" sz="1400" dirty="0">
                  <a:solidFill>
                    <a:schemeClr val="tx1"/>
                  </a:solidFill>
                  <a:latin typeface="Arial" panose="020B0604020202020204" pitchFamily="34" charset="0"/>
                </a:rPr>
                <a:t>/ISH</a:t>
              </a:r>
              <a:r>
                <a:rPr lang="ru-RU" sz="1400" dirty="0">
                  <a:solidFill>
                    <a:schemeClr val="tx1"/>
                  </a:solidFill>
                  <a:latin typeface="Arial" panose="020B0604020202020204" pitchFamily="34" charset="0"/>
                </a:rPr>
                <a:t> с последующим </a:t>
              </a:r>
              <a:r>
                <a:rPr lang="en-GB" sz="1400" dirty="0">
                  <a:solidFill>
                    <a:schemeClr val="tx1"/>
                  </a:solidFill>
                  <a:latin typeface="Arial" panose="020B0604020202020204" pitchFamily="34" charset="0"/>
                </a:rPr>
                <a:t>NGS</a:t>
              </a:r>
              <a:r>
                <a:rPr lang="ru-RU" sz="1400" dirty="0">
                  <a:solidFill>
                    <a:schemeClr val="tx1"/>
                  </a:solidFill>
                  <a:latin typeface="Arial" panose="020B0604020202020204" pitchFamily="34" charset="0"/>
                </a:rPr>
                <a:t>-тестированием при необходимости. </a:t>
              </a:r>
              <a:r>
                <a:rPr lang="en-GB" sz="1400" dirty="0">
                  <a:solidFill>
                    <a:schemeClr val="tx1"/>
                  </a:solidFill>
                  <a:latin typeface="Arial" panose="020B0604020202020204" pitchFamily="34" charset="0"/>
                </a:rPr>
                <a:t> </a:t>
              </a:r>
              <a:endParaRPr kumimoji="1" lang="ru" sz="1400" b="0" i="0" u="none" strike="noStrike" kern="1200" cap="none" spc="0" normalizeH="0" baseline="30000" noProof="0" dirty="0">
                <a:ln>
                  <a:noFill/>
                </a:ln>
                <a:solidFill>
                  <a:schemeClr val="tx1"/>
                </a:solidFill>
                <a:effectLst/>
                <a:uLnTx/>
                <a:uFillTx/>
                <a:latin typeface="Arial"/>
                <a:ea typeface="+mn-ea"/>
                <a:cs typeface="+mn-cs"/>
              </a:endParaRPr>
            </a:p>
          </p:txBody>
        </p:sp>
        <p:sp>
          <p:nvSpPr>
            <p:cNvPr id="24" name="Content Placeholder 9">
              <a:extLst>
                <a:ext uri="{FF2B5EF4-FFF2-40B4-BE49-F238E27FC236}">
                  <a16:creationId xmlns:a16="http://schemas.microsoft.com/office/drawing/2014/main" xmlns="" id="{5EE055C9-9EDF-486D-ABDE-95CBB18FF8F2}"/>
                </a:ext>
              </a:extLst>
            </p:cNvPr>
            <p:cNvSpPr txBox="1">
              <a:spLocks/>
            </p:cNvSpPr>
            <p:nvPr/>
          </p:nvSpPr>
          <p:spPr>
            <a:xfrm>
              <a:off x="4004073" y="2958896"/>
              <a:ext cx="2356234" cy="1566471"/>
            </a:xfrm>
            <a:prstGeom prst="rect">
              <a:avLst/>
            </a:prstGeom>
          </p:spPr>
          <p:txBody>
            <a:bodyPr lIns="0" rIns="0" rtlCol="0"/>
            <a:lstStyle>
              <a:lvl1pPr marL="342900" indent="-342900" algn="l" defTabSz="457200" rtl="0" eaLnBrk="1" latinLnBrk="0" hangingPunct="1">
                <a:spcBef>
                  <a:spcPct val="20000"/>
                </a:spcBef>
                <a:buFont typeface="Arial"/>
                <a:buChar char="•"/>
                <a:defRPr kumimoji="1" lang="en-US" sz="2000" kern="1200" dirty="0" smtClean="0">
                  <a:solidFill>
                    <a:schemeClr val="tx2"/>
                  </a:solidFill>
                  <a:latin typeface="+mn-lt"/>
                  <a:ea typeface="+mn-ea"/>
                  <a:cs typeface="+mn-cs"/>
                </a:defRPr>
              </a:lvl1pPr>
              <a:lvl2pPr marL="685800" indent="-457200" algn="l" defTabSz="457200" rtl="0" eaLnBrk="1" latinLnBrk="0" hangingPunct="1">
                <a:spcBef>
                  <a:spcPct val="20000"/>
                </a:spcBef>
                <a:buFont typeface="Arial"/>
                <a:buChar char="–"/>
                <a:defRPr kumimoji="1" sz="2800" kern="1200">
                  <a:solidFill>
                    <a:schemeClr val="tx1"/>
                  </a:solidFill>
                  <a:latin typeface="+mn-lt"/>
                  <a:ea typeface="+mn-ea"/>
                  <a:cs typeface="+mn-cs"/>
                </a:defRPr>
              </a:lvl2pPr>
              <a:lvl3pPr marL="742950" indent="-285750" algn="l" defTabSz="457200" rtl="0" eaLnBrk="1" latinLnBrk="0" hangingPunct="1">
                <a:spcBef>
                  <a:spcPct val="20000"/>
                </a:spcBef>
                <a:buFont typeface="Arial"/>
                <a:buChar char="•"/>
                <a:defRPr kumimoji="1" lang="en-US" sz="1800" kern="1200" dirty="0" smtClean="0">
                  <a:solidFill>
                    <a:schemeClr val="tx2"/>
                  </a:solidFill>
                  <a:latin typeface="+mn-lt"/>
                  <a:ea typeface="+mn-ea"/>
                  <a:cs typeface="+mn-cs"/>
                </a:defRPr>
              </a:lvl3pPr>
              <a:lvl4pPr marL="971550" indent="-285750" algn="l" defTabSz="457200" rtl="0" eaLnBrk="1" latinLnBrk="0" hangingPunct="1">
                <a:spcBef>
                  <a:spcPct val="20000"/>
                </a:spcBef>
                <a:buFont typeface="Arial"/>
                <a:buChar char="–"/>
                <a:defRPr kumimoji="1" lang="en-US" sz="1400" kern="1200" dirty="0" smtClean="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kumimoji="1" lang="en-US" sz="1400" kern="1200" dirty="0" smtClean="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166" rtl="0" eaLnBrk="1" fontAlgn="auto" latinLnBrk="0" hangingPunct="1">
                <a:lnSpc>
                  <a:spcPct val="100000"/>
                </a:lnSpc>
                <a:spcBef>
                  <a:spcPts val="600"/>
                </a:spcBef>
                <a:spcAft>
                  <a:spcPts val="0"/>
                </a:spcAft>
                <a:buClr>
                  <a:srgbClr val="68D2DF"/>
                </a:buClr>
                <a:buSzTx/>
                <a:buFont typeface="Arial"/>
                <a:buNone/>
                <a:tabLst/>
                <a:defRPr/>
              </a:pPr>
              <a:r>
                <a:rPr lang="ru-RU" sz="1400" b="1" dirty="0">
                  <a:solidFill>
                    <a:schemeClr val="tx1"/>
                  </a:solidFill>
                </a:rPr>
                <a:t>Экспрессия </a:t>
              </a:r>
              <a:r>
                <a:rPr lang="en-GB" sz="1400" b="1" dirty="0">
                  <a:solidFill>
                    <a:schemeClr val="tx1"/>
                  </a:solidFill>
                </a:rPr>
                <a:t>HER2</a:t>
              </a:r>
              <a:r>
                <a:rPr lang="ru-RU" sz="1400" b="1" dirty="0">
                  <a:solidFill>
                    <a:schemeClr val="tx1"/>
                  </a:solidFill>
                </a:rPr>
                <a:t> </a:t>
              </a:r>
              <a:r>
                <a:rPr lang="ru-RU" sz="1400" dirty="0">
                  <a:solidFill>
                    <a:schemeClr val="tx1"/>
                  </a:solidFill>
                </a:rPr>
                <a:t>с помощью ИГХ и/или амплификации путем гибридизации </a:t>
              </a:r>
              <a:r>
                <a:rPr lang="en-GB" sz="1400" dirty="0">
                  <a:solidFill>
                    <a:schemeClr val="tx1"/>
                  </a:solidFill>
                </a:rPr>
                <a:t>in situ [I, A; </a:t>
              </a:r>
              <a:r>
                <a:rPr lang="ru-RU" sz="1400" dirty="0">
                  <a:solidFill>
                    <a:schemeClr val="tx1"/>
                  </a:solidFill>
                </a:rPr>
                <a:t>шкала </a:t>
              </a:r>
              <a:r>
                <a:rPr lang="en-GB" sz="1400" dirty="0">
                  <a:solidFill>
                    <a:schemeClr val="tx1"/>
                  </a:solidFill>
                </a:rPr>
                <a:t>ESCAT: I-A], PD-L1 </a:t>
              </a:r>
              <a:r>
                <a:rPr lang="ru-RU" sz="1400" dirty="0">
                  <a:solidFill>
                    <a:schemeClr val="tx1"/>
                  </a:solidFill>
                </a:rPr>
                <a:t>с помощью ИГХ согласно</a:t>
              </a:r>
              <a:r>
                <a:rPr lang="en-GB" sz="1400" dirty="0">
                  <a:solidFill>
                    <a:schemeClr val="tx1"/>
                  </a:solidFill>
                </a:rPr>
                <a:t> CPS [I, A] </a:t>
              </a:r>
              <a:r>
                <a:rPr lang="ru-RU" sz="1400" dirty="0">
                  <a:solidFill>
                    <a:schemeClr val="tx1"/>
                  </a:solidFill>
                </a:rPr>
                <a:t>и</a:t>
              </a:r>
              <a:r>
                <a:rPr lang="en-GB" sz="1400" dirty="0">
                  <a:solidFill>
                    <a:schemeClr val="tx1"/>
                  </a:solidFill>
                </a:rPr>
                <a:t> MSI-H/</a:t>
              </a:r>
              <a:r>
                <a:rPr lang="en-GB" sz="1400" dirty="0" err="1">
                  <a:solidFill>
                    <a:schemeClr val="tx1"/>
                  </a:solidFill>
                </a:rPr>
                <a:t>dMMR</a:t>
              </a:r>
              <a:r>
                <a:rPr lang="en-GB" sz="1400" dirty="0">
                  <a:solidFill>
                    <a:schemeClr val="tx1"/>
                  </a:solidFill>
                </a:rPr>
                <a:t> [II, A; </a:t>
              </a:r>
              <a:r>
                <a:rPr lang="ru-RU" sz="1400" dirty="0">
                  <a:solidFill>
                    <a:schemeClr val="tx1"/>
                  </a:solidFill>
                </a:rPr>
                <a:t>шкала </a:t>
              </a:r>
              <a:r>
                <a:rPr lang="en-GB" sz="1400" dirty="0">
                  <a:solidFill>
                    <a:schemeClr val="tx1"/>
                  </a:solidFill>
                </a:rPr>
                <a:t>ESCAT: I-B] </a:t>
              </a:r>
              <a:r>
                <a:rPr lang="ru-RU" sz="1400" dirty="0">
                  <a:solidFill>
                    <a:schemeClr val="tx1"/>
                  </a:solidFill>
                </a:rPr>
                <a:t>являются </a:t>
              </a:r>
              <a:r>
                <a:rPr lang="ru-RU" sz="1400" dirty="0" err="1">
                  <a:solidFill>
                    <a:schemeClr val="tx1"/>
                  </a:solidFill>
                </a:rPr>
                <a:t>валидированным</a:t>
              </a:r>
              <a:r>
                <a:rPr lang="ru-RU" sz="1400" dirty="0">
                  <a:solidFill>
                    <a:schemeClr val="tx1"/>
                  </a:solidFill>
                </a:rPr>
                <a:t> предиктивными </a:t>
              </a:r>
              <a:r>
                <a:rPr lang="ru-RU" sz="1400" dirty="0" err="1">
                  <a:solidFill>
                    <a:schemeClr val="tx1"/>
                  </a:solidFill>
                </a:rPr>
                <a:t>биомаркерами</a:t>
              </a:r>
              <a:r>
                <a:rPr lang="ru-RU" sz="1400" dirty="0">
                  <a:solidFill>
                    <a:schemeClr val="tx1"/>
                  </a:solidFill>
                </a:rPr>
                <a:t> ответа на терапию. </a:t>
              </a:r>
              <a:endParaRPr kumimoji="1" lang="en-GB" sz="1400" b="0" i="0" u="none" strike="noStrike" kern="1200" cap="none" spc="0" normalizeH="0" baseline="0" noProof="0" dirty="0">
                <a:ln>
                  <a:noFill/>
                </a:ln>
                <a:solidFill>
                  <a:schemeClr val="tx1"/>
                </a:solidFill>
                <a:effectLst/>
                <a:uLnTx/>
                <a:uFillTx/>
                <a:latin typeface="Arial"/>
                <a:ea typeface="+mn-ea"/>
                <a:cs typeface="+mn-cs"/>
              </a:endParaRPr>
            </a:p>
          </p:txBody>
        </p:sp>
        <p:sp>
          <p:nvSpPr>
            <p:cNvPr id="25" name="Content Placeholder 9">
              <a:extLst>
                <a:ext uri="{FF2B5EF4-FFF2-40B4-BE49-F238E27FC236}">
                  <a16:creationId xmlns:a16="http://schemas.microsoft.com/office/drawing/2014/main" xmlns="" id="{69FFF4B0-01B4-43E6-A5CA-D23555F8915B}"/>
                </a:ext>
              </a:extLst>
            </p:cNvPr>
            <p:cNvSpPr txBox="1">
              <a:spLocks/>
            </p:cNvSpPr>
            <p:nvPr/>
          </p:nvSpPr>
          <p:spPr>
            <a:xfrm>
              <a:off x="6806536" y="2874900"/>
              <a:ext cx="4107010" cy="2070889"/>
            </a:xfrm>
            <a:prstGeom prst="rect">
              <a:avLst/>
            </a:prstGeom>
          </p:spPr>
          <p:txBody>
            <a:bodyPr rtlCol="0"/>
            <a:lstStyle>
              <a:lvl1pPr marL="457189" indent="-457189" algn="l" defTabSz="609585" rtl="0" eaLnBrk="1" latinLnBrk="0" hangingPunct="1">
                <a:spcBef>
                  <a:spcPct val="20000"/>
                </a:spcBef>
                <a:buFont typeface="Arial"/>
                <a:buChar char="•"/>
                <a:defRPr kumimoji="1"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kumimoji="1"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kumimoji="1"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609540" rtl="0" eaLnBrk="1" fontAlgn="auto" latinLnBrk="0" hangingPunct="1">
                <a:lnSpc>
                  <a:spcPct val="100000"/>
                </a:lnSpc>
                <a:spcBef>
                  <a:spcPts val="600"/>
                </a:spcBef>
                <a:spcAft>
                  <a:spcPts val="0"/>
                </a:spcAft>
                <a:buClr>
                  <a:srgbClr val="68D2DF"/>
                </a:buClr>
                <a:buSzTx/>
                <a:buFont typeface="Arial"/>
                <a:buNone/>
                <a:tabLst/>
                <a:defRPr/>
              </a:pPr>
              <a:r>
                <a:rPr kumimoji="1" lang="ru-RU" sz="1400" b="0" i="0" u="none" strike="noStrike" kern="1200" cap="none" spc="0" normalizeH="0" baseline="0" noProof="0" dirty="0">
                  <a:ln>
                    <a:noFill/>
                  </a:ln>
                  <a:solidFill>
                    <a:srgbClr val="000000"/>
                  </a:solidFill>
                  <a:effectLst/>
                  <a:uLnTx/>
                  <a:uFillTx/>
                  <a:ea typeface="+mn-ea"/>
                  <a:cs typeface="+mn-cs"/>
                </a:rPr>
                <a:t>С целью определения показаний к </a:t>
              </a:r>
              <a:r>
                <a:rPr kumimoji="1" lang="ru-RU" sz="1400" b="0" i="0" u="none" strike="noStrike" kern="1200" cap="none" spc="0" normalizeH="0" baseline="0" noProof="0" dirty="0" err="1">
                  <a:ln>
                    <a:noFill/>
                  </a:ln>
                  <a:solidFill>
                    <a:srgbClr val="000000"/>
                  </a:solidFill>
                  <a:effectLst/>
                  <a:uLnTx/>
                  <a:uFillTx/>
                  <a:ea typeface="+mn-ea"/>
                  <a:cs typeface="+mn-cs"/>
                </a:rPr>
                <a:t>таргетной</a:t>
              </a:r>
              <a:r>
                <a:rPr kumimoji="1" lang="ru-RU" sz="1400" b="0" i="0" u="none" strike="noStrike" kern="1200" cap="none" spc="0" normalizeH="0" baseline="0" noProof="0" dirty="0">
                  <a:ln>
                    <a:noFill/>
                  </a:ln>
                  <a:solidFill>
                    <a:srgbClr val="000000"/>
                  </a:solidFill>
                  <a:effectLst/>
                  <a:uLnTx/>
                  <a:uFillTx/>
                  <a:ea typeface="+mn-ea"/>
                  <a:cs typeface="+mn-cs"/>
                </a:rPr>
                <a:t> терапии, в случае </a:t>
              </a:r>
              <a:r>
                <a:rPr kumimoji="1" lang="ru-RU" sz="1400" b="0" i="0" u="none" strike="noStrike" kern="1200" cap="none" spc="0" normalizeH="0" baseline="0" noProof="0" dirty="0" err="1">
                  <a:ln>
                    <a:noFill/>
                  </a:ln>
                  <a:solidFill>
                    <a:srgbClr val="000000"/>
                  </a:solidFill>
                  <a:effectLst/>
                  <a:uLnTx/>
                  <a:uFillTx/>
                  <a:ea typeface="+mn-ea"/>
                  <a:cs typeface="+mn-cs"/>
                </a:rPr>
                <a:t>местнораспространенной</a:t>
              </a:r>
              <a:r>
                <a:rPr kumimoji="1" lang="ru-RU" sz="1400" b="0" i="0" u="none" strike="noStrike" kern="1200" cap="none" spc="0" normalizeH="0" baseline="0" noProof="0" dirty="0">
                  <a:ln>
                    <a:noFill/>
                  </a:ln>
                  <a:solidFill>
                    <a:srgbClr val="000000"/>
                  </a:solidFill>
                  <a:effectLst/>
                  <a:uLnTx/>
                  <a:uFillTx/>
                  <a:ea typeface="+mn-ea"/>
                  <a:cs typeface="+mn-cs"/>
                </a:rPr>
                <a:t> неоперабельной или диссеминированной аденокарциномы при исследовании операционного или </a:t>
              </a:r>
              <a:r>
                <a:rPr kumimoji="1" lang="ru-RU" sz="1400" b="0" i="0" u="none" strike="noStrike" kern="1200" cap="none" spc="0" normalizeH="0" baseline="0" noProof="0" dirty="0" err="1">
                  <a:ln>
                    <a:noFill/>
                  </a:ln>
                  <a:solidFill>
                    <a:srgbClr val="000000"/>
                  </a:solidFill>
                  <a:effectLst/>
                  <a:uLnTx/>
                  <a:uFillTx/>
                  <a:ea typeface="+mn-ea"/>
                  <a:cs typeface="+mn-cs"/>
                </a:rPr>
                <a:t>биопсийного</a:t>
              </a:r>
              <a:r>
                <a:rPr kumimoji="1" lang="ru-RU" sz="1400" b="0" i="0" u="none" strike="noStrike" kern="1200" cap="none" spc="0" normalizeH="0" baseline="0" noProof="0" dirty="0">
                  <a:ln>
                    <a:noFill/>
                  </a:ln>
                  <a:solidFill>
                    <a:srgbClr val="000000"/>
                  </a:solidFill>
                  <a:effectLst/>
                  <a:uLnTx/>
                  <a:uFillTx/>
                  <a:ea typeface="+mn-ea"/>
                  <a:cs typeface="+mn-cs"/>
                </a:rPr>
                <a:t> материала рекомендуется:</a:t>
              </a:r>
            </a:p>
            <a:p>
              <a:pPr marL="0" indent="0" defTabSz="609540">
                <a:spcBef>
                  <a:spcPts val="600"/>
                </a:spcBef>
                <a:buClr>
                  <a:srgbClr val="68D2DF"/>
                </a:buClr>
                <a:buNone/>
                <a:defRPr/>
              </a:pPr>
              <a:r>
                <a:rPr kumimoji="1" lang="ru-RU" sz="1400" i="0" u="none" strike="noStrike" kern="1200" cap="none" spc="0" normalizeH="0" baseline="0" noProof="0" dirty="0">
                  <a:ln>
                    <a:noFill/>
                  </a:ln>
                  <a:solidFill>
                    <a:srgbClr val="000000"/>
                  </a:solidFill>
                  <a:effectLst/>
                  <a:uLnTx/>
                  <a:uFillTx/>
                  <a:ea typeface="+mn-ea"/>
                  <a:cs typeface="+mn-cs"/>
                </a:rPr>
                <a:t>патолого-анатомическое</a:t>
              </a:r>
              <a:r>
                <a:rPr kumimoji="1" lang="ru-RU" sz="1400" b="1" i="0" u="none" strike="noStrike" kern="1200" cap="none" spc="0" normalizeH="0" baseline="0" noProof="0" dirty="0">
                  <a:ln>
                    <a:noFill/>
                  </a:ln>
                  <a:solidFill>
                    <a:srgbClr val="000000"/>
                  </a:solidFill>
                  <a:effectLst/>
                  <a:uLnTx/>
                  <a:uFillTx/>
                  <a:ea typeface="+mn-ea"/>
                  <a:cs typeface="+mn-cs"/>
                </a:rPr>
                <a:t> исследование белка к рецепторам HER2/</a:t>
              </a:r>
              <a:r>
                <a:rPr kumimoji="1" lang="ru-RU" sz="1400" b="1" i="0" u="none" strike="noStrike" kern="1200" cap="none" spc="0" normalizeH="0" baseline="0" noProof="0" dirty="0" err="1">
                  <a:ln>
                    <a:noFill/>
                  </a:ln>
                  <a:solidFill>
                    <a:srgbClr val="000000"/>
                  </a:solidFill>
                  <a:effectLst/>
                  <a:uLnTx/>
                  <a:uFillTx/>
                  <a:ea typeface="+mn-ea"/>
                  <a:cs typeface="+mn-cs"/>
                </a:rPr>
                <a:t>neu</a:t>
              </a:r>
              <a:r>
                <a:rPr kumimoji="1" lang="ru-RU" sz="1400" b="1" i="0" u="none" strike="noStrike" kern="1200" cap="none" spc="0" normalizeH="0" baseline="0" noProof="0" dirty="0">
                  <a:ln>
                    <a:noFill/>
                  </a:ln>
                  <a:solidFill>
                    <a:srgbClr val="000000"/>
                  </a:solidFill>
                  <a:effectLst/>
                  <a:uLnTx/>
                  <a:uFillTx/>
                  <a:ea typeface="+mn-ea"/>
                  <a:cs typeface="+mn-cs"/>
                </a:rPr>
                <a:t> </a:t>
              </a:r>
              <a:r>
                <a:rPr kumimoji="1" lang="ru-RU" sz="1400" b="0" i="0" u="none" strike="noStrike" kern="1200" cap="none" spc="0" normalizeH="0" baseline="0" noProof="0" dirty="0">
                  <a:ln>
                    <a:noFill/>
                  </a:ln>
                  <a:solidFill>
                    <a:srgbClr val="000000"/>
                  </a:solidFill>
                  <a:effectLst/>
                  <a:uLnTx/>
                  <a:uFillTx/>
                  <a:ea typeface="+mn-ea"/>
                  <a:cs typeface="+mn-cs"/>
                </a:rPr>
                <a:t>с применением ИГХ методов или определение амплификации гена HER2 методом FISH</a:t>
              </a:r>
              <a:endParaRPr kumimoji="1" lang="ru" sz="1400" b="0" i="0" u="none" strike="noStrike" kern="1200" cap="none" spc="0" normalizeH="0" baseline="30000" noProof="0" dirty="0">
                <a:ln>
                  <a:noFill/>
                </a:ln>
                <a:solidFill>
                  <a:srgbClr val="000000"/>
                </a:solidFill>
                <a:effectLst/>
                <a:uLnTx/>
                <a:uFillTx/>
                <a:ea typeface="+mn-ea"/>
                <a:cs typeface="+mn-cs"/>
              </a:endParaRPr>
            </a:p>
          </p:txBody>
        </p:sp>
      </p:grpSp>
      <p:pic>
        <p:nvPicPr>
          <p:cNvPr id="26" name="Рисунок 9">
            <a:extLst>
              <a:ext uri="{FF2B5EF4-FFF2-40B4-BE49-F238E27FC236}">
                <a16:creationId xmlns:a16="http://schemas.microsoft.com/office/drawing/2014/main" xmlns="" id="{91D04A67-FB94-42F1-9375-2DFD8FFAB57A}"/>
              </a:ext>
            </a:extLst>
          </p:cNvPr>
          <p:cNvPicPr>
            <a:picLocks noChangeAspect="1"/>
          </p:cNvPicPr>
          <p:nvPr/>
        </p:nvPicPr>
        <p:blipFill>
          <a:blip r:embed="rId5"/>
          <a:stretch>
            <a:fillRect/>
          </a:stretch>
        </p:blipFill>
        <p:spPr>
          <a:xfrm>
            <a:off x="4512506" y="799504"/>
            <a:ext cx="1559227" cy="384609"/>
          </a:xfrm>
          <a:prstGeom prst="rect">
            <a:avLst/>
          </a:prstGeom>
        </p:spPr>
      </p:pic>
      <p:pic>
        <p:nvPicPr>
          <p:cNvPr id="27" name="Picture 4">
            <a:extLst>
              <a:ext uri="{FF2B5EF4-FFF2-40B4-BE49-F238E27FC236}">
                <a16:creationId xmlns:a16="http://schemas.microsoft.com/office/drawing/2014/main" xmlns="" id="{53E7A58E-3C67-4353-B4C4-C085FD7AD7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89474" y="578675"/>
            <a:ext cx="826266" cy="826266"/>
          </a:xfrm>
          <a:prstGeom prst="rect">
            <a:avLst/>
          </a:prstGeom>
          <a:noFill/>
          <a:extLst>
            <a:ext uri="{909E8E84-426E-40DD-AFC4-6F175D3DCCD1}">
              <a14:hiddenFill xmlns:a14="http://schemas.microsoft.com/office/drawing/2010/main">
                <a:solidFill>
                  <a:srgbClr val="FFFFFF"/>
                </a:solidFill>
              </a14:hiddenFill>
            </a:ext>
          </a:extLst>
        </p:spPr>
      </p:pic>
      <p:sp>
        <p:nvSpPr>
          <p:cNvPr id="36" name="Подзаголовок 4">
            <a:extLst>
              <a:ext uri="{FF2B5EF4-FFF2-40B4-BE49-F238E27FC236}">
                <a16:creationId xmlns:a16="http://schemas.microsoft.com/office/drawing/2014/main" xmlns="" id="{847276E0-4E38-42CD-9A5D-D7837B7C393C}"/>
              </a:ext>
            </a:extLst>
          </p:cNvPr>
          <p:cNvSpPr txBox="1">
            <a:spLocks/>
          </p:cNvSpPr>
          <p:nvPr/>
        </p:nvSpPr>
        <p:spPr>
          <a:xfrm>
            <a:off x="67558" y="4564825"/>
            <a:ext cx="8148394" cy="572389"/>
          </a:xfrm>
          <a:prstGeom prst="rect">
            <a:avLst/>
          </a:prstGeom>
          <a:ln>
            <a:solidFill>
              <a:schemeClr val="bg1"/>
            </a:solidFill>
          </a:ln>
        </p:spPr>
        <p:txBody>
          <a:bodyPr vert="horz" lIns="91440" tIns="45720" rIns="91440" bIns="45720" rtlCol="0" anchor="b" anchorCtr="0">
            <a:noAutofit/>
          </a:bodyPr>
          <a:lstStyle>
            <a:lvl1pPr marL="0" indent="0" algn="r" defTabSz="914400" rtl="0" eaLnBrk="1" latinLnBrk="0" hangingPunct="1">
              <a:lnSpc>
                <a:spcPct val="90000"/>
              </a:lnSpc>
              <a:spcBef>
                <a:spcPts val="1000"/>
              </a:spcBef>
              <a:buFont typeface="Arial" panose="020B0604020202020204" pitchFamily="34" charset="0"/>
              <a:buNone/>
              <a:defRPr sz="1800" b="0" kern="1200">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ts val="0"/>
              </a:spcBef>
              <a:spcAft>
                <a:spcPts val="200"/>
              </a:spcAft>
              <a:defRPr/>
            </a:pPr>
            <a:r>
              <a:rPr lang="en-GB" sz="600" dirty="0">
                <a:solidFill>
                  <a:schemeClr val="accent6"/>
                </a:solidFill>
                <a:latin typeface="+mn-lt"/>
              </a:rPr>
              <a:t>1</a:t>
            </a:r>
            <a:r>
              <a:rPr lang="ru-RU" sz="600" dirty="0">
                <a:solidFill>
                  <a:schemeClr val="accent6"/>
                </a:solidFill>
                <a:latin typeface="+mn-lt"/>
              </a:rPr>
              <a:t>. </a:t>
            </a:r>
            <a:r>
              <a:rPr lang="ru" sz="600" dirty="0">
                <a:solidFill>
                  <a:srgbClr val="000000"/>
                </a:solidFill>
                <a:latin typeface="+mn-lt"/>
              </a:rPr>
              <a:t>. </a:t>
            </a:r>
            <a:r>
              <a:rPr lang="en-US" sz="600" dirty="0">
                <a:solidFill>
                  <a:schemeClr val="accent6">
                    <a:lumMod val="50000"/>
                  </a:schemeClr>
                </a:solidFill>
                <a:latin typeface="+mn-lt"/>
              </a:rPr>
              <a:t>NCCN </a:t>
            </a:r>
            <a:r>
              <a:rPr lang="en-US" sz="600" dirty="0">
                <a:latin typeface="+mn-lt"/>
              </a:rPr>
              <a:t>Guidelines v.3.2022</a:t>
            </a:r>
            <a:r>
              <a:rPr lang="ru-RU" sz="600" dirty="0">
                <a:latin typeface="+mn-lt"/>
              </a:rPr>
              <a:t> электронный ресурс </a:t>
            </a:r>
            <a:r>
              <a:rPr lang="ru-RU" sz="600" dirty="0">
                <a:latin typeface="+mn-lt"/>
                <a:hlinkClick r:id="rId7"/>
              </a:rPr>
              <a:t>https://www.nccn.org/guidelines/guidelines-detail?category=1&amp;id=1419</a:t>
            </a:r>
            <a:r>
              <a:rPr lang="ru-RU" sz="600" dirty="0">
                <a:latin typeface="+mn-lt"/>
              </a:rPr>
              <a:t>  </a:t>
            </a:r>
            <a:r>
              <a:rPr lang="ru-RU" sz="600" dirty="0">
                <a:solidFill>
                  <a:schemeClr val="accent6"/>
                </a:solidFill>
                <a:latin typeface="+mn-lt"/>
              </a:rPr>
              <a:t>дата обращения 16.03.2023</a:t>
            </a:r>
            <a:r>
              <a:rPr lang="en-US" sz="600" dirty="0">
                <a:solidFill>
                  <a:schemeClr val="accent6"/>
                </a:solidFill>
                <a:latin typeface="+mn-lt"/>
              </a:rPr>
              <a:t> </a:t>
            </a:r>
            <a:r>
              <a:rPr kumimoji="0" lang="en-US"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2. </a:t>
            </a:r>
            <a:r>
              <a:rPr kumimoji="0" lang="en-GB" sz="600" b="0" i="0" u="none" strike="noStrike" kern="1200" cap="none" spc="0" normalizeH="0" baseline="0" noProof="0" dirty="0" err="1">
                <a:ln>
                  <a:noFill/>
                </a:ln>
                <a:solidFill>
                  <a:schemeClr val="accent6"/>
                </a:solidFill>
                <a:effectLst/>
                <a:uLnTx/>
                <a:uFillTx/>
                <a:latin typeface="+mn-lt"/>
                <a:ea typeface="Verdana" panose="020B0604030504040204" pitchFamily="34" charset="0"/>
                <a:cs typeface="Arial" panose="020B0604020202020204" pitchFamily="34" charset="0"/>
              </a:rPr>
              <a:t>Lordick</a:t>
            </a:r>
            <a:r>
              <a:rPr kumimoji="0" lang="en-GB"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 F, et al; ESMO Guidelines Committee</a:t>
            </a:r>
            <a:r>
              <a:rPr kumimoji="0" lang="ru-RU"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 </a:t>
            </a:r>
            <a:r>
              <a:rPr kumimoji="0" lang="en-GB"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Gastric cancer: ESMO Clinical Practice Guideline for diagnosis, treatment and follow-up. </a:t>
            </a:r>
            <a:r>
              <a:rPr kumimoji="0" lang="ru-RU"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Электронный ресурс</a:t>
            </a:r>
            <a:r>
              <a:rPr kumimoji="0" lang="en-GB"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 </a:t>
            </a:r>
            <a:r>
              <a:rPr kumimoji="0" lang="en-GB"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hlinkClick r:id="rId8"/>
              </a:rPr>
              <a:t>https://www.esmo.org/guidelines</a:t>
            </a:r>
            <a:r>
              <a:rPr kumimoji="0" lang="ru-RU"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 (дата обращения 22.03.2023) </a:t>
            </a:r>
            <a:r>
              <a:rPr lang="en-US" sz="600" b="0" i="0" dirty="0">
                <a:solidFill>
                  <a:srgbClr val="212121"/>
                </a:solidFill>
                <a:effectLst/>
                <a:latin typeface="+mn-lt"/>
              </a:rPr>
              <a:t>ESMO Clinical Practice Guideline for diagnosis, treatment and follow-up. Ann Oncol. 2022 Oct;33(10):1005-1020. </a:t>
            </a:r>
            <a:r>
              <a:rPr lang="en-US" sz="600" b="0" i="0" dirty="0" err="1">
                <a:solidFill>
                  <a:srgbClr val="212121"/>
                </a:solidFill>
                <a:effectLst/>
                <a:latin typeface="+mn-lt"/>
              </a:rPr>
              <a:t>doi</a:t>
            </a:r>
            <a:r>
              <a:rPr lang="en-US" sz="600" b="0" i="0" dirty="0">
                <a:solidFill>
                  <a:srgbClr val="212121"/>
                </a:solidFill>
                <a:effectLst/>
                <a:latin typeface="+mn-lt"/>
              </a:rPr>
              <a:t>: 10.1016/j.annonc.2022.07.004. </a:t>
            </a:r>
            <a:r>
              <a:rPr lang="en-US" sz="600" b="0" i="0" dirty="0" err="1">
                <a:solidFill>
                  <a:srgbClr val="212121"/>
                </a:solidFill>
                <a:effectLst/>
                <a:latin typeface="+mn-lt"/>
              </a:rPr>
              <a:t>Epub</a:t>
            </a:r>
            <a:r>
              <a:rPr lang="en-US" sz="600" b="0" i="0" dirty="0">
                <a:solidFill>
                  <a:srgbClr val="212121"/>
                </a:solidFill>
                <a:effectLst/>
                <a:latin typeface="+mn-lt"/>
              </a:rPr>
              <a:t> 2022 Jul 29. PMID: 35914639.</a:t>
            </a:r>
            <a:r>
              <a:rPr kumimoji="0" lang="en-GB" sz="600" b="0" i="0" u="none" strike="noStrike" kern="1200" cap="none" spc="0" normalizeH="0" baseline="0" noProof="0" dirty="0">
                <a:ln>
                  <a:noFill/>
                </a:ln>
                <a:solidFill>
                  <a:schemeClr val="accent6"/>
                </a:solidFill>
                <a:effectLst/>
                <a:uLnTx/>
                <a:uFillTx/>
                <a:latin typeface="+mn-lt"/>
                <a:ea typeface="Verdana" panose="020B0604030504040204" pitchFamily="34" charset="0"/>
                <a:cs typeface="Arial" panose="020B0604020202020204" pitchFamily="34" charset="0"/>
              </a:rPr>
              <a:t>. </a:t>
            </a:r>
            <a:r>
              <a:rPr lang="en-GB" sz="600" dirty="0">
                <a:solidFill>
                  <a:schemeClr val="accent6"/>
                </a:solidFill>
                <a:latin typeface="+mn-lt"/>
              </a:rPr>
              <a:t>3. </a:t>
            </a:r>
            <a:r>
              <a:rPr lang="ru-RU" sz="600" dirty="0">
                <a:solidFill>
                  <a:schemeClr val="accent6"/>
                </a:solidFill>
                <a:latin typeface="+mn-lt"/>
              </a:rPr>
              <a:t>Клинические рекомендации </a:t>
            </a:r>
            <a:r>
              <a:rPr lang="ru-RU" sz="600" dirty="0" err="1">
                <a:solidFill>
                  <a:schemeClr val="accent6"/>
                </a:solidFill>
                <a:latin typeface="+mn-lt"/>
              </a:rPr>
              <a:t>Ассоцииации</a:t>
            </a:r>
            <a:r>
              <a:rPr lang="ru-RU" sz="600" dirty="0">
                <a:solidFill>
                  <a:schemeClr val="accent6"/>
                </a:solidFill>
                <a:latin typeface="+mn-lt"/>
              </a:rPr>
              <a:t> онкологов России, 2020 г. </a:t>
            </a:r>
            <a:r>
              <a:rPr lang="en-GB" sz="600" dirty="0">
                <a:solidFill>
                  <a:schemeClr val="accent6"/>
                </a:solidFill>
                <a:latin typeface="+mn-lt"/>
              </a:rPr>
              <a:t>https://oncology-association.ru/wp-content/uploads/2020/09/rak_zheludka.pdf (</a:t>
            </a:r>
            <a:r>
              <a:rPr lang="ru-RU" sz="600" dirty="0">
                <a:solidFill>
                  <a:schemeClr val="accent6"/>
                </a:solidFill>
                <a:latin typeface="+mn-lt"/>
              </a:rPr>
              <a:t>дата обращения: 22.03.23) 4. Практические рекомендации </a:t>
            </a:r>
            <a:r>
              <a:rPr lang="en-US" sz="600" dirty="0">
                <a:solidFill>
                  <a:schemeClr val="accent6"/>
                </a:solidFill>
                <a:latin typeface="+mn-lt"/>
              </a:rPr>
              <a:t>RUSSCO</a:t>
            </a:r>
            <a:r>
              <a:rPr lang="ru-RU" sz="600" dirty="0">
                <a:solidFill>
                  <a:schemeClr val="accent6"/>
                </a:solidFill>
                <a:latin typeface="+mn-lt"/>
              </a:rPr>
              <a:t> </a:t>
            </a:r>
            <a:r>
              <a:rPr lang="en-GB" sz="600" dirty="0">
                <a:solidFill>
                  <a:schemeClr val="accent6"/>
                </a:solidFill>
                <a:latin typeface="+mn-lt"/>
                <a:hlinkClick r:id="rId9"/>
              </a:rPr>
              <a:t>https://www.rosoncoweb.ru/standarts/RUSSCO/2022/2022-21.pdf</a:t>
            </a:r>
            <a:r>
              <a:rPr lang="ru-RU" sz="600" dirty="0">
                <a:solidFill>
                  <a:schemeClr val="accent6"/>
                </a:solidFill>
                <a:latin typeface="+mn-lt"/>
              </a:rPr>
              <a:t> (дата обращения 22.03.2023) </a:t>
            </a:r>
          </a:p>
        </p:txBody>
      </p:sp>
      <p:sp>
        <p:nvSpPr>
          <p:cNvPr id="3" name="TextBox 2">
            <a:extLst>
              <a:ext uri="{FF2B5EF4-FFF2-40B4-BE49-F238E27FC236}">
                <a16:creationId xmlns:a16="http://schemas.microsoft.com/office/drawing/2014/main" xmlns="" id="{0BA5D2F4-7D2C-C7A4-C9A7-C44D333F717A}"/>
              </a:ext>
            </a:extLst>
          </p:cNvPr>
          <p:cNvSpPr txBox="1"/>
          <p:nvPr/>
        </p:nvSpPr>
        <p:spPr>
          <a:xfrm>
            <a:off x="3557882" y="4547071"/>
            <a:ext cx="4602706" cy="203133"/>
          </a:xfrm>
          <a:prstGeom prst="rect">
            <a:avLst/>
          </a:prstGeom>
          <a:noFill/>
        </p:spPr>
        <p:txBody>
          <a:bodyPr wrap="square">
            <a:spAutoFit/>
          </a:bodyPr>
          <a:lstStyle/>
          <a:p>
            <a:pPr marR="0" lvl="0" algn="l" defTabSz="914400" rtl="0" eaLnBrk="1" fontAlgn="auto" latinLnBrk="0" hangingPunct="1">
              <a:lnSpc>
                <a:spcPct val="90000"/>
              </a:lnSpc>
              <a:spcBef>
                <a:spcPts val="0"/>
              </a:spcBef>
              <a:spcAft>
                <a:spcPts val="200"/>
              </a:spcAft>
              <a:buClrTx/>
              <a:buSzTx/>
              <a:tabLst/>
              <a:defRPr/>
            </a:pPr>
            <a:r>
              <a:rPr lang="ru-RU" sz="800" dirty="0">
                <a:solidFill>
                  <a:schemeClr val="accent6"/>
                </a:solidFill>
                <a:latin typeface="+mj-lt"/>
              </a:rPr>
              <a:t>ИГХ – иммуногистохимия, </a:t>
            </a:r>
            <a:r>
              <a:rPr lang="en-US" sz="800" dirty="0">
                <a:solidFill>
                  <a:schemeClr val="accent6"/>
                </a:solidFill>
                <a:latin typeface="+mj-lt"/>
              </a:rPr>
              <a:t>FISH — </a:t>
            </a:r>
            <a:r>
              <a:rPr lang="ru-RU" sz="800" dirty="0">
                <a:solidFill>
                  <a:schemeClr val="accent6"/>
                </a:solidFill>
                <a:latin typeface="+mj-lt"/>
              </a:rPr>
              <a:t>флюоресцентная гибридизация </a:t>
            </a:r>
            <a:r>
              <a:rPr lang="en-US" sz="800" dirty="0">
                <a:solidFill>
                  <a:schemeClr val="accent6"/>
                </a:solidFill>
                <a:latin typeface="+mj-lt"/>
              </a:rPr>
              <a:t>in situ</a:t>
            </a:r>
            <a:endParaRPr kumimoji="0" lang="en-US" sz="800" b="0" i="0" u="none" strike="noStrike" kern="1200" cap="none" spc="0" normalizeH="0" baseline="0" noProof="0" dirty="0">
              <a:ln>
                <a:noFill/>
              </a:ln>
              <a:solidFill>
                <a:schemeClr val="accent6"/>
              </a:solidFill>
              <a:effectLst/>
              <a:uLnTx/>
              <a:uFillTx/>
              <a:latin typeface="+mj-lt"/>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6098869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Таблица 13"/>
          <p:cNvGraphicFramePr>
            <a:graphicFrameLocks noGrp="1"/>
          </p:cNvGraphicFramePr>
          <p:nvPr>
            <p:extLst>
              <p:ext uri="{D42A27DB-BD31-4B8C-83A1-F6EECF244321}">
                <p14:modId xmlns:p14="http://schemas.microsoft.com/office/powerpoint/2010/main" val="1727537067"/>
              </p:ext>
            </p:extLst>
          </p:nvPr>
        </p:nvGraphicFramePr>
        <p:xfrm>
          <a:off x="444400" y="1719177"/>
          <a:ext cx="8078627" cy="2984009"/>
        </p:xfrm>
        <a:graphic>
          <a:graphicData uri="http://schemas.openxmlformats.org/drawingml/2006/table">
            <a:tbl>
              <a:tblPr/>
              <a:tblGrid>
                <a:gridCol w="8078627">
                  <a:extLst>
                    <a:ext uri="{9D8B030D-6E8A-4147-A177-3AD203B41FA5}">
                      <a16:colId xmlns:a16="http://schemas.microsoft.com/office/drawing/2014/main" xmlns="" val="20000"/>
                    </a:ext>
                  </a:extLst>
                </a:gridCol>
              </a:tblGrid>
              <a:tr h="2984009">
                <a:tc>
                  <a:txBody>
                    <a:bodyPr/>
                    <a:lstStyle/>
                    <a:p>
                      <a:pPr marL="52900" indent="0" rtl="0">
                        <a:lnSpc>
                          <a:spcPct val="100000"/>
                        </a:lnSpc>
                        <a:spcBef>
                          <a:spcPts val="0"/>
                        </a:spcBef>
                        <a:spcAft>
                          <a:spcPts val="0"/>
                        </a:spcAft>
                      </a:pPr>
                      <a:endParaRPr lang="ru" sz="800" dirty="0">
                        <a:solidFill>
                          <a:srgbClr val="3E4444"/>
                        </a:solidFill>
                        <a:latin typeface="Arial"/>
                      </a:endParaRPr>
                    </a:p>
                    <a:p>
                      <a:pPr marL="52900" indent="0" rtl="0">
                        <a:lnSpc>
                          <a:spcPct val="90000"/>
                        </a:lnSpc>
                        <a:spcBef>
                          <a:spcPts val="100"/>
                        </a:spcBef>
                        <a:spcAft>
                          <a:spcPts val="420"/>
                        </a:spcAft>
                      </a:pPr>
                      <a:r>
                        <a:rPr lang="ru" sz="800" b="1" dirty="0">
                          <a:solidFill>
                            <a:srgbClr val="3E4444"/>
                          </a:solidFill>
                          <a:latin typeface="Arial"/>
                        </a:rPr>
                        <a:t>Исследование статуса </a:t>
                      </a:r>
                      <a:r>
                        <a:rPr lang="ru" sz="800" b="1" i="1" dirty="0">
                          <a:solidFill>
                            <a:srgbClr val="3E4444"/>
                          </a:solidFill>
                          <a:latin typeface="Arial"/>
                        </a:rPr>
                        <a:t>HER2</a:t>
                      </a:r>
                      <a:r>
                        <a:rPr lang="ru" sz="800" b="1" dirty="0">
                          <a:solidFill>
                            <a:srgbClr val="3E4444"/>
                          </a:solidFill>
                          <a:latin typeface="Arial"/>
                        </a:rPr>
                        <a:t> должно проводиться посредством иммуногистохимического (ИГХ) окрашивания и, при необходимости, посредством гибридизации </a:t>
                      </a:r>
                      <a:r>
                        <a:rPr lang="ru" sz="800" b="1" i="1" dirty="0">
                          <a:solidFill>
                            <a:srgbClr val="3E4444"/>
                          </a:solidFill>
                          <a:latin typeface="Arial"/>
                        </a:rPr>
                        <a:t>in situ </a:t>
                      </a:r>
                      <a:r>
                        <a:rPr lang="en" sz="800" b="1" dirty="0">
                          <a:solidFill>
                            <a:srgbClr val="3E4444"/>
                          </a:solidFill>
                          <a:latin typeface="Arial"/>
                        </a:rPr>
                        <a:t>(ISH) для оценки статуса по HER2.</a:t>
                      </a:r>
                    </a:p>
                    <a:p>
                      <a:pPr marL="230700" indent="-177800" rtl="0">
                        <a:lnSpc>
                          <a:spcPct val="90000"/>
                        </a:lnSpc>
                        <a:spcBef>
                          <a:spcPts val="100"/>
                        </a:spcBef>
                        <a:spcAft>
                          <a:spcPts val="420"/>
                        </a:spcAft>
                        <a:buFont typeface="Arial" panose="020B0604020202020204" pitchFamily="34" charset="0"/>
                        <a:buChar char="•"/>
                      </a:pPr>
                      <a:r>
                        <a:rPr lang="ru" sz="800" dirty="0">
                          <a:solidFill>
                            <a:srgbClr val="3F4444"/>
                          </a:solidFill>
                          <a:latin typeface="Arial"/>
                        </a:rPr>
                        <a:t>Секвенирование нового поколения (</a:t>
                      </a:r>
                      <a:r>
                        <a:rPr lang="en-US" sz="800" dirty="0">
                          <a:solidFill>
                            <a:srgbClr val="3F4444"/>
                          </a:solidFill>
                          <a:latin typeface="Arial"/>
                        </a:rPr>
                        <a:t>NGS</a:t>
                      </a:r>
                      <a:r>
                        <a:rPr lang="ru" sz="800" dirty="0">
                          <a:solidFill>
                            <a:srgbClr val="3F4444"/>
                          </a:solidFill>
                          <a:latin typeface="Arial"/>
                        </a:rPr>
                        <a:t>) </a:t>
                      </a:r>
                      <a:r>
                        <a:rPr lang="ru" sz="800" dirty="0">
                          <a:solidFill>
                            <a:srgbClr val="3E4444"/>
                          </a:solidFill>
                          <a:latin typeface="Arial"/>
                        </a:rPr>
                        <a:t>может рассматриваться в случаях, когда ткани для диагностики мало, или если у пациента невозможно провести стандартную </a:t>
                      </a:r>
                      <a:r>
                        <a:rPr lang="ru" sz="800" dirty="0">
                          <a:solidFill>
                            <a:srgbClr val="3F4444"/>
                          </a:solidFill>
                          <a:latin typeface="Arial"/>
                        </a:rPr>
                        <a:t>биопсию</a:t>
                      </a:r>
                      <a:r>
                        <a:rPr lang="ru" sz="800" dirty="0">
                          <a:solidFill>
                            <a:srgbClr val="3E4444"/>
                          </a:solidFill>
                          <a:latin typeface="Arial"/>
                        </a:rPr>
                        <a:t>. Однако </a:t>
                      </a:r>
                      <a:r>
                        <a:rPr lang="en-US" sz="800" dirty="0">
                          <a:solidFill>
                            <a:srgbClr val="3E4444"/>
                          </a:solidFill>
                          <a:latin typeface="Arial"/>
                        </a:rPr>
                        <a:t>NGS</a:t>
                      </a:r>
                      <a:r>
                        <a:rPr lang="ru" sz="800" dirty="0">
                          <a:solidFill>
                            <a:srgbClr val="3E4444"/>
                          </a:solidFill>
                          <a:latin typeface="Arial"/>
                        </a:rPr>
                        <a:t> обладает рядом ограничений, и всегда, когда это возможно, сначала следует провести исследования, которые представляют собой «золотой стандарт» (ИГХ/ISH);</a:t>
                      </a:r>
                    </a:p>
                    <a:p>
                      <a:pPr marL="230700" indent="-177800" rtl="0">
                        <a:lnSpc>
                          <a:spcPct val="90000"/>
                        </a:lnSpc>
                        <a:spcBef>
                          <a:spcPts val="100"/>
                        </a:spcBef>
                        <a:spcAft>
                          <a:spcPts val="420"/>
                        </a:spcAft>
                        <a:buFont typeface="Arial" panose="020B0604020202020204" pitchFamily="34" charset="0"/>
                        <a:buChar char="•"/>
                      </a:pPr>
                      <a:r>
                        <a:rPr lang="ru" sz="800" dirty="0">
                          <a:solidFill>
                            <a:srgbClr val="3E4444"/>
                          </a:solidFill>
                          <a:latin typeface="Arial"/>
                        </a:rPr>
                        <a:t>Частота </a:t>
                      </a:r>
                      <a:r>
                        <a:rPr lang="ru-RU" sz="800" dirty="0">
                          <a:solidFill>
                            <a:srgbClr val="3E4444"/>
                          </a:solidFill>
                          <a:latin typeface="Arial"/>
                        </a:rPr>
                        <a:t>высокой экспрессии </a:t>
                      </a:r>
                      <a:r>
                        <a:rPr lang="ru" sz="800" i="1" dirty="0">
                          <a:solidFill>
                            <a:srgbClr val="3E4444"/>
                          </a:solidFill>
                          <a:latin typeface="Arial"/>
                        </a:rPr>
                        <a:t>HER2+</a:t>
                      </a:r>
                      <a:r>
                        <a:rPr lang="ru" sz="800" dirty="0">
                          <a:solidFill>
                            <a:srgbClr val="3E4444"/>
                          </a:solidFill>
                          <a:latin typeface="Arial"/>
                        </a:rPr>
                        <a:t> при опухолях гастро-эзофагеального перехода несколько выше, чем при опухолях желудка;</a:t>
                      </a:r>
                    </a:p>
                    <a:p>
                      <a:pPr marL="230700" indent="-177800" rtl="0">
                        <a:lnSpc>
                          <a:spcPct val="90000"/>
                        </a:lnSpc>
                        <a:spcBef>
                          <a:spcPts val="100"/>
                        </a:spcBef>
                        <a:buFont typeface="Arial" panose="020B0604020202020204" pitchFamily="34" charset="0"/>
                        <a:buChar char="•"/>
                      </a:pPr>
                      <a:r>
                        <a:rPr lang="ru" sz="800" dirty="0">
                          <a:solidFill>
                            <a:srgbClr val="3E4444"/>
                          </a:solidFill>
                          <a:latin typeface="Arial"/>
                        </a:rPr>
                        <a:t>Национальная сеть многопрофильных онкологических учреждений США (National Comprehensive Cancer Network, NCCN</a:t>
                      </a:r>
                      <a:r>
                        <a:rPr lang="ru" sz="800" baseline="30000" dirty="0">
                          <a:solidFill>
                            <a:srgbClr val="3E4444"/>
                          </a:solidFill>
                          <a:latin typeface="Arial"/>
                        </a:rPr>
                        <a:t>®</a:t>
                      </a:r>
                      <a:r>
                        <a:rPr lang="ru" sz="800" dirty="0">
                          <a:solidFill>
                            <a:srgbClr val="3E4444"/>
                          </a:solidFill>
                          <a:latin typeface="Arial"/>
                        </a:rPr>
                        <a:t>) рекомендует пациентам с метастатическим </a:t>
                      </a:r>
                      <a:r>
                        <a:rPr lang="ru" sz="800" i="1" dirty="0">
                          <a:solidFill>
                            <a:srgbClr val="3E4444"/>
                          </a:solidFill>
                          <a:latin typeface="Arial"/>
                        </a:rPr>
                        <a:t>HER2+</a:t>
                      </a:r>
                      <a:r>
                        <a:rPr lang="ru" sz="800" dirty="0">
                          <a:solidFill>
                            <a:srgbClr val="3E4444"/>
                          </a:solidFill>
                          <a:latin typeface="Arial"/>
                        </a:rPr>
                        <a:t> раком желудка таргетную терапию, направленную на HER2, препаратом трастузумаб в комбинации с химиотерапией в качестве терапии первой линии.</a:t>
                      </a:r>
                    </a:p>
                  </a:txBody>
                  <a:tcPr marL="0" marR="0" marT="0" marB="0"/>
                </a:tc>
                <a:extLst>
                  <a:ext uri="{0D108BD9-81ED-4DB2-BD59-A6C34878D82A}">
                    <a16:rowId xmlns:a16="http://schemas.microsoft.com/office/drawing/2014/main" xmlns="" val="10000"/>
                  </a:ext>
                </a:extLst>
              </a:tr>
            </a:tbl>
          </a:graphicData>
        </a:graphic>
      </p:graphicFrame>
      <p:pic>
        <p:nvPicPr>
          <p:cNvPr id="2" name="Рисунок 1"/>
          <p:cNvPicPr>
            <a:picLocks noChangeAspect="1"/>
          </p:cNvPicPr>
          <p:nvPr/>
        </p:nvPicPr>
        <p:blipFill>
          <a:blip r:embed="rId2"/>
          <a:stretch>
            <a:fillRect/>
          </a:stretch>
        </p:blipFill>
        <p:spPr>
          <a:xfrm>
            <a:off x="2813859" y="1471353"/>
            <a:ext cx="852574" cy="238472"/>
          </a:xfrm>
          <a:prstGeom prst="rect">
            <a:avLst/>
          </a:prstGeom>
          <a:noFill/>
        </p:spPr>
      </p:pic>
      <p:sp>
        <p:nvSpPr>
          <p:cNvPr id="8" name="Прямоугольник 7"/>
          <p:cNvSpPr/>
          <p:nvPr/>
        </p:nvSpPr>
        <p:spPr>
          <a:xfrm>
            <a:off x="536717" y="236215"/>
            <a:ext cx="2378242" cy="194762"/>
          </a:xfrm>
          <a:prstGeom prst="rect">
            <a:avLst/>
          </a:prstGeom>
          <a:solidFill>
            <a:srgbClr val="FFFFFF"/>
          </a:solidFill>
        </p:spPr>
        <p:txBody>
          <a:bodyPr wrap="none" lIns="0" tIns="0" rIns="0" bIns="0" rtlCol="0">
            <a:noAutofit/>
          </a:bodyPr>
          <a:lstStyle/>
          <a:p>
            <a:pPr>
              <a:lnSpc>
                <a:spcPct val="90000"/>
              </a:lnSpc>
              <a:spcAft>
                <a:spcPts val="71"/>
              </a:spcAft>
            </a:pPr>
            <a:r>
              <a:rPr lang="ru" sz="2100" b="1" dirty="0">
                <a:solidFill>
                  <a:srgbClr val="830051"/>
                </a:solidFill>
                <a:latin typeface="Arial"/>
              </a:rPr>
              <a:t>Исследование на биомаркеры</a:t>
            </a:r>
          </a:p>
        </p:txBody>
      </p:sp>
      <p:sp>
        <p:nvSpPr>
          <p:cNvPr id="10" name="Прямоугольник 9"/>
          <p:cNvSpPr/>
          <p:nvPr/>
        </p:nvSpPr>
        <p:spPr>
          <a:xfrm>
            <a:off x="3100648" y="1541491"/>
            <a:ext cx="285230" cy="118457"/>
          </a:xfrm>
          <a:prstGeom prst="rect">
            <a:avLst/>
          </a:prstGeom>
          <a:solidFill>
            <a:srgbClr val="003865"/>
          </a:solidFill>
        </p:spPr>
        <p:txBody>
          <a:bodyPr wrap="none" lIns="0" tIns="0" rIns="0" bIns="0" rtlCol="0">
            <a:noAutofit/>
          </a:bodyPr>
          <a:lstStyle/>
          <a:p>
            <a:r>
              <a:rPr lang="ru" sz="716" b="1">
                <a:solidFill>
                  <a:srgbClr val="FFFFFF"/>
                </a:solidFill>
                <a:latin typeface="Arial"/>
              </a:rPr>
              <a:t>HER2</a:t>
            </a:r>
          </a:p>
        </p:txBody>
      </p:sp>
      <p:sp>
        <p:nvSpPr>
          <p:cNvPr id="11" name="Прямоугольник 10"/>
          <p:cNvSpPr/>
          <p:nvPr/>
        </p:nvSpPr>
        <p:spPr>
          <a:xfrm>
            <a:off x="3978160" y="1536815"/>
            <a:ext cx="293024" cy="118457"/>
          </a:xfrm>
          <a:prstGeom prst="rect">
            <a:avLst/>
          </a:prstGeom>
          <a:noFill/>
        </p:spPr>
        <p:txBody>
          <a:bodyPr wrap="none" lIns="0" tIns="0" rIns="0" bIns="0" rtlCol="0">
            <a:noAutofit/>
          </a:bodyPr>
          <a:lstStyle/>
          <a:p>
            <a:r>
              <a:rPr lang="ru" sz="716" b="1">
                <a:solidFill>
                  <a:srgbClr val="FFFFFF"/>
                </a:solidFill>
                <a:latin typeface="Arial"/>
              </a:rPr>
              <a:t>PD-L1</a:t>
            </a:r>
          </a:p>
        </p:txBody>
      </p:sp>
      <p:sp>
        <p:nvSpPr>
          <p:cNvPr id="15" name="Прямоугольник 14"/>
          <p:cNvSpPr/>
          <p:nvPr/>
        </p:nvSpPr>
        <p:spPr>
          <a:xfrm>
            <a:off x="2157334" y="4520643"/>
            <a:ext cx="5055507" cy="127960"/>
          </a:xfrm>
          <a:prstGeom prst="rect">
            <a:avLst/>
          </a:prstGeom>
          <a:noFill/>
        </p:spPr>
        <p:txBody>
          <a:bodyPr lIns="0" tIns="0" rIns="0" bIns="0" rtlCol="0">
            <a:noAutofit/>
          </a:bodyPr>
          <a:lstStyle/>
          <a:p>
            <a:pPr algn="ctr"/>
            <a:r>
              <a:rPr lang="ru" sz="825" dirty="0">
                <a:solidFill>
                  <a:srgbClr val="3F4444"/>
                </a:solidFill>
                <a:latin typeface="Arial"/>
              </a:rPr>
              <a:t>Примерно у 20 % пациентов с диагнозом рак желудка опухоль имеет положительный статус </a:t>
            </a:r>
            <a:r>
              <a:rPr lang="ru" sz="825" i="1" dirty="0">
                <a:solidFill>
                  <a:srgbClr val="3F4444"/>
                </a:solidFill>
                <a:latin typeface="Arial"/>
              </a:rPr>
              <a:t>HER2</a:t>
            </a:r>
            <a:r>
              <a:rPr lang="ru" sz="825" dirty="0">
                <a:solidFill>
                  <a:srgbClr val="3F4444"/>
                </a:solidFill>
                <a:latin typeface="Arial"/>
              </a:rPr>
              <a:t>.</a:t>
            </a:r>
          </a:p>
        </p:txBody>
      </p:sp>
      <p:sp>
        <p:nvSpPr>
          <p:cNvPr id="17" name="Прямоугольник 16">
            <a:extLst>
              <a:ext uri="{FF2B5EF4-FFF2-40B4-BE49-F238E27FC236}">
                <a16:creationId xmlns:a16="http://schemas.microsoft.com/office/drawing/2014/main" xmlns="" id="{DAF957C8-CA7B-4A33-859D-40AC3440D911}"/>
              </a:ext>
            </a:extLst>
          </p:cNvPr>
          <p:cNvSpPr/>
          <p:nvPr/>
        </p:nvSpPr>
        <p:spPr>
          <a:xfrm>
            <a:off x="2815028" y="1469859"/>
            <a:ext cx="850236" cy="234445"/>
          </a:xfrm>
          <a:prstGeom prst="rect">
            <a:avLst/>
          </a:prstGeom>
          <a:solidFill>
            <a:srgbClr val="0038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 sz="716" b="1">
                <a:latin typeface="Arial" panose="020B0604020202020204" pitchFamily="34" charset="0"/>
                <a:cs typeface="Arial" panose="020B0604020202020204" pitchFamily="34" charset="0"/>
              </a:rPr>
              <a:t>HER2</a:t>
            </a:r>
          </a:p>
        </p:txBody>
      </p:sp>
      <p:sp>
        <p:nvSpPr>
          <p:cNvPr id="18" name="Прямоугольник 17">
            <a:extLst>
              <a:ext uri="{FF2B5EF4-FFF2-40B4-BE49-F238E27FC236}">
                <a16:creationId xmlns:a16="http://schemas.microsoft.com/office/drawing/2014/main" xmlns="" id="{CAB538D1-4641-4F49-B9B8-A0432D312285}"/>
              </a:ext>
            </a:extLst>
          </p:cNvPr>
          <p:cNvSpPr/>
          <p:nvPr/>
        </p:nvSpPr>
        <p:spPr>
          <a:xfrm>
            <a:off x="3702541" y="1469859"/>
            <a:ext cx="850236" cy="234445"/>
          </a:xfrm>
          <a:prstGeom prst="rect">
            <a:avLst/>
          </a:prstGeom>
          <a:solidFill>
            <a:srgbClr val="D5D1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sz="716" b="1">
                <a:solidFill>
                  <a:srgbClr val="FFFFFF"/>
                </a:solidFill>
                <a:latin typeface="Arial"/>
              </a:rPr>
              <a:t>PD-L1</a:t>
            </a:r>
          </a:p>
        </p:txBody>
      </p:sp>
      <p:sp>
        <p:nvSpPr>
          <p:cNvPr id="19" name="Прямоугольник 18">
            <a:extLst>
              <a:ext uri="{FF2B5EF4-FFF2-40B4-BE49-F238E27FC236}">
                <a16:creationId xmlns:a16="http://schemas.microsoft.com/office/drawing/2014/main" xmlns="" id="{5ED57A53-6418-4D3A-AE49-C81919D5F638}"/>
              </a:ext>
            </a:extLst>
          </p:cNvPr>
          <p:cNvSpPr/>
          <p:nvPr/>
        </p:nvSpPr>
        <p:spPr>
          <a:xfrm>
            <a:off x="4591224" y="1469859"/>
            <a:ext cx="850236" cy="234445"/>
          </a:xfrm>
          <a:prstGeom prst="rect">
            <a:avLst/>
          </a:prstGeom>
          <a:solidFill>
            <a:srgbClr val="D5D1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sz="716" b="1">
                <a:solidFill>
                  <a:srgbClr val="FFFFFF"/>
                </a:solidFill>
                <a:latin typeface="Arial"/>
              </a:rPr>
              <a:t>MSI-H/dMMR</a:t>
            </a:r>
          </a:p>
        </p:txBody>
      </p:sp>
      <p:sp>
        <p:nvSpPr>
          <p:cNvPr id="20" name="Прямоугольник 19">
            <a:extLst>
              <a:ext uri="{FF2B5EF4-FFF2-40B4-BE49-F238E27FC236}">
                <a16:creationId xmlns:a16="http://schemas.microsoft.com/office/drawing/2014/main" xmlns="" id="{7543E8A3-37EF-4FBB-97AC-5AE48037707B}"/>
              </a:ext>
            </a:extLst>
          </p:cNvPr>
          <p:cNvSpPr/>
          <p:nvPr/>
        </p:nvSpPr>
        <p:spPr>
          <a:xfrm>
            <a:off x="5475230" y="1469859"/>
            <a:ext cx="850236" cy="234445"/>
          </a:xfrm>
          <a:prstGeom prst="rect">
            <a:avLst/>
          </a:prstGeom>
          <a:solidFill>
            <a:srgbClr val="D5D1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sz="716" b="1" dirty="0">
                <a:solidFill>
                  <a:srgbClr val="FFFFFF"/>
                </a:solidFill>
                <a:latin typeface="Arial"/>
              </a:rPr>
              <a:t>Химерный ген </a:t>
            </a:r>
            <a:r>
              <a:rPr lang="ru" sz="716" b="1" i="1" dirty="0">
                <a:solidFill>
                  <a:srgbClr val="FFFFFF"/>
                </a:solidFill>
                <a:latin typeface="Arial"/>
              </a:rPr>
              <a:t>NTRK</a:t>
            </a:r>
          </a:p>
        </p:txBody>
      </p:sp>
      <p:grpSp>
        <p:nvGrpSpPr>
          <p:cNvPr id="23" name="Группа 22">
            <a:extLst>
              <a:ext uri="{FF2B5EF4-FFF2-40B4-BE49-F238E27FC236}">
                <a16:creationId xmlns:a16="http://schemas.microsoft.com/office/drawing/2014/main" xmlns="" id="{D30740F2-24C6-429B-A998-80B2FEF9E62B}"/>
              </a:ext>
            </a:extLst>
          </p:cNvPr>
          <p:cNvGrpSpPr/>
          <p:nvPr/>
        </p:nvGrpSpPr>
        <p:grpSpPr>
          <a:xfrm>
            <a:off x="2813859" y="3557763"/>
            <a:ext cx="3447964" cy="898976"/>
            <a:chOff x="510540" y="6559867"/>
            <a:chExt cx="6742684" cy="1757998"/>
          </a:xfrm>
        </p:grpSpPr>
        <p:pic>
          <p:nvPicPr>
            <p:cNvPr id="6" name="Рисунок 5"/>
            <p:cNvPicPr>
              <a:picLocks noChangeAspect="1"/>
            </p:cNvPicPr>
            <p:nvPr/>
          </p:nvPicPr>
          <p:blipFill rotWithShape="1">
            <a:blip r:embed="rId3"/>
            <a:srcRect r="67306"/>
            <a:stretch/>
          </p:blipFill>
          <p:spPr>
            <a:xfrm>
              <a:off x="510540" y="6574409"/>
              <a:ext cx="2198370" cy="1743456"/>
            </a:xfrm>
            <a:prstGeom prst="rect">
              <a:avLst/>
            </a:prstGeom>
          </p:spPr>
        </p:pic>
        <p:pic>
          <p:nvPicPr>
            <p:cNvPr id="21" name="Рисунок 20">
              <a:extLst>
                <a:ext uri="{FF2B5EF4-FFF2-40B4-BE49-F238E27FC236}">
                  <a16:creationId xmlns:a16="http://schemas.microsoft.com/office/drawing/2014/main" xmlns="" id="{F5A7CAB5-7342-418F-AC2C-A895C394E434}"/>
                </a:ext>
              </a:extLst>
            </p:cNvPr>
            <p:cNvPicPr>
              <a:picLocks noChangeAspect="1"/>
            </p:cNvPicPr>
            <p:nvPr/>
          </p:nvPicPr>
          <p:blipFill rotWithShape="1">
            <a:blip r:embed="rId3"/>
            <a:srcRect l="33166" t="834" r="33874" b="-1"/>
            <a:stretch/>
          </p:blipFill>
          <p:spPr>
            <a:xfrm>
              <a:off x="2740533" y="6574409"/>
              <a:ext cx="2216150" cy="1728914"/>
            </a:xfrm>
            <a:prstGeom prst="rect">
              <a:avLst/>
            </a:prstGeom>
          </p:spPr>
        </p:pic>
        <p:pic>
          <p:nvPicPr>
            <p:cNvPr id="22" name="Рисунок 21">
              <a:extLst>
                <a:ext uri="{FF2B5EF4-FFF2-40B4-BE49-F238E27FC236}">
                  <a16:creationId xmlns:a16="http://schemas.microsoft.com/office/drawing/2014/main" xmlns="" id="{7D72B8B6-88F3-41CF-9A61-A4C479B1FB7B}"/>
                </a:ext>
              </a:extLst>
            </p:cNvPr>
            <p:cNvPicPr>
              <a:picLocks noChangeAspect="1"/>
            </p:cNvPicPr>
            <p:nvPr/>
          </p:nvPicPr>
          <p:blipFill rotWithShape="1">
            <a:blip r:embed="rId3"/>
            <a:srcRect l="66316"/>
            <a:stretch/>
          </p:blipFill>
          <p:spPr>
            <a:xfrm>
              <a:off x="4988306" y="6559867"/>
              <a:ext cx="2264918" cy="1743456"/>
            </a:xfrm>
            <a:prstGeom prst="rect">
              <a:avLst/>
            </a:prstGeom>
          </p:spPr>
        </p:pic>
      </p:grpSp>
      <p:sp>
        <p:nvSpPr>
          <p:cNvPr id="31" name="Прямоугольник 36">
            <a:extLst>
              <a:ext uri="{FF2B5EF4-FFF2-40B4-BE49-F238E27FC236}">
                <a16:creationId xmlns:a16="http://schemas.microsoft.com/office/drawing/2014/main" xmlns="" id="{9CFA462E-463A-4B71-8FE2-0726E93F0AE1}"/>
              </a:ext>
            </a:extLst>
          </p:cNvPr>
          <p:cNvSpPr/>
          <p:nvPr/>
        </p:nvSpPr>
        <p:spPr>
          <a:xfrm>
            <a:off x="450377" y="634038"/>
            <a:ext cx="8441140" cy="612544"/>
          </a:xfrm>
          <a:prstGeom prst="rect">
            <a:avLst/>
          </a:prstGeom>
          <a:solidFill>
            <a:srgbClr val="FFFFFF"/>
          </a:solidFill>
        </p:spPr>
        <p:txBody>
          <a:bodyPr lIns="0" tIns="0" rIns="0" bIns="0" rtlCol="0">
            <a:noAutofit/>
          </a:bodyPr>
          <a:lstStyle/>
          <a:p>
            <a:pPr>
              <a:spcAft>
                <a:spcPts val="71"/>
              </a:spcAft>
            </a:pPr>
            <a:r>
              <a:rPr lang="ru" sz="975" spc="-20" dirty="0">
                <a:solidFill>
                  <a:srgbClr val="3F4444"/>
                </a:solidFill>
                <a:latin typeface="Arial"/>
              </a:rPr>
              <a:t>При обследовании по поводу рака желудка может быть проведена оценка биомаркеров. </a:t>
            </a:r>
          </a:p>
          <a:p>
            <a:pPr>
              <a:spcAft>
                <a:spcPts val="71"/>
              </a:spcAft>
            </a:pPr>
            <a:r>
              <a:rPr lang="ru" sz="975" spc="-20" dirty="0">
                <a:solidFill>
                  <a:srgbClr val="3F4444"/>
                </a:solidFill>
                <a:latin typeface="Arial"/>
              </a:rPr>
              <a:t>Для большинства биомаркеров исследование рекомендуется проводить только у пациентов с подозрением на наличие метастазов или подтвержденными метастазами, поскольку р</a:t>
            </a:r>
            <a:r>
              <a:rPr lang="ru-RU" sz="975" spc="-20" dirty="0">
                <a:solidFill>
                  <a:srgbClr val="3F4444"/>
                </a:solidFill>
                <a:latin typeface="Arial"/>
              </a:rPr>
              <a:t>езультаты необходимы онкологу для принятия решения о лечении</a:t>
            </a:r>
            <a:r>
              <a:rPr lang="ru" sz="975" spc="-20" dirty="0">
                <a:solidFill>
                  <a:srgbClr val="3F4444"/>
                </a:solidFill>
                <a:latin typeface="Arial"/>
              </a:rPr>
              <a:t>. </a:t>
            </a:r>
          </a:p>
          <a:p>
            <a:pPr>
              <a:spcAft>
                <a:spcPts val="71"/>
              </a:spcAft>
            </a:pPr>
            <a:r>
              <a:rPr lang="ru" sz="975" spc="-20" dirty="0">
                <a:solidFill>
                  <a:srgbClr val="3F4444"/>
                </a:solidFill>
                <a:latin typeface="Arial"/>
              </a:rPr>
              <a:t>У пациентов с впервые выявленным заболеванием рекомендуется провести анализ на определение микросателлитной нестабильности MSI-H/dMMR.</a:t>
            </a:r>
          </a:p>
        </p:txBody>
      </p:sp>
      <p:sp>
        <p:nvSpPr>
          <p:cNvPr id="24" name="TextBox 23">
            <a:extLst>
              <a:ext uri="{FF2B5EF4-FFF2-40B4-BE49-F238E27FC236}">
                <a16:creationId xmlns:a16="http://schemas.microsoft.com/office/drawing/2014/main" xmlns="" id="{62C00ED2-4BC8-45E2-8751-9F9C3242A772}"/>
              </a:ext>
            </a:extLst>
          </p:cNvPr>
          <p:cNvSpPr txBox="1"/>
          <p:nvPr/>
        </p:nvSpPr>
        <p:spPr>
          <a:xfrm>
            <a:off x="550205" y="4767090"/>
            <a:ext cx="8139364" cy="369332"/>
          </a:xfrm>
          <a:prstGeom prst="rect">
            <a:avLst/>
          </a:prstGeom>
          <a:noFill/>
        </p:spPr>
        <p:txBody>
          <a:bodyPr wrap="square">
            <a:spAutoFit/>
          </a:bodyPr>
          <a:lstStyle/>
          <a:p>
            <a:pPr rtl="0"/>
            <a:r>
              <a:rPr lang="ru" sz="600" dirty="0">
                <a:solidFill>
                  <a:srgbClr val="3F4444"/>
                </a:solidFill>
                <a:latin typeface="Arial"/>
              </a:rPr>
              <a:t>1. Matsusaka K, Ishikawa S, Nakayama A, et al. Tumor content chart-assisted HER2/CEP17 digital PCR analysis of gastric cancer biopsy specimens</a:t>
            </a:r>
            <a:r>
              <a:rPr lang="ru" sz="600" i="1" dirty="0">
                <a:solidFill>
                  <a:srgbClr val="3F4444"/>
                </a:solidFill>
                <a:latin typeface="Arial"/>
              </a:rPr>
              <a:t>. PLoS One.</a:t>
            </a:r>
            <a:r>
              <a:rPr lang="ru" sz="600" dirty="0">
                <a:solidFill>
                  <a:srgbClr val="3F4444"/>
                </a:solidFill>
                <a:latin typeface="Arial"/>
              </a:rPr>
              <a:t> 2016;11(4):e0154430.</a:t>
            </a:r>
          </a:p>
          <a:p>
            <a:r>
              <a:rPr lang="ru" sz="600" dirty="0">
                <a:solidFill>
                  <a:srgbClr val="3F4444"/>
                </a:solidFill>
                <a:latin typeface="Arial"/>
              </a:rPr>
              <a:t>2. Портал (электронный ресурс). </a:t>
            </a:r>
            <a:r>
              <a:rPr lang="ru" sz="600" u="sng" dirty="0">
                <a:solidFill>
                  <a:srgbClr val="003865"/>
                </a:solidFill>
                <a:latin typeface="Arial"/>
              </a:rPr>
              <a:t>https://clinicaltrials.gov/ct2/show/NCT03329690</a:t>
            </a:r>
            <a:r>
              <a:rPr lang="ru" sz="600" dirty="0">
                <a:solidFill>
                  <a:srgbClr val="3F4444"/>
                </a:solidFill>
                <a:latin typeface="Arial"/>
              </a:rPr>
              <a:t>. (дата обращения 22.03.2023)</a:t>
            </a:r>
          </a:p>
          <a:p>
            <a:r>
              <a:rPr lang="ru" sz="600" dirty="0">
                <a:solidFill>
                  <a:srgbClr val="3F4444"/>
                </a:solidFill>
                <a:latin typeface="Arial"/>
              </a:rPr>
              <a:t>3. Van Cutsem E, Bang YJ, Feng-Yi F, et al. HER2 screening data from ToGA: targeting HER2 in gastric and gastroesophageal junction cancer. </a:t>
            </a:r>
            <a:r>
              <a:rPr lang="ru" sz="600" i="1" dirty="0">
                <a:solidFill>
                  <a:srgbClr val="3F4444"/>
                </a:solidFill>
                <a:latin typeface="Arial"/>
              </a:rPr>
              <a:t>Gastric Cancer.</a:t>
            </a:r>
            <a:r>
              <a:rPr lang="ru" sz="600" dirty="0">
                <a:solidFill>
                  <a:srgbClr val="3F4444"/>
                </a:solidFill>
                <a:latin typeface="Arial"/>
              </a:rPr>
              <a:t> 2015;18(3):476-484.</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xmlns="" id="{54B81071-4221-48D8-B0D7-FCB87373D977}"/>
              </a:ext>
            </a:extLst>
          </p:cNvPr>
          <p:cNvSpPr>
            <a:spLocks noGrp="1"/>
          </p:cNvSpPr>
          <p:nvPr>
            <p:ph type="title"/>
          </p:nvPr>
        </p:nvSpPr>
        <p:spPr/>
        <p:txBody>
          <a:bodyPr rtlCol="0"/>
          <a:lstStyle/>
          <a:p>
            <a:pPr rtl="0"/>
            <a:r>
              <a:rPr lang="ru" sz="2100" dirty="0">
                <a:solidFill>
                  <a:srgbClr val="830051"/>
                </a:solidFill>
                <a:latin typeface="Arial"/>
                <a:ea typeface="+mn-ea"/>
                <a:cs typeface="+mn-cs"/>
              </a:rPr>
              <a:t>Определение HER2 статуса опухоли: значимость вопроса и основные проблемы</a:t>
            </a:r>
          </a:p>
        </p:txBody>
      </p:sp>
      <p:sp>
        <p:nvSpPr>
          <p:cNvPr id="2" name="Rectangle 1">
            <a:extLst>
              <a:ext uri="{FF2B5EF4-FFF2-40B4-BE49-F238E27FC236}">
                <a16:creationId xmlns:a16="http://schemas.microsoft.com/office/drawing/2014/main" xmlns="" id="{323CCE02-5B46-46F9-A67F-E198514FA07F}"/>
              </a:ext>
            </a:extLst>
          </p:cNvPr>
          <p:cNvSpPr/>
          <p:nvPr/>
        </p:nvSpPr>
        <p:spPr>
          <a:xfrm>
            <a:off x="443545" y="915424"/>
            <a:ext cx="3780495" cy="923330"/>
          </a:xfrm>
          <a:prstGeom prst="rect">
            <a:avLst/>
          </a:prstGeom>
          <a:ln w="12700">
            <a:solidFill>
              <a:schemeClr val="tx1"/>
            </a:solidFill>
          </a:ln>
        </p:spPr>
        <p:txBody>
          <a:bodyPr wrap="square" rtlCol="0">
            <a:spAutoFit/>
          </a:bodyPr>
          <a:lstStyle/>
          <a:p>
            <a:pPr defTabSz="457189">
              <a:defRPr/>
            </a:pPr>
            <a:r>
              <a:rPr lang="ru" sz="900" b="1" dirty="0">
                <a:solidFill>
                  <a:srgbClr val="000000"/>
                </a:solidFill>
                <a:latin typeface="Arial" panose="020B0604020202020204"/>
              </a:rPr>
              <a:t>Определение HER2 статуса при раке желудка отличается от такового при раке молочной железы:</a:t>
            </a:r>
          </a:p>
          <a:p>
            <a:pPr defTabSz="457189">
              <a:defRPr/>
            </a:pPr>
            <a:r>
              <a:rPr lang="ru" sz="900" dirty="0">
                <a:solidFill>
                  <a:srgbClr val="000000"/>
                </a:solidFill>
                <a:latin typeface="Arial" panose="020B0604020202020204"/>
              </a:rPr>
              <a:t>1) различные биологические особенности опухолей;</a:t>
            </a:r>
          </a:p>
          <a:p>
            <a:pPr defTabSz="457189">
              <a:defRPr/>
            </a:pPr>
            <a:r>
              <a:rPr lang="ru" sz="900" dirty="0">
                <a:solidFill>
                  <a:srgbClr val="000000"/>
                </a:solidFill>
                <a:latin typeface="Arial" panose="020B0604020202020204"/>
              </a:rPr>
              <a:t>2) внутриопухолевая гетерогенность экспрессии гена HER2;</a:t>
            </a:r>
          </a:p>
          <a:p>
            <a:pPr defTabSz="457189">
              <a:defRPr/>
            </a:pPr>
            <a:r>
              <a:rPr lang="ru" sz="900" dirty="0">
                <a:solidFill>
                  <a:srgbClr val="000000"/>
                </a:solidFill>
                <a:latin typeface="Arial" panose="020B0604020202020204"/>
              </a:rPr>
              <a:t>3) неполное мембранное окрашивание, часто наблюдаемое при раке желудка. </a:t>
            </a:r>
            <a:endParaRPr lang="ru" sz="900" dirty="0">
              <a:solidFill>
                <a:srgbClr val="0000FF"/>
              </a:solidFill>
              <a:latin typeface="Arial" panose="020B0604020202020204"/>
            </a:endParaRPr>
          </a:p>
        </p:txBody>
      </p:sp>
      <p:sp>
        <p:nvSpPr>
          <p:cNvPr id="4" name="Rectangle 3">
            <a:extLst>
              <a:ext uri="{FF2B5EF4-FFF2-40B4-BE49-F238E27FC236}">
                <a16:creationId xmlns:a16="http://schemas.microsoft.com/office/drawing/2014/main" xmlns="" id="{6C097B09-346E-4563-AC6F-2C816124CAAA}"/>
              </a:ext>
            </a:extLst>
          </p:cNvPr>
          <p:cNvSpPr/>
          <p:nvPr/>
        </p:nvSpPr>
        <p:spPr>
          <a:xfrm>
            <a:off x="4402877" y="922668"/>
            <a:ext cx="4361607" cy="3493264"/>
          </a:xfrm>
          <a:prstGeom prst="rect">
            <a:avLst/>
          </a:prstGeom>
          <a:ln w="12700">
            <a:solidFill>
              <a:schemeClr val="tx1"/>
            </a:solidFill>
          </a:ln>
        </p:spPr>
        <p:txBody>
          <a:bodyPr wrap="square" rtlCol="0">
            <a:spAutoFit/>
          </a:bodyPr>
          <a:lstStyle/>
          <a:p>
            <a:pPr defTabSz="457189">
              <a:defRPr/>
            </a:pPr>
            <a:r>
              <a:rPr lang="ru" sz="850" b="1" dirty="0">
                <a:solidFill>
                  <a:srgbClr val="000000"/>
                </a:solidFill>
                <a:latin typeface="Arial" panose="020B0604020202020204"/>
              </a:rPr>
              <a:t>Определение HER2 статуса и принятие клинических решений при</a:t>
            </a:r>
          </a:p>
          <a:p>
            <a:pPr defTabSz="457189">
              <a:defRPr/>
            </a:pPr>
            <a:r>
              <a:rPr lang="ru" sz="850" b="1" dirty="0">
                <a:solidFill>
                  <a:srgbClr val="000000"/>
                </a:solidFill>
                <a:latin typeface="Arial" panose="020B0604020202020204"/>
              </a:rPr>
              <a:t>аденокарциноме пищевода: </a:t>
            </a:r>
            <a:r>
              <a:rPr lang="ru" sz="850" dirty="0">
                <a:solidFill>
                  <a:srgbClr val="000000"/>
                </a:solidFill>
                <a:latin typeface="Arial" panose="020B0604020202020204"/>
              </a:rPr>
              <a:t>р</a:t>
            </a:r>
            <a:r>
              <a:rPr lang="en" sz="850" dirty="0">
                <a:solidFill>
                  <a:srgbClr val="000000"/>
                </a:solidFill>
                <a:latin typeface="Arial" panose="020B0604020202020204"/>
              </a:rPr>
              <a:t>екомендации Американской коллегии физиологов, Американского общества клинической патологии и Американского общества клинической онкологии</a:t>
            </a:r>
            <a:r>
              <a:rPr lang="ru-RU" sz="850" dirty="0">
                <a:solidFill>
                  <a:srgbClr val="000000"/>
                </a:solidFill>
                <a:latin typeface="Arial" panose="020B0604020202020204"/>
              </a:rPr>
              <a:t>.</a:t>
            </a:r>
            <a:r>
              <a:rPr lang="en" sz="850" dirty="0">
                <a:solidFill>
                  <a:srgbClr val="000000"/>
                </a:solidFill>
                <a:latin typeface="Arial" panose="020B0604020202020204"/>
              </a:rPr>
              <a:t> </a:t>
            </a:r>
            <a:endParaRPr lang="ru" sz="850" i="1" dirty="0">
              <a:solidFill>
                <a:srgbClr val="0000FF"/>
              </a:solidFill>
              <a:latin typeface="Arial" panose="020B0604020202020204"/>
            </a:endParaRPr>
          </a:p>
          <a:p>
            <a:pPr defTabSz="457189">
              <a:defRPr/>
            </a:pPr>
            <a:endParaRPr lang="en-US" sz="850" dirty="0">
              <a:solidFill>
                <a:srgbClr val="000000"/>
              </a:solidFill>
              <a:latin typeface="Arial" panose="020B0604020202020204"/>
            </a:endParaRPr>
          </a:p>
          <a:p>
            <a:pPr defTabSz="457189">
              <a:defRPr/>
            </a:pPr>
            <a:r>
              <a:rPr lang="ru" sz="850" dirty="0">
                <a:solidFill>
                  <a:srgbClr val="000000"/>
                </a:solidFill>
                <a:latin typeface="Arial" panose="020B0604020202020204"/>
              </a:rPr>
              <a:t>Условиям поискового запроса соответствовали в общей сложности 969 исследований. Для получения данных было использовано в общей сложности 116 публикаций. Из них один систематический обзор, два мета-анализа, два рандомизированных контролируемых исследования, 27 проспективных исследований, 69 проспективных и ретроспективных исследований и 15 ретроспективных исследований.</a:t>
            </a:r>
          </a:p>
          <a:p>
            <a:pPr defTabSz="457189">
              <a:defRPr/>
            </a:pPr>
            <a:endParaRPr lang="en-US" sz="850" dirty="0">
              <a:solidFill>
                <a:srgbClr val="000000"/>
              </a:solidFill>
              <a:latin typeface="Arial" panose="020B0604020202020204"/>
            </a:endParaRPr>
          </a:p>
          <a:p>
            <a:pPr defTabSz="457189">
              <a:defRPr/>
            </a:pPr>
            <a:r>
              <a:rPr lang="ru" sz="850" b="1" dirty="0">
                <a:solidFill>
                  <a:srgbClr val="000000"/>
                </a:solidFill>
                <a:latin typeface="Arial" panose="020B0604020202020204"/>
              </a:rPr>
              <a:t>Рекомендации</a:t>
            </a:r>
          </a:p>
          <a:p>
            <a:pPr defTabSz="457189">
              <a:defRPr/>
            </a:pPr>
            <a:r>
              <a:rPr lang="ru" sz="850" dirty="0">
                <a:solidFill>
                  <a:srgbClr val="000000"/>
                </a:solidFill>
                <a:latin typeface="Arial" panose="020B0604020202020204"/>
              </a:rPr>
              <a:t>1. Возможным кандидатам на таргетную анти-HER2 терапию </a:t>
            </a:r>
            <a:r>
              <a:rPr lang="ru" sz="850" b="1" u="sng" dirty="0">
                <a:solidFill>
                  <a:srgbClr val="000000"/>
                </a:solidFill>
                <a:latin typeface="Arial" panose="020B0604020202020204"/>
              </a:rPr>
              <a:t>лечащий врач должен провести определение HER2 статуса в образце опухолевой ткани.</a:t>
            </a:r>
          </a:p>
          <a:p>
            <a:pPr defTabSz="457189">
              <a:defRPr/>
            </a:pPr>
            <a:endParaRPr lang="en-US" sz="850" dirty="0">
              <a:solidFill>
                <a:srgbClr val="000000"/>
              </a:solidFill>
              <a:latin typeface="Arial" panose="020B0604020202020204"/>
            </a:endParaRPr>
          </a:p>
          <a:p>
            <a:pPr defTabSz="457189">
              <a:defRPr/>
            </a:pPr>
            <a:r>
              <a:rPr lang="ru" sz="850" dirty="0">
                <a:solidFill>
                  <a:srgbClr val="000000"/>
                </a:solidFill>
                <a:latin typeface="Arial" panose="020B0604020202020204"/>
              </a:rPr>
              <a:t>2. Лечащие врачи или специалист по лабораторной диагностике должны провести определение HER2 статуса в образце опухолевой ткани, полученном в ходе биопсии или во время операции (первичный очаг или метастаз), </a:t>
            </a:r>
            <a:r>
              <a:rPr lang="ru" sz="850" b="1" u="sng" dirty="0">
                <a:solidFill>
                  <a:srgbClr val="000000"/>
                </a:solidFill>
                <a:latin typeface="Arial" panose="020B0604020202020204"/>
              </a:rPr>
              <a:t>предпочтительно до начала терапии трастузумабом</a:t>
            </a:r>
            <a:r>
              <a:rPr lang="ru" sz="850" dirty="0">
                <a:solidFill>
                  <a:srgbClr val="000000"/>
                </a:solidFill>
                <a:latin typeface="Arial" panose="020B0604020202020204"/>
              </a:rPr>
              <a:t>, если подобный образец имеется.</a:t>
            </a:r>
          </a:p>
          <a:p>
            <a:pPr defTabSz="457189">
              <a:defRPr/>
            </a:pPr>
            <a:endParaRPr lang="en-US" sz="850" dirty="0">
              <a:solidFill>
                <a:srgbClr val="000000"/>
              </a:solidFill>
              <a:latin typeface="Arial" panose="020B0604020202020204"/>
            </a:endParaRPr>
          </a:p>
          <a:p>
            <a:pPr defTabSz="457189">
              <a:defRPr/>
            </a:pPr>
            <a:r>
              <a:rPr lang="ru" sz="850" dirty="0">
                <a:solidFill>
                  <a:srgbClr val="000000"/>
                </a:solidFill>
                <a:latin typeface="Arial" panose="020B0604020202020204"/>
              </a:rPr>
              <a:t>3. Пациентам с метастатической или рецидивирующей аденокарциномой пищевода </a:t>
            </a:r>
            <a:r>
              <a:rPr lang="ru" sz="850" b="1" u="sng" dirty="0">
                <a:solidFill>
                  <a:srgbClr val="000000"/>
                </a:solidFill>
                <a:latin typeface="Arial" panose="020B0604020202020204"/>
              </a:rPr>
              <a:t>c HER2-положительной опухолью в качестве стартового лечения следует предложить комбинацию химиотерапии и таргетной анти-HER2 терапии.</a:t>
            </a:r>
          </a:p>
        </p:txBody>
      </p:sp>
      <p:sp>
        <p:nvSpPr>
          <p:cNvPr id="6" name="TextBox 5">
            <a:extLst>
              <a:ext uri="{FF2B5EF4-FFF2-40B4-BE49-F238E27FC236}">
                <a16:creationId xmlns:a16="http://schemas.microsoft.com/office/drawing/2014/main" xmlns="" id="{FB147DB8-92B3-411A-A8CD-1A0246AD5004}"/>
              </a:ext>
            </a:extLst>
          </p:cNvPr>
          <p:cNvSpPr txBox="1"/>
          <p:nvPr/>
        </p:nvSpPr>
        <p:spPr>
          <a:xfrm>
            <a:off x="4114801" y="2116068"/>
            <a:ext cx="65" cy="276999"/>
          </a:xfrm>
          <a:prstGeom prst="rect">
            <a:avLst/>
          </a:prstGeom>
          <a:noFill/>
        </p:spPr>
        <p:txBody>
          <a:bodyPr wrap="none" lIns="0" tIns="0" rIns="0" bIns="0" rtlCol="0">
            <a:spAutoFit/>
          </a:bodyPr>
          <a:lstStyle/>
          <a:p>
            <a:pPr defTabSz="457189">
              <a:defRPr/>
            </a:pPr>
            <a:endParaRPr lang="en-US" dirty="0">
              <a:solidFill>
                <a:srgbClr val="000000"/>
              </a:solidFill>
              <a:latin typeface="Arial" panose="020B0604020202020204"/>
            </a:endParaRPr>
          </a:p>
        </p:txBody>
      </p:sp>
      <p:grpSp>
        <p:nvGrpSpPr>
          <p:cNvPr id="14" name="Group 13">
            <a:extLst>
              <a:ext uri="{FF2B5EF4-FFF2-40B4-BE49-F238E27FC236}">
                <a16:creationId xmlns:a16="http://schemas.microsoft.com/office/drawing/2014/main" xmlns="" id="{4C1598D1-6E6E-4D2C-8DEC-8554D99D4035}"/>
              </a:ext>
            </a:extLst>
          </p:cNvPr>
          <p:cNvGrpSpPr/>
          <p:nvPr/>
        </p:nvGrpSpPr>
        <p:grpSpPr>
          <a:xfrm>
            <a:off x="443545" y="1944328"/>
            <a:ext cx="2408349" cy="1899689"/>
            <a:chOff x="443547" y="3026420"/>
            <a:chExt cx="2358460" cy="1769121"/>
          </a:xfrm>
        </p:grpSpPr>
        <p:pic>
          <p:nvPicPr>
            <p:cNvPr id="5" name="Picture 4">
              <a:extLst>
                <a:ext uri="{FF2B5EF4-FFF2-40B4-BE49-F238E27FC236}">
                  <a16:creationId xmlns:a16="http://schemas.microsoft.com/office/drawing/2014/main" xmlns="" id="{FD898C56-A1EF-4CEE-BD4B-FEF2DCD1B7D5}"/>
                </a:ext>
              </a:extLst>
            </p:cNvPr>
            <p:cNvPicPr>
              <a:picLocks noChangeAspect="1"/>
            </p:cNvPicPr>
            <p:nvPr/>
          </p:nvPicPr>
          <p:blipFill>
            <a:blip r:embed="rId2"/>
            <a:stretch>
              <a:fillRect/>
            </a:stretch>
          </p:blipFill>
          <p:spPr>
            <a:xfrm>
              <a:off x="443547" y="3026420"/>
              <a:ext cx="2358460" cy="1769121"/>
            </a:xfrm>
            <a:prstGeom prst="rect">
              <a:avLst/>
            </a:prstGeom>
          </p:spPr>
        </p:pic>
        <p:cxnSp>
          <p:nvCxnSpPr>
            <p:cNvPr id="8" name="Straight Arrow Connector 7">
              <a:extLst>
                <a:ext uri="{FF2B5EF4-FFF2-40B4-BE49-F238E27FC236}">
                  <a16:creationId xmlns:a16="http://schemas.microsoft.com/office/drawing/2014/main" xmlns="" id="{1B1A6848-C086-4646-89F7-947ED4066210}"/>
                </a:ext>
              </a:extLst>
            </p:cNvPr>
            <p:cNvCxnSpPr/>
            <p:nvPr/>
          </p:nvCxnSpPr>
          <p:spPr>
            <a:xfrm flipH="1" flipV="1">
              <a:off x="2459979" y="3374379"/>
              <a:ext cx="210393" cy="137564"/>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xmlns="" id="{1DE9ABB6-7D00-4773-9022-C2E77D1383BE}"/>
                </a:ext>
              </a:extLst>
            </p:cNvPr>
            <p:cNvCxnSpPr>
              <a:cxnSpLocks/>
            </p:cNvCxnSpPr>
            <p:nvPr/>
          </p:nvCxnSpPr>
          <p:spPr>
            <a:xfrm flipV="1">
              <a:off x="906308" y="4534320"/>
              <a:ext cx="275129" cy="199521"/>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2" name="Isosceles Triangle 11">
              <a:extLst>
                <a:ext uri="{FF2B5EF4-FFF2-40B4-BE49-F238E27FC236}">
                  <a16:creationId xmlns:a16="http://schemas.microsoft.com/office/drawing/2014/main" xmlns="" id="{5D644F05-BABB-4BFE-8182-C4FC0461E679}"/>
                </a:ext>
              </a:extLst>
            </p:cNvPr>
            <p:cNvSpPr/>
            <p:nvPr/>
          </p:nvSpPr>
          <p:spPr>
            <a:xfrm rot="1368410">
              <a:off x="1808103" y="3444342"/>
              <a:ext cx="63127" cy="12268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srgbClr val="FFFFFF"/>
                </a:solidFill>
                <a:latin typeface="Arial" panose="020B0604020202020204"/>
              </a:endParaRPr>
            </a:p>
          </p:txBody>
        </p:sp>
        <p:sp>
          <p:nvSpPr>
            <p:cNvPr id="26" name="Isosceles Triangle 25">
              <a:extLst>
                <a:ext uri="{FF2B5EF4-FFF2-40B4-BE49-F238E27FC236}">
                  <a16:creationId xmlns:a16="http://schemas.microsoft.com/office/drawing/2014/main" xmlns="" id="{AA454946-7C2A-4FFA-A73B-2D366C04B30A}"/>
                </a:ext>
              </a:extLst>
            </p:cNvPr>
            <p:cNvSpPr/>
            <p:nvPr/>
          </p:nvSpPr>
          <p:spPr>
            <a:xfrm rot="7951999">
              <a:off x="665777" y="3873912"/>
              <a:ext cx="63127" cy="122687"/>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dirty="0">
                <a:solidFill>
                  <a:srgbClr val="FFFFFF"/>
                </a:solidFill>
                <a:latin typeface="Arial" panose="020B0604020202020204"/>
              </a:endParaRPr>
            </a:p>
          </p:txBody>
        </p:sp>
      </p:grpSp>
      <p:sp>
        <p:nvSpPr>
          <p:cNvPr id="27" name="Rectangle 26">
            <a:extLst>
              <a:ext uri="{FF2B5EF4-FFF2-40B4-BE49-F238E27FC236}">
                <a16:creationId xmlns:a16="http://schemas.microsoft.com/office/drawing/2014/main" xmlns="" id="{936DDDAC-70DF-46A5-9DD0-2C46738F6974}"/>
              </a:ext>
            </a:extLst>
          </p:cNvPr>
          <p:cNvSpPr/>
          <p:nvPr/>
        </p:nvSpPr>
        <p:spPr>
          <a:xfrm>
            <a:off x="2896854" y="2161596"/>
            <a:ext cx="1371604" cy="1323439"/>
          </a:xfrm>
          <a:prstGeom prst="rect">
            <a:avLst/>
          </a:prstGeom>
        </p:spPr>
        <p:txBody>
          <a:bodyPr wrap="square" rtlCol="0">
            <a:spAutoFit/>
          </a:bodyPr>
          <a:lstStyle/>
          <a:p>
            <a:pPr defTabSz="457189">
              <a:defRPr/>
            </a:pPr>
            <a:r>
              <a:rPr lang="ru" sz="800" dirty="0">
                <a:solidFill>
                  <a:srgbClr val="000000"/>
                </a:solidFill>
                <a:latin typeface="ArialNarrow"/>
              </a:rPr>
              <a:t>Стрелки указывают на участки с выраженным полным мембранным</a:t>
            </a:r>
          </a:p>
          <a:p>
            <a:pPr defTabSz="457189">
              <a:defRPr/>
            </a:pPr>
            <a:r>
              <a:rPr lang="ru" sz="800" dirty="0">
                <a:solidFill>
                  <a:srgbClr val="000000"/>
                </a:solidFill>
                <a:latin typeface="ArialNarrow"/>
              </a:rPr>
              <a:t>окрашиванием </a:t>
            </a:r>
            <a:br>
              <a:rPr lang="ru" sz="800" dirty="0">
                <a:solidFill>
                  <a:srgbClr val="000000"/>
                </a:solidFill>
                <a:latin typeface="ArialNarrow"/>
              </a:rPr>
            </a:br>
            <a:r>
              <a:rPr lang="ru" sz="800" dirty="0">
                <a:solidFill>
                  <a:srgbClr val="000000"/>
                </a:solidFill>
                <a:latin typeface="ArialNarrow"/>
              </a:rPr>
              <a:t>(оценка 3+), </a:t>
            </a:r>
            <a:br>
              <a:rPr lang="ru" sz="800" dirty="0">
                <a:solidFill>
                  <a:srgbClr val="000000"/>
                </a:solidFill>
                <a:latin typeface="ArialNarrow"/>
              </a:rPr>
            </a:br>
            <a:r>
              <a:rPr lang="ru" sz="800" dirty="0">
                <a:solidFill>
                  <a:srgbClr val="000000"/>
                </a:solidFill>
                <a:latin typeface="ArialNarrow"/>
              </a:rPr>
              <a:t>а треугольники — на участки с отрицательным статусом (оценка 0) </a:t>
            </a:r>
            <a:br>
              <a:rPr lang="ru" sz="800" dirty="0">
                <a:solidFill>
                  <a:srgbClr val="000000"/>
                </a:solidFill>
                <a:latin typeface="ArialNarrow"/>
              </a:rPr>
            </a:br>
            <a:r>
              <a:rPr lang="ru" sz="800" dirty="0">
                <a:solidFill>
                  <a:srgbClr val="000000"/>
                </a:solidFill>
                <a:latin typeface="ArialNarrow"/>
              </a:rPr>
              <a:t>(× 100)</a:t>
            </a:r>
            <a:endParaRPr lang="en-US" sz="800" dirty="0">
              <a:solidFill>
                <a:srgbClr val="000000"/>
              </a:solidFill>
              <a:latin typeface="Arial" panose="020B0604020202020204"/>
            </a:endParaRPr>
          </a:p>
        </p:txBody>
      </p:sp>
      <p:sp>
        <p:nvSpPr>
          <p:cNvPr id="28" name="Rectangle 27">
            <a:extLst>
              <a:ext uri="{FF2B5EF4-FFF2-40B4-BE49-F238E27FC236}">
                <a16:creationId xmlns:a16="http://schemas.microsoft.com/office/drawing/2014/main" xmlns="" id="{94A077CF-5995-46B2-8310-55BDAE4A21CD}"/>
              </a:ext>
            </a:extLst>
          </p:cNvPr>
          <p:cNvSpPr/>
          <p:nvPr/>
        </p:nvSpPr>
        <p:spPr>
          <a:xfrm>
            <a:off x="443545" y="3954194"/>
            <a:ext cx="3780495" cy="106182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defTabSz="457189">
              <a:defRPr/>
            </a:pPr>
            <a:r>
              <a:rPr lang="ru" sz="900" b="1" dirty="0">
                <a:solidFill>
                  <a:srgbClr val="000000">
                    <a:lumMod val="50000"/>
                  </a:srgbClr>
                </a:solidFill>
                <a:latin typeface="Arial" panose="020B0604020202020204"/>
              </a:rPr>
              <a:t>Важные факторы, влияющие на результат исследования:</a:t>
            </a:r>
          </a:p>
          <a:p>
            <a:pPr marL="171446" indent="-171446" defTabSz="457189">
              <a:buFont typeface="Arial" panose="020B0604020202020204" pitchFamily="34" charset="0"/>
              <a:buChar char="•"/>
              <a:defRPr/>
            </a:pPr>
            <a:r>
              <a:rPr lang="ru" sz="900" dirty="0">
                <a:solidFill>
                  <a:srgbClr val="000000">
                    <a:lumMod val="50000"/>
                  </a:srgbClr>
                </a:solidFill>
                <a:latin typeface="Arial" panose="020B0604020202020204"/>
              </a:rPr>
              <a:t>Опухолевая ткань: первичный очаг или метастаз</a:t>
            </a:r>
          </a:p>
          <a:p>
            <a:pPr marL="171446" indent="-171446" defTabSz="457189">
              <a:buFont typeface="Arial" panose="020B0604020202020204" pitchFamily="34" charset="0"/>
              <a:buChar char="•"/>
              <a:defRPr/>
            </a:pPr>
            <a:r>
              <a:rPr lang="ru" sz="900" dirty="0">
                <a:solidFill>
                  <a:srgbClr val="000000">
                    <a:lumMod val="50000"/>
                  </a:srgbClr>
                </a:solidFill>
                <a:latin typeface="Arial" panose="020B0604020202020204"/>
              </a:rPr>
              <a:t>Биопсия или тонкоигольная пункционная биопсия</a:t>
            </a:r>
          </a:p>
          <a:p>
            <a:pPr marL="171446" indent="-171446" defTabSz="457189">
              <a:buFont typeface="Arial" panose="020B0604020202020204" pitchFamily="34" charset="0"/>
              <a:buChar char="•"/>
              <a:defRPr/>
            </a:pPr>
            <a:r>
              <a:rPr lang="ru" sz="900" dirty="0">
                <a:solidFill>
                  <a:srgbClr val="000000">
                    <a:lumMod val="50000"/>
                  </a:srgbClr>
                </a:solidFill>
                <a:latin typeface="Arial" panose="020B0604020202020204"/>
              </a:rPr>
              <a:t>Архивный или свежий образец</a:t>
            </a:r>
          </a:p>
          <a:p>
            <a:pPr marL="171446" indent="-171446" defTabSz="457189">
              <a:buFont typeface="Arial" panose="020B0604020202020204" pitchFamily="34" charset="0"/>
              <a:buChar char="•"/>
              <a:defRPr/>
            </a:pPr>
            <a:r>
              <a:rPr lang="ru" sz="900" dirty="0">
                <a:solidFill>
                  <a:srgbClr val="FF0000"/>
                </a:solidFill>
                <a:latin typeface="Arial" panose="020B0604020202020204"/>
              </a:rPr>
              <a:t>До или после терапии трастузумабом</a:t>
            </a:r>
          </a:p>
          <a:p>
            <a:pPr marL="171446" indent="-171446" defTabSz="457189">
              <a:buFont typeface="Arial" panose="020B0604020202020204" pitchFamily="34" charset="0"/>
              <a:buChar char="•"/>
              <a:defRPr/>
            </a:pPr>
            <a:r>
              <a:rPr lang="ru" sz="900" dirty="0">
                <a:solidFill>
                  <a:srgbClr val="000000">
                    <a:lumMod val="50000"/>
                  </a:srgbClr>
                </a:solidFill>
                <a:latin typeface="Arial" panose="020B0604020202020204"/>
              </a:rPr>
              <a:t>Центральная или локальная оценка</a:t>
            </a:r>
          </a:p>
          <a:p>
            <a:pPr marL="171446" indent="-171446" defTabSz="457189">
              <a:buFont typeface="Arial" panose="020B0604020202020204" pitchFamily="34" charset="0"/>
              <a:buChar char="•"/>
              <a:defRPr/>
            </a:pPr>
            <a:r>
              <a:rPr lang="ru" sz="900" dirty="0">
                <a:solidFill>
                  <a:srgbClr val="000000">
                    <a:lumMod val="50000"/>
                  </a:srgbClr>
                </a:solidFill>
                <a:latin typeface="Arial" panose="020B0604020202020204"/>
              </a:rPr>
              <a:t>Повторная биопсия или повторное исследование</a:t>
            </a:r>
          </a:p>
        </p:txBody>
      </p:sp>
      <p:sp>
        <p:nvSpPr>
          <p:cNvPr id="17" name="TextBox 16">
            <a:extLst>
              <a:ext uri="{FF2B5EF4-FFF2-40B4-BE49-F238E27FC236}">
                <a16:creationId xmlns:a16="http://schemas.microsoft.com/office/drawing/2014/main" xmlns="" id="{C8A8E4A1-0861-42A8-B5D0-9CED533A5261}"/>
              </a:ext>
            </a:extLst>
          </p:cNvPr>
          <p:cNvSpPr txBox="1"/>
          <p:nvPr/>
        </p:nvSpPr>
        <p:spPr>
          <a:xfrm>
            <a:off x="3754321" y="4588733"/>
            <a:ext cx="4570821" cy="300082"/>
          </a:xfrm>
          <a:prstGeom prst="rect">
            <a:avLst/>
          </a:prstGeom>
          <a:noFill/>
        </p:spPr>
        <p:txBody>
          <a:bodyPr wrap="square">
            <a:spAutoFit/>
          </a:bodyPr>
          <a:lstStyle/>
          <a:p>
            <a:pPr algn="r"/>
            <a:r>
              <a:rPr lang="ru" sz="675" dirty="0">
                <a:latin typeface="Arial" panose="020B0604020202020204"/>
              </a:rPr>
              <a:t>World J Gastroenterol 2016 May 21; 22(19): 4619-4625</a:t>
            </a:r>
          </a:p>
          <a:p>
            <a:pPr algn="r"/>
            <a:r>
              <a:rPr lang="ru" sz="675" dirty="0">
                <a:latin typeface="Arial" panose="020B0604020202020204"/>
              </a:rPr>
              <a:t>Am J Clin Pathol December 2016;146:647-669</a:t>
            </a:r>
            <a:endParaRPr lang="ru-RU" sz="675" dirty="0"/>
          </a:p>
        </p:txBody>
      </p:sp>
    </p:spTree>
    <p:extLst>
      <p:ext uri="{BB962C8B-B14F-4D97-AF65-F5344CB8AC3E}">
        <p14:creationId xmlns:p14="http://schemas.microsoft.com/office/powerpoint/2010/main" val="32959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72CBFCBC-7FEE-6751-968D-40384C46B620}"/>
              </a:ext>
            </a:extLst>
          </p:cNvPr>
          <p:cNvSpPr>
            <a:spLocks noGrp="1"/>
          </p:cNvSpPr>
          <p:nvPr>
            <p:ph type="title"/>
          </p:nvPr>
        </p:nvSpPr>
        <p:spPr>
          <a:xfrm>
            <a:off x="237063" y="55616"/>
            <a:ext cx="8460185" cy="647466"/>
          </a:xfrm>
        </p:spPr>
        <p:txBody>
          <a:bodyPr>
            <a:normAutofit/>
          </a:bodyPr>
          <a:lstStyle/>
          <a:p>
            <a:r>
              <a:rPr lang="ru-RU" dirty="0"/>
              <a:t>HER2 — один из четырех рецепторов семейства HER (ERBB)</a:t>
            </a:r>
            <a:r>
              <a:rPr lang="ru-RU" baseline="30000" dirty="0"/>
              <a:t>1</a:t>
            </a:r>
          </a:p>
        </p:txBody>
      </p:sp>
      <p:sp>
        <p:nvSpPr>
          <p:cNvPr id="4" name="TextBox 3">
            <a:extLst>
              <a:ext uri="{FF2B5EF4-FFF2-40B4-BE49-F238E27FC236}">
                <a16:creationId xmlns:a16="http://schemas.microsoft.com/office/drawing/2014/main" xmlns="" id="{AE3381DD-AE20-346B-64EB-42E9E38C3A7B}"/>
              </a:ext>
            </a:extLst>
          </p:cNvPr>
          <p:cNvSpPr txBox="1"/>
          <p:nvPr/>
        </p:nvSpPr>
        <p:spPr>
          <a:xfrm>
            <a:off x="6709282" y="1393382"/>
            <a:ext cx="1919546" cy="276999"/>
          </a:xfrm>
          <a:prstGeom prst="rect">
            <a:avLst/>
          </a:prstGeom>
          <a:noFill/>
        </p:spPr>
        <p:txBody>
          <a:bodyPr wrap="square" rtlCol="0">
            <a:spAutoFit/>
          </a:bodyPr>
          <a:lstStyle/>
          <a:p>
            <a:pPr algn="ctr" defTabSz="456987">
              <a:defRPr/>
            </a:pPr>
            <a:r>
              <a:rPr lang="ru" sz="1200" b="1" dirty="0">
                <a:solidFill>
                  <a:srgbClr val="003865"/>
                </a:solidFill>
                <a:latin typeface="Arial"/>
              </a:rPr>
              <a:t>Структура HER</a:t>
            </a:r>
            <a:r>
              <a:rPr lang="ru" sz="1200" b="1" baseline="30000" dirty="0">
                <a:solidFill>
                  <a:srgbClr val="003865"/>
                </a:solidFill>
                <a:latin typeface="Arial"/>
              </a:rPr>
              <a:t>1</a:t>
            </a:r>
            <a:endParaRPr lang="en-US" sz="1200" b="1" strike="sngStrike" baseline="30000" dirty="0">
              <a:solidFill>
                <a:srgbClr val="003865"/>
              </a:solidFill>
              <a:latin typeface="Arial"/>
            </a:endParaRPr>
          </a:p>
        </p:txBody>
      </p:sp>
      <p:grpSp>
        <p:nvGrpSpPr>
          <p:cNvPr id="5" name="Group 10">
            <a:extLst>
              <a:ext uri="{FF2B5EF4-FFF2-40B4-BE49-F238E27FC236}">
                <a16:creationId xmlns:a16="http://schemas.microsoft.com/office/drawing/2014/main" xmlns="" id="{B6C134CF-07B1-76BB-2A30-CDDE6B21A420}"/>
              </a:ext>
            </a:extLst>
          </p:cNvPr>
          <p:cNvGrpSpPr/>
          <p:nvPr/>
        </p:nvGrpSpPr>
        <p:grpSpPr>
          <a:xfrm>
            <a:off x="6548901" y="1654192"/>
            <a:ext cx="2156014" cy="2420437"/>
            <a:chOff x="4049866" y="1637489"/>
            <a:chExt cx="2875724" cy="3228417"/>
          </a:xfrm>
        </p:grpSpPr>
        <p:pic>
          <p:nvPicPr>
            <p:cNvPr id="6" name="Picture 11">
              <a:extLst>
                <a:ext uri="{FF2B5EF4-FFF2-40B4-BE49-F238E27FC236}">
                  <a16:creationId xmlns:a16="http://schemas.microsoft.com/office/drawing/2014/main" xmlns="" id="{66F21B09-BF22-4156-3F73-FCE3AAA3A7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14300" y="1637489"/>
              <a:ext cx="2548750" cy="3228417"/>
            </a:xfrm>
            <a:prstGeom prst="rect">
              <a:avLst/>
            </a:prstGeom>
          </p:spPr>
        </p:pic>
        <p:sp>
          <p:nvSpPr>
            <p:cNvPr id="7" name="TextBox 6">
              <a:extLst>
                <a:ext uri="{FF2B5EF4-FFF2-40B4-BE49-F238E27FC236}">
                  <a16:creationId xmlns:a16="http://schemas.microsoft.com/office/drawing/2014/main" xmlns="" id="{E4A88A6E-D8B4-89B9-3CFF-CBCBF46D49EB}"/>
                </a:ext>
              </a:extLst>
            </p:cNvPr>
            <p:cNvSpPr txBox="1"/>
            <p:nvPr/>
          </p:nvSpPr>
          <p:spPr>
            <a:xfrm>
              <a:off x="5584471" y="2266122"/>
              <a:ext cx="1341119" cy="338677"/>
            </a:xfrm>
            <a:prstGeom prst="rect">
              <a:avLst/>
            </a:prstGeom>
            <a:noFill/>
          </p:spPr>
          <p:txBody>
            <a:bodyPr wrap="square" rtlCol="0">
              <a:spAutoFit/>
            </a:bodyPr>
            <a:lstStyle/>
            <a:p>
              <a:pPr defTabSz="685532">
                <a:defRPr/>
              </a:pPr>
              <a:r>
                <a:rPr lang="ru" sz="525" b="1" dirty="0">
                  <a:solidFill>
                    <a:srgbClr val="003865"/>
                  </a:solidFill>
                  <a:latin typeface="Arial"/>
                </a:rPr>
                <a:t>ВНЕКЛЕТОЧНЫЙ </a:t>
              </a:r>
              <a:br>
                <a:rPr lang="ru" sz="525" b="1" dirty="0">
                  <a:solidFill>
                    <a:srgbClr val="003865"/>
                  </a:solidFill>
                  <a:latin typeface="Arial"/>
                </a:rPr>
              </a:br>
              <a:r>
                <a:rPr lang="ru" sz="525" b="1" dirty="0">
                  <a:solidFill>
                    <a:srgbClr val="003865"/>
                  </a:solidFill>
                  <a:latin typeface="Arial"/>
                </a:rPr>
                <a:t>ДОМЕН</a:t>
              </a:r>
            </a:p>
          </p:txBody>
        </p:sp>
        <p:sp>
          <p:nvSpPr>
            <p:cNvPr id="8" name="TextBox 7">
              <a:extLst>
                <a:ext uri="{FF2B5EF4-FFF2-40B4-BE49-F238E27FC236}">
                  <a16:creationId xmlns:a16="http://schemas.microsoft.com/office/drawing/2014/main" xmlns="" id="{35F3BBC7-E58C-BC21-D981-EAB5E68155A1}"/>
                </a:ext>
              </a:extLst>
            </p:cNvPr>
            <p:cNvSpPr txBox="1"/>
            <p:nvPr/>
          </p:nvSpPr>
          <p:spPr>
            <a:xfrm>
              <a:off x="5649406" y="3563511"/>
              <a:ext cx="1219199" cy="338677"/>
            </a:xfrm>
            <a:prstGeom prst="rect">
              <a:avLst/>
            </a:prstGeom>
            <a:noFill/>
          </p:spPr>
          <p:txBody>
            <a:bodyPr wrap="square" rtlCol="0">
              <a:spAutoFit/>
            </a:bodyPr>
            <a:lstStyle/>
            <a:p>
              <a:pPr defTabSz="685532">
                <a:defRPr/>
              </a:pPr>
              <a:r>
                <a:rPr lang="ru" sz="525" b="1" dirty="0">
                  <a:solidFill>
                    <a:srgbClr val="003865"/>
                  </a:solidFill>
                  <a:latin typeface="Arial"/>
                </a:rPr>
                <a:t>ВНУТРИКЛЕТОЧНЫЙ ДОМЕН</a:t>
              </a:r>
            </a:p>
          </p:txBody>
        </p:sp>
        <p:sp>
          <p:nvSpPr>
            <p:cNvPr id="9" name="TextBox 8">
              <a:extLst>
                <a:ext uri="{FF2B5EF4-FFF2-40B4-BE49-F238E27FC236}">
                  <a16:creationId xmlns:a16="http://schemas.microsoft.com/office/drawing/2014/main" xmlns="" id="{EB12E6B7-93F3-B1CD-24CE-DD43AD29F4FF}"/>
                </a:ext>
              </a:extLst>
            </p:cNvPr>
            <p:cNvSpPr txBox="1"/>
            <p:nvPr/>
          </p:nvSpPr>
          <p:spPr>
            <a:xfrm>
              <a:off x="4049866" y="3062574"/>
              <a:ext cx="1219199" cy="338677"/>
            </a:xfrm>
            <a:prstGeom prst="rect">
              <a:avLst/>
            </a:prstGeom>
            <a:noFill/>
          </p:spPr>
          <p:txBody>
            <a:bodyPr wrap="square" rtlCol="0">
              <a:spAutoFit/>
            </a:bodyPr>
            <a:lstStyle/>
            <a:p>
              <a:pPr algn="r" defTabSz="685532">
                <a:defRPr/>
              </a:pPr>
              <a:r>
                <a:rPr lang="ru" sz="525" b="1" dirty="0">
                  <a:solidFill>
                    <a:srgbClr val="003865"/>
                  </a:solidFill>
                  <a:latin typeface="Arial"/>
                </a:rPr>
                <a:t>Трансмембранный домен</a:t>
              </a:r>
            </a:p>
          </p:txBody>
        </p:sp>
        <p:sp>
          <p:nvSpPr>
            <p:cNvPr id="10" name="TextBox 9">
              <a:extLst>
                <a:ext uri="{FF2B5EF4-FFF2-40B4-BE49-F238E27FC236}">
                  <a16:creationId xmlns:a16="http://schemas.microsoft.com/office/drawing/2014/main" xmlns="" id="{DC0C1236-D274-1F39-CABE-8B361BC706DF}"/>
                </a:ext>
              </a:extLst>
            </p:cNvPr>
            <p:cNvSpPr txBox="1"/>
            <p:nvPr/>
          </p:nvSpPr>
          <p:spPr>
            <a:xfrm>
              <a:off x="4124252" y="2210093"/>
              <a:ext cx="1004513" cy="446437"/>
            </a:xfrm>
            <a:prstGeom prst="rect">
              <a:avLst/>
            </a:prstGeom>
            <a:noFill/>
          </p:spPr>
          <p:txBody>
            <a:bodyPr wrap="square" rtlCol="0">
              <a:spAutoFit/>
            </a:bodyPr>
            <a:lstStyle/>
            <a:p>
              <a:pPr algn="r" defTabSz="685532">
                <a:defRPr/>
              </a:pPr>
              <a:r>
                <a:rPr lang="ru" sz="525" b="1" dirty="0">
                  <a:solidFill>
                    <a:srgbClr val="003865"/>
                  </a:solidFill>
                  <a:latin typeface="Arial"/>
                </a:rPr>
                <a:t>Лиганд-связывающий домен</a:t>
              </a:r>
            </a:p>
          </p:txBody>
        </p:sp>
        <p:sp>
          <p:nvSpPr>
            <p:cNvPr id="11" name="TextBox 10">
              <a:extLst>
                <a:ext uri="{FF2B5EF4-FFF2-40B4-BE49-F238E27FC236}">
                  <a16:creationId xmlns:a16="http://schemas.microsoft.com/office/drawing/2014/main" xmlns="" id="{E32D56B6-15AB-2164-3351-EB7A8921D371}"/>
                </a:ext>
              </a:extLst>
            </p:cNvPr>
            <p:cNvSpPr txBox="1"/>
            <p:nvPr/>
          </p:nvSpPr>
          <p:spPr>
            <a:xfrm>
              <a:off x="4190339" y="3487970"/>
              <a:ext cx="1004516" cy="338677"/>
            </a:xfrm>
            <a:prstGeom prst="rect">
              <a:avLst/>
            </a:prstGeom>
            <a:noFill/>
          </p:spPr>
          <p:txBody>
            <a:bodyPr wrap="square" rtlCol="0">
              <a:spAutoFit/>
            </a:bodyPr>
            <a:lstStyle/>
            <a:p>
              <a:pPr algn="r" defTabSz="685532">
                <a:defRPr/>
              </a:pPr>
              <a:r>
                <a:rPr lang="ru" sz="525" b="1" dirty="0">
                  <a:solidFill>
                    <a:srgbClr val="003865"/>
                  </a:solidFill>
                  <a:latin typeface="Arial"/>
                </a:rPr>
                <a:t>Тирозинкиназный домен</a:t>
              </a:r>
            </a:p>
          </p:txBody>
        </p:sp>
      </p:grpSp>
      <p:sp>
        <p:nvSpPr>
          <p:cNvPr id="26" name="TextBox 25">
            <a:extLst>
              <a:ext uri="{FF2B5EF4-FFF2-40B4-BE49-F238E27FC236}">
                <a16:creationId xmlns:a16="http://schemas.microsoft.com/office/drawing/2014/main" xmlns="" id="{0747E433-961B-0A72-6A25-C38A2AFFB092}"/>
              </a:ext>
            </a:extLst>
          </p:cNvPr>
          <p:cNvSpPr txBox="1"/>
          <p:nvPr/>
        </p:nvSpPr>
        <p:spPr>
          <a:xfrm>
            <a:off x="2120675" y="1909212"/>
            <a:ext cx="1919546" cy="276999"/>
          </a:xfrm>
          <a:prstGeom prst="rect">
            <a:avLst/>
          </a:prstGeom>
          <a:noFill/>
        </p:spPr>
        <p:txBody>
          <a:bodyPr wrap="square" rtlCol="0">
            <a:spAutoFit/>
          </a:bodyPr>
          <a:lstStyle/>
          <a:p>
            <a:pPr algn="ctr" defTabSz="456987">
              <a:defRPr/>
            </a:pPr>
            <a:r>
              <a:rPr lang="ru" sz="1200" b="1" kern="0" dirty="0">
                <a:solidFill>
                  <a:srgbClr val="003865"/>
                </a:solidFill>
                <a:latin typeface="Arial"/>
              </a:rPr>
              <a:t>Семейство HER</a:t>
            </a:r>
            <a:r>
              <a:rPr lang="ru" sz="1200" b="1" kern="0" baseline="30000" dirty="0">
                <a:solidFill>
                  <a:srgbClr val="003865"/>
                </a:solidFill>
                <a:latin typeface="Arial"/>
              </a:rPr>
              <a:t>1</a:t>
            </a:r>
            <a:endParaRPr lang="en-US" sz="1200" b="1" strike="sngStrike" kern="0" baseline="30000" dirty="0">
              <a:solidFill>
                <a:srgbClr val="003865"/>
              </a:solidFill>
              <a:latin typeface="Arial"/>
            </a:endParaRPr>
          </a:p>
        </p:txBody>
      </p:sp>
      <p:grpSp>
        <p:nvGrpSpPr>
          <p:cNvPr id="27" name="Group 37">
            <a:extLst>
              <a:ext uri="{FF2B5EF4-FFF2-40B4-BE49-F238E27FC236}">
                <a16:creationId xmlns:a16="http://schemas.microsoft.com/office/drawing/2014/main" xmlns="" id="{3366FF75-AB3B-2D12-84CC-0F3D5BCA91BB}"/>
              </a:ext>
            </a:extLst>
          </p:cNvPr>
          <p:cNvGrpSpPr/>
          <p:nvPr/>
        </p:nvGrpSpPr>
        <p:grpSpPr>
          <a:xfrm>
            <a:off x="364380" y="2106087"/>
            <a:ext cx="5627738" cy="2429353"/>
            <a:chOff x="609910" y="2256587"/>
            <a:chExt cx="7506364" cy="3240311"/>
          </a:xfrm>
        </p:grpSpPr>
        <p:sp>
          <p:nvSpPr>
            <p:cNvPr id="28" name="Rectangle: Rounded Corners 36">
              <a:extLst>
                <a:ext uri="{FF2B5EF4-FFF2-40B4-BE49-F238E27FC236}">
                  <a16:creationId xmlns:a16="http://schemas.microsoft.com/office/drawing/2014/main" xmlns="" id="{91ABFAAE-C031-9EE8-8B96-704A3A64C348}"/>
                </a:ext>
              </a:extLst>
            </p:cNvPr>
            <p:cNvSpPr/>
            <p:nvPr/>
          </p:nvSpPr>
          <p:spPr>
            <a:xfrm>
              <a:off x="802164" y="4397393"/>
              <a:ext cx="6492141" cy="1099505"/>
            </a:xfrm>
            <a:prstGeom prst="roundRect">
              <a:avLst/>
            </a:prstGeom>
            <a:solidFill>
              <a:srgbClr val="9DB0AC">
                <a:lumMod val="20000"/>
                <a:lumOff val="80000"/>
              </a:srgbClr>
            </a:solidFill>
            <a:ln w="19050" cap="flat" cmpd="sng" algn="ctr">
              <a:noFill/>
              <a:prstDash val="solid"/>
            </a:ln>
            <a:effectLst/>
          </p:spPr>
          <p:txBody>
            <a:bodyPr rtlCol="0" anchor="ctr"/>
            <a:lstStyle/>
            <a:p>
              <a:pPr algn="ctr" defTabSz="685549">
                <a:defRPr/>
              </a:pPr>
              <a:endParaRPr lang="en-US" sz="1350" kern="0" dirty="0">
                <a:solidFill>
                  <a:srgbClr val="FFFFFF"/>
                </a:solidFill>
                <a:latin typeface="Arial"/>
              </a:endParaRPr>
            </a:p>
          </p:txBody>
        </p:sp>
        <p:cxnSp>
          <p:nvCxnSpPr>
            <p:cNvPr id="29" name="Straight Connector 25">
              <a:extLst>
                <a:ext uri="{FF2B5EF4-FFF2-40B4-BE49-F238E27FC236}">
                  <a16:creationId xmlns:a16="http://schemas.microsoft.com/office/drawing/2014/main" xmlns="" id="{5B73F258-A801-7D79-C566-1B7BC6EED118}"/>
                </a:ext>
              </a:extLst>
            </p:cNvPr>
            <p:cNvCxnSpPr>
              <a:cxnSpLocks/>
            </p:cNvCxnSpPr>
            <p:nvPr/>
          </p:nvCxnSpPr>
          <p:spPr>
            <a:xfrm>
              <a:off x="4048234" y="3147373"/>
              <a:ext cx="4068040" cy="3592"/>
            </a:xfrm>
            <a:prstGeom prst="line">
              <a:avLst/>
            </a:prstGeom>
            <a:noFill/>
            <a:ln w="19050" cap="flat" cmpd="sng" algn="ctr">
              <a:solidFill>
                <a:srgbClr val="9DB0AC"/>
              </a:solidFill>
              <a:prstDash val="solid"/>
              <a:headEnd type="none" w="med" len="med"/>
              <a:tailEnd type="none" w="med" len="med"/>
            </a:ln>
            <a:effectLst/>
          </p:spPr>
        </p:cxnSp>
        <p:cxnSp>
          <p:nvCxnSpPr>
            <p:cNvPr id="30" name="Straight Connector 28">
              <a:extLst>
                <a:ext uri="{FF2B5EF4-FFF2-40B4-BE49-F238E27FC236}">
                  <a16:creationId xmlns:a16="http://schemas.microsoft.com/office/drawing/2014/main" xmlns="" id="{AB538C46-6D17-B071-ED92-39535D3634F2}"/>
                </a:ext>
              </a:extLst>
            </p:cNvPr>
            <p:cNvCxnSpPr>
              <a:cxnSpLocks/>
            </p:cNvCxnSpPr>
            <p:nvPr/>
          </p:nvCxnSpPr>
          <p:spPr>
            <a:xfrm>
              <a:off x="740728" y="3150964"/>
              <a:ext cx="3157250" cy="0"/>
            </a:xfrm>
            <a:prstGeom prst="line">
              <a:avLst/>
            </a:prstGeom>
            <a:noFill/>
            <a:ln w="19050" cap="flat" cmpd="sng" algn="ctr">
              <a:solidFill>
                <a:srgbClr val="9DB0AC"/>
              </a:solidFill>
              <a:prstDash val="solid"/>
              <a:headEnd type="none" w="med" len="med"/>
              <a:tailEnd type="none" w="med" len="med"/>
            </a:ln>
            <a:effectLst/>
          </p:spPr>
        </p:cxnSp>
        <p:sp>
          <p:nvSpPr>
            <p:cNvPr id="31" name="TextBox 30">
              <a:extLst>
                <a:ext uri="{FF2B5EF4-FFF2-40B4-BE49-F238E27FC236}">
                  <a16:creationId xmlns:a16="http://schemas.microsoft.com/office/drawing/2014/main" xmlns="" id="{4F7CDBC2-CA12-9D14-5690-0523501C6DAE}"/>
                </a:ext>
              </a:extLst>
            </p:cNvPr>
            <p:cNvSpPr txBox="1"/>
            <p:nvPr/>
          </p:nvSpPr>
          <p:spPr>
            <a:xfrm>
              <a:off x="1197888" y="4494594"/>
              <a:ext cx="5400181" cy="814194"/>
            </a:xfrm>
            <a:prstGeom prst="rect">
              <a:avLst/>
            </a:prstGeom>
            <a:noFill/>
          </p:spPr>
          <p:txBody>
            <a:bodyPr wrap="square" rtlCol="0">
              <a:spAutoFit/>
            </a:bodyPr>
            <a:lstStyle/>
            <a:p>
              <a:pPr marL="90454" indent="-90454" defTabSz="685549">
                <a:spcBef>
                  <a:spcPts val="750"/>
                </a:spcBef>
                <a:buClr>
                  <a:srgbClr val="7363AC"/>
                </a:buClr>
                <a:buFont typeface="Arial" panose="020B0604020202020204" pitchFamily="34" charset="0"/>
                <a:buChar char="•"/>
                <a:defRPr/>
              </a:pPr>
              <a:r>
                <a:rPr lang="ru" sz="900" kern="0" dirty="0">
                  <a:solidFill>
                    <a:srgbClr val="000000"/>
                  </a:solidFill>
                  <a:latin typeface="Arial"/>
                </a:rPr>
                <a:t>Связывание с лигандом вызывает димеризацию HER с последующей инициацией внутриклеточных сигнальных путей</a:t>
              </a:r>
              <a:r>
                <a:rPr lang="ru" sz="900" kern="0" baseline="30000" dirty="0">
                  <a:solidFill>
                    <a:srgbClr val="000000"/>
                  </a:solidFill>
                  <a:latin typeface="Arial"/>
                </a:rPr>
                <a:t>1</a:t>
              </a:r>
              <a:r>
                <a:rPr lang="ru" sz="900" kern="0" dirty="0">
                  <a:solidFill>
                    <a:srgbClr val="000000"/>
                  </a:solidFill>
                  <a:latin typeface="Arial"/>
                </a:rPr>
                <a:t> </a:t>
              </a:r>
            </a:p>
            <a:p>
              <a:pPr marL="90454" indent="-90454" defTabSz="685549">
                <a:spcBef>
                  <a:spcPts val="750"/>
                </a:spcBef>
                <a:buClr>
                  <a:srgbClr val="7363AC"/>
                </a:buClr>
                <a:buFont typeface="Arial" panose="020B0604020202020204" pitchFamily="34" charset="0"/>
                <a:buChar char="•"/>
                <a:defRPr/>
              </a:pPr>
              <a:r>
                <a:rPr lang="ru" sz="900" kern="0" dirty="0">
                  <a:solidFill>
                    <a:srgbClr val="000000"/>
                  </a:solidFill>
                  <a:latin typeface="Arial"/>
                </a:rPr>
                <a:t>Результатом является рост, пролиферация и выживание клеток</a:t>
              </a:r>
              <a:r>
                <a:rPr lang="ru" sz="900" kern="0" baseline="30000" dirty="0">
                  <a:solidFill>
                    <a:srgbClr val="000000"/>
                  </a:solidFill>
                  <a:latin typeface="Arial"/>
                </a:rPr>
                <a:t>1</a:t>
              </a:r>
            </a:p>
          </p:txBody>
        </p:sp>
        <p:sp>
          <p:nvSpPr>
            <p:cNvPr id="32" name="Oval 1">
              <a:extLst>
                <a:ext uri="{FF2B5EF4-FFF2-40B4-BE49-F238E27FC236}">
                  <a16:creationId xmlns:a16="http://schemas.microsoft.com/office/drawing/2014/main" xmlns="" id="{748B5384-CBE7-5F76-A221-BF191C97135D}"/>
                </a:ext>
              </a:extLst>
            </p:cNvPr>
            <p:cNvSpPr/>
            <p:nvPr/>
          </p:nvSpPr>
          <p:spPr>
            <a:xfrm>
              <a:off x="871051" y="2256587"/>
              <a:ext cx="877329" cy="877330"/>
            </a:xfrm>
            <a:prstGeom prst="ellipse">
              <a:avLst/>
            </a:prstGeom>
            <a:solidFill>
              <a:srgbClr val="C4D600"/>
            </a:solidFill>
            <a:ln w="9525" cap="flat" cmpd="sng" algn="ctr">
              <a:noFill/>
              <a:prstDash val="solid"/>
            </a:ln>
            <a:effectLst/>
          </p:spPr>
          <p:txBody>
            <a:bodyPr lIns="0" tIns="0" rIns="0" bIns="0" rtlCol="0" anchor="ctr"/>
            <a:lstStyle/>
            <a:p>
              <a:pPr algn="ctr" defTabSz="685549">
                <a:defRPr/>
              </a:pPr>
              <a:r>
                <a:rPr lang="ru" sz="1350" b="1" kern="0">
                  <a:solidFill>
                    <a:srgbClr val="FFFFFF"/>
                  </a:solidFill>
                  <a:latin typeface="Arial"/>
                </a:rPr>
                <a:t>HER1</a:t>
              </a:r>
            </a:p>
          </p:txBody>
        </p:sp>
        <p:sp>
          <p:nvSpPr>
            <p:cNvPr id="33" name="Oval 19">
              <a:extLst>
                <a:ext uri="{FF2B5EF4-FFF2-40B4-BE49-F238E27FC236}">
                  <a16:creationId xmlns:a16="http://schemas.microsoft.com/office/drawing/2014/main" xmlns="" id="{63B0FDB5-6604-5F5C-DF79-438EF20FE79B}"/>
                </a:ext>
              </a:extLst>
            </p:cNvPr>
            <p:cNvSpPr/>
            <p:nvPr/>
          </p:nvSpPr>
          <p:spPr>
            <a:xfrm>
              <a:off x="1785517" y="2256587"/>
              <a:ext cx="877329" cy="877330"/>
            </a:xfrm>
            <a:prstGeom prst="ellipse">
              <a:avLst/>
            </a:prstGeom>
            <a:solidFill>
              <a:srgbClr val="68D2DF"/>
            </a:solidFill>
            <a:ln w="9525" cap="flat" cmpd="sng" algn="ctr">
              <a:noFill/>
              <a:prstDash val="solid"/>
            </a:ln>
            <a:effectLst/>
          </p:spPr>
          <p:txBody>
            <a:bodyPr lIns="0" tIns="0" rIns="0" bIns="0" rtlCol="0" anchor="ctr"/>
            <a:lstStyle/>
            <a:p>
              <a:pPr algn="ctr" defTabSz="685549">
                <a:defRPr/>
              </a:pPr>
              <a:r>
                <a:rPr lang="ru" sz="1350" b="1" kern="0">
                  <a:solidFill>
                    <a:srgbClr val="FFFFFF"/>
                  </a:solidFill>
                  <a:latin typeface="Arial"/>
                </a:rPr>
                <a:t>HER3</a:t>
              </a:r>
            </a:p>
          </p:txBody>
        </p:sp>
        <p:sp>
          <p:nvSpPr>
            <p:cNvPr id="34" name="Oval 21">
              <a:extLst>
                <a:ext uri="{FF2B5EF4-FFF2-40B4-BE49-F238E27FC236}">
                  <a16:creationId xmlns:a16="http://schemas.microsoft.com/office/drawing/2014/main" xmlns="" id="{B862CA0C-7591-1498-F914-0D19815A0DAF}"/>
                </a:ext>
              </a:extLst>
            </p:cNvPr>
            <p:cNvSpPr/>
            <p:nvPr/>
          </p:nvSpPr>
          <p:spPr>
            <a:xfrm>
              <a:off x="2699980" y="2256587"/>
              <a:ext cx="877329" cy="877330"/>
            </a:xfrm>
            <a:prstGeom prst="ellipse">
              <a:avLst/>
            </a:prstGeom>
            <a:solidFill>
              <a:srgbClr val="9DB0AC"/>
            </a:solidFill>
            <a:ln w="9525" cap="flat" cmpd="sng" algn="ctr">
              <a:noFill/>
              <a:prstDash val="solid"/>
            </a:ln>
            <a:effectLst/>
          </p:spPr>
          <p:txBody>
            <a:bodyPr lIns="0" tIns="0" rIns="0" bIns="0" rtlCol="0" anchor="ctr"/>
            <a:lstStyle/>
            <a:p>
              <a:pPr algn="ctr" defTabSz="685549">
                <a:defRPr/>
              </a:pPr>
              <a:r>
                <a:rPr lang="ru" sz="1350" b="1" kern="0">
                  <a:solidFill>
                    <a:srgbClr val="FFFFFF"/>
                  </a:solidFill>
                  <a:latin typeface="Arial"/>
                </a:rPr>
                <a:t>HER4</a:t>
              </a:r>
            </a:p>
          </p:txBody>
        </p:sp>
        <p:sp>
          <p:nvSpPr>
            <p:cNvPr id="35" name="Oval 22">
              <a:extLst>
                <a:ext uri="{FF2B5EF4-FFF2-40B4-BE49-F238E27FC236}">
                  <a16:creationId xmlns:a16="http://schemas.microsoft.com/office/drawing/2014/main" xmlns="" id="{D177373F-19B9-7C4C-0BCF-565DA0E4CC24}"/>
                </a:ext>
              </a:extLst>
            </p:cNvPr>
            <p:cNvSpPr/>
            <p:nvPr/>
          </p:nvSpPr>
          <p:spPr>
            <a:xfrm>
              <a:off x="5123480" y="2256587"/>
              <a:ext cx="877329" cy="877330"/>
            </a:xfrm>
            <a:prstGeom prst="ellipse">
              <a:avLst/>
            </a:prstGeom>
            <a:solidFill>
              <a:srgbClr val="003865"/>
            </a:solidFill>
            <a:ln w="9525" cap="flat" cmpd="sng" algn="ctr">
              <a:noFill/>
              <a:prstDash val="solid"/>
            </a:ln>
            <a:effectLst/>
          </p:spPr>
          <p:txBody>
            <a:bodyPr lIns="0" tIns="0" rIns="0" bIns="0" rtlCol="0" anchor="ctr"/>
            <a:lstStyle/>
            <a:p>
              <a:pPr algn="ctr" defTabSz="685549">
                <a:defRPr/>
              </a:pPr>
              <a:r>
                <a:rPr lang="ru" sz="1350" b="1" kern="0">
                  <a:solidFill>
                    <a:srgbClr val="FFFFFF"/>
                  </a:solidFill>
                  <a:latin typeface="Arial"/>
                </a:rPr>
                <a:t>HER2</a:t>
              </a:r>
            </a:p>
          </p:txBody>
        </p:sp>
        <p:sp>
          <p:nvSpPr>
            <p:cNvPr id="36" name="TextBox 35">
              <a:extLst>
                <a:ext uri="{FF2B5EF4-FFF2-40B4-BE49-F238E27FC236}">
                  <a16:creationId xmlns:a16="http://schemas.microsoft.com/office/drawing/2014/main" xmlns="" id="{CF7564F0-B1AB-B12B-DE3F-A796F129DF40}"/>
                </a:ext>
              </a:extLst>
            </p:cNvPr>
            <p:cNvSpPr txBox="1"/>
            <p:nvPr/>
          </p:nvSpPr>
          <p:spPr>
            <a:xfrm>
              <a:off x="609910" y="3338476"/>
              <a:ext cx="2786548" cy="862086"/>
            </a:xfrm>
            <a:prstGeom prst="rect">
              <a:avLst/>
            </a:prstGeom>
            <a:noFill/>
          </p:spPr>
          <p:txBody>
            <a:bodyPr wrap="square" rtlCol="0">
              <a:spAutoFit/>
            </a:bodyPr>
            <a:lstStyle/>
            <a:p>
              <a:pPr defTabSz="685549">
                <a:defRPr/>
              </a:pPr>
              <a:r>
                <a:rPr lang="ru" sz="900" kern="0" dirty="0">
                  <a:solidFill>
                    <a:srgbClr val="000000"/>
                  </a:solidFill>
                  <a:latin typeface="Arial"/>
                </a:rPr>
                <a:t>Активируются связыванием с различными лигандами пептидных факторов роста, таких как HRG, EGF, AR и TGF-α</a:t>
              </a:r>
              <a:r>
                <a:rPr lang="ru" sz="900" kern="0" baseline="30000" dirty="0">
                  <a:solidFill>
                    <a:srgbClr val="000000"/>
                  </a:solidFill>
                  <a:latin typeface="Arial"/>
                </a:rPr>
                <a:t>1,4,5</a:t>
              </a:r>
              <a:endParaRPr lang="en-US" sz="750" kern="0" baseline="30000" dirty="0">
                <a:solidFill>
                  <a:srgbClr val="000000"/>
                </a:solidFill>
                <a:latin typeface="Arial"/>
              </a:endParaRPr>
            </a:p>
          </p:txBody>
        </p:sp>
        <p:sp>
          <p:nvSpPr>
            <p:cNvPr id="37" name="TextBox 36">
              <a:extLst>
                <a:ext uri="{FF2B5EF4-FFF2-40B4-BE49-F238E27FC236}">
                  <a16:creationId xmlns:a16="http://schemas.microsoft.com/office/drawing/2014/main" xmlns="" id="{568AA319-FD37-8E81-532C-CC9F0FEC973E}"/>
                </a:ext>
              </a:extLst>
            </p:cNvPr>
            <p:cNvSpPr txBox="1"/>
            <p:nvPr/>
          </p:nvSpPr>
          <p:spPr>
            <a:xfrm>
              <a:off x="3822990" y="3191216"/>
              <a:ext cx="3792641" cy="1132343"/>
            </a:xfrm>
            <a:prstGeom prst="rect">
              <a:avLst/>
            </a:prstGeom>
            <a:noFill/>
          </p:spPr>
          <p:txBody>
            <a:bodyPr wrap="square" rtlCol="0">
              <a:spAutoFit/>
            </a:bodyPr>
            <a:lstStyle/>
            <a:p>
              <a:pPr marL="90454" indent="-90454" defTabSz="685549">
                <a:spcBef>
                  <a:spcPts val="450"/>
                </a:spcBef>
                <a:buClr>
                  <a:srgbClr val="68D2DF"/>
                </a:buClr>
                <a:buFont typeface="Arial" panose="020B0604020202020204" pitchFamily="34" charset="0"/>
                <a:buChar char="•"/>
                <a:defRPr/>
              </a:pPr>
              <a:r>
                <a:rPr lang="ru" sz="900" kern="0" dirty="0">
                  <a:solidFill>
                    <a:srgbClr val="000000"/>
                  </a:solidFill>
                  <a:latin typeface="Arial"/>
                </a:rPr>
                <a:t>Не имеет известного прямого активирующего лиганда и может существовать в конститутивно активном состоянии</a:t>
              </a:r>
              <a:r>
                <a:rPr lang="ru" sz="900" kern="0" baseline="30000" dirty="0">
                  <a:solidFill>
                    <a:srgbClr val="000000"/>
                  </a:solidFill>
                  <a:latin typeface="Arial"/>
                </a:rPr>
                <a:t>1</a:t>
              </a:r>
              <a:endParaRPr lang="en-US" sz="900" strike="sngStrike" kern="0" dirty="0">
                <a:solidFill>
                  <a:srgbClr val="000000"/>
                </a:solidFill>
                <a:latin typeface="Arial"/>
              </a:endParaRPr>
            </a:p>
            <a:p>
              <a:pPr marL="90454" indent="-90454" defTabSz="685549">
                <a:spcBef>
                  <a:spcPts val="450"/>
                </a:spcBef>
                <a:buClr>
                  <a:srgbClr val="68D2DF"/>
                </a:buClr>
                <a:buFont typeface="Arial" panose="020B0604020202020204" pitchFamily="34" charset="0"/>
                <a:buChar char="•"/>
                <a:defRPr/>
              </a:pPr>
              <a:r>
                <a:rPr lang="ru" sz="900" kern="0" dirty="0">
                  <a:solidFill>
                    <a:srgbClr val="000000"/>
                  </a:solidFill>
                  <a:latin typeface="Arial"/>
                </a:rPr>
                <a:t>Обладает самой мощной киназной активностью в семействе HER</a:t>
              </a:r>
              <a:r>
                <a:rPr lang="ru" sz="900" kern="0" baseline="30000" dirty="0">
                  <a:solidFill>
                    <a:srgbClr val="000000"/>
                  </a:solidFill>
                  <a:latin typeface="Arial"/>
                </a:rPr>
                <a:t>1</a:t>
              </a:r>
              <a:endParaRPr lang="en-US" sz="900" kern="0" dirty="0">
                <a:solidFill>
                  <a:srgbClr val="000000"/>
                </a:solidFill>
                <a:latin typeface="Arial"/>
              </a:endParaRPr>
            </a:p>
          </p:txBody>
        </p:sp>
        <p:cxnSp>
          <p:nvCxnSpPr>
            <p:cNvPr id="38" name="Straight Connector 29">
              <a:extLst>
                <a:ext uri="{FF2B5EF4-FFF2-40B4-BE49-F238E27FC236}">
                  <a16:creationId xmlns:a16="http://schemas.microsoft.com/office/drawing/2014/main" xmlns="" id="{569173FD-3DF8-622A-0362-BC5ED0554106}"/>
                </a:ext>
              </a:extLst>
            </p:cNvPr>
            <p:cNvCxnSpPr>
              <a:cxnSpLocks/>
            </p:cNvCxnSpPr>
            <p:nvPr/>
          </p:nvCxnSpPr>
          <p:spPr>
            <a:xfrm>
              <a:off x="3983520" y="4345740"/>
              <a:ext cx="4068040" cy="3592"/>
            </a:xfrm>
            <a:prstGeom prst="line">
              <a:avLst/>
            </a:prstGeom>
            <a:noFill/>
            <a:ln w="19050" cap="flat" cmpd="sng" algn="ctr">
              <a:solidFill>
                <a:srgbClr val="9DB0AC"/>
              </a:solidFill>
              <a:prstDash val="solid"/>
              <a:headEnd type="none" w="med" len="med"/>
              <a:tailEnd type="none" w="med" len="med"/>
            </a:ln>
            <a:effectLst/>
          </p:spPr>
        </p:cxnSp>
        <p:cxnSp>
          <p:nvCxnSpPr>
            <p:cNvPr id="39" name="Straight Connector 30">
              <a:extLst>
                <a:ext uri="{FF2B5EF4-FFF2-40B4-BE49-F238E27FC236}">
                  <a16:creationId xmlns:a16="http://schemas.microsoft.com/office/drawing/2014/main" xmlns="" id="{E22A4568-9F8B-072C-7A03-1A3107261E44}"/>
                </a:ext>
              </a:extLst>
            </p:cNvPr>
            <p:cNvCxnSpPr>
              <a:cxnSpLocks/>
            </p:cNvCxnSpPr>
            <p:nvPr/>
          </p:nvCxnSpPr>
          <p:spPr>
            <a:xfrm>
              <a:off x="648630" y="4349332"/>
              <a:ext cx="3157251" cy="0"/>
            </a:xfrm>
            <a:prstGeom prst="line">
              <a:avLst/>
            </a:prstGeom>
            <a:noFill/>
            <a:ln w="19050" cap="flat" cmpd="sng" algn="ctr">
              <a:solidFill>
                <a:srgbClr val="9DB0AC"/>
              </a:solidFill>
              <a:prstDash val="solid"/>
              <a:headEnd type="none" w="med" len="med"/>
              <a:tailEnd type="none" w="med" len="med"/>
            </a:ln>
            <a:effectLst/>
          </p:spPr>
        </p:cxnSp>
      </p:grpSp>
      <p:sp>
        <p:nvSpPr>
          <p:cNvPr id="41" name="Rectangle 4">
            <a:extLst>
              <a:ext uri="{FF2B5EF4-FFF2-40B4-BE49-F238E27FC236}">
                <a16:creationId xmlns:a16="http://schemas.microsoft.com/office/drawing/2014/main" xmlns="" id="{E5ADE251-F57F-11A9-A254-1684DBACF83B}"/>
              </a:ext>
            </a:extLst>
          </p:cNvPr>
          <p:cNvSpPr/>
          <p:nvPr/>
        </p:nvSpPr>
        <p:spPr>
          <a:xfrm>
            <a:off x="6590949" y="4208763"/>
            <a:ext cx="2467346" cy="8791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6987">
              <a:defRPr/>
            </a:pPr>
            <a:r>
              <a:rPr lang="ru" sz="900" b="1" dirty="0">
                <a:solidFill>
                  <a:srgbClr val="003865"/>
                </a:solidFill>
                <a:latin typeface="Arial"/>
              </a:rPr>
              <a:t>Рецепторы HER состоят </a:t>
            </a:r>
            <a:br>
              <a:rPr lang="ru" sz="900" b="1" dirty="0">
                <a:solidFill>
                  <a:srgbClr val="003865"/>
                </a:solidFill>
                <a:latin typeface="Arial"/>
              </a:rPr>
            </a:br>
            <a:r>
              <a:rPr lang="ru" sz="900" b="1" dirty="0">
                <a:solidFill>
                  <a:srgbClr val="003865"/>
                </a:solidFill>
                <a:latin typeface="Arial"/>
              </a:rPr>
              <a:t>из внеклеточного лиганд-связывающего домена, трансмембранного домена и внутриклеточного тирозинкиназного домена</a:t>
            </a:r>
            <a:r>
              <a:rPr lang="ru" sz="900" b="1" baseline="30000" dirty="0">
                <a:solidFill>
                  <a:srgbClr val="003865"/>
                </a:solidFill>
                <a:latin typeface="Arial"/>
              </a:rPr>
              <a:t>1</a:t>
            </a:r>
            <a:r>
              <a:rPr lang="ru" sz="900" b="1" dirty="0">
                <a:solidFill>
                  <a:srgbClr val="003865"/>
                </a:solidFill>
                <a:latin typeface="Arial"/>
              </a:rPr>
              <a:t> </a:t>
            </a:r>
            <a:r>
              <a:rPr lang="en-US" sz="900" b="1" dirty="0">
                <a:solidFill>
                  <a:srgbClr val="003865"/>
                </a:solidFill>
                <a:latin typeface="Arial"/>
              </a:rPr>
              <a:t/>
            </a:r>
            <a:br>
              <a:rPr lang="en-US" sz="900" b="1" dirty="0">
                <a:solidFill>
                  <a:srgbClr val="003865"/>
                </a:solidFill>
                <a:latin typeface="Arial"/>
              </a:rPr>
            </a:br>
            <a:endParaRPr lang="en-US" sz="900" b="1" dirty="0">
              <a:solidFill>
                <a:srgbClr val="003865"/>
              </a:solidFill>
              <a:latin typeface="Arial"/>
            </a:endParaRPr>
          </a:p>
        </p:txBody>
      </p:sp>
      <p:sp>
        <p:nvSpPr>
          <p:cNvPr id="44" name="object 25">
            <a:extLst>
              <a:ext uri="{FF2B5EF4-FFF2-40B4-BE49-F238E27FC236}">
                <a16:creationId xmlns:a16="http://schemas.microsoft.com/office/drawing/2014/main" xmlns="" id="{8DED1EF8-C289-4967-87F7-886A3E9D9349}"/>
              </a:ext>
            </a:extLst>
          </p:cNvPr>
          <p:cNvSpPr txBox="1"/>
          <p:nvPr/>
        </p:nvSpPr>
        <p:spPr>
          <a:xfrm>
            <a:off x="168051" y="626428"/>
            <a:ext cx="8194675" cy="1215717"/>
          </a:xfrm>
          <a:prstGeom prst="rect">
            <a:avLst/>
          </a:prstGeom>
        </p:spPr>
        <p:txBody>
          <a:bodyPr vert="horz" wrap="square" lIns="0" tIns="12700" rIns="0" bIns="0" rtlCol="0">
            <a:spAutoFit/>
          </a:bodyPr>
          <a:lstStyle/>
          <a:p>
            <a:pPr marL="222885" marR="100330" indent="-172720">
              <a:lnSpc>
                <a:spcPct val="95000"/>
              </a:lnSpc>
              <a:spcBef>
                <a:spcPts val="100"/>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Рецептор эпидермального фактора роста человека 2 типа (HER2) представляет собой трансмембранный гликопротеиновый рецептор, расположенный на поверхности многих видов нормальных клеток (например, клеток молочной железы, легких)</a:t>
            </a:r>
            <a:r>
              <a:rPr lang="ru" sz="1350" baseline="30000" dirty="0">
                <a:solidFill>
                  <a:srgbClr val="000000"/>
                </a:solidFill>
                <a:latin typeface="Arial"/>
              </a:rPr>
              <a:t>2,</a:t>
            </a:r>
            <a:r>
              <a:rPr lang="ru-RU" sz="1350" baseline="30000" dirty="0">
                <a:solidFill>
                  <a:srgbClr val="000000"/>
                </a:solidFill>
                <a:latin typeface="Arial"/>
              </a:rPr>
              <a:t>3</a:t>
            </a:r>
            <a:endParaRPr sz="1350" baseline="30000" dirty="0">
              <a:solidFill>
                <a:srgbClr val="000000"/>
              </a:solidFill>
              <a:latin typeface="Arial"/>
            </a:endParaRPr>
          </a:p>
          <a:p>
            <a:pPr marL="222885" indent="-172720">
              <a:lnSpc>
                <a:spcPct val="95000"/>
              </a:lnSpc>
              <a:spcBef>
                <a:spcPts val="88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Активация белков HER способствует нормальной клеточной пролиферации,</a:t>
            </a:r>
            <a:br>
              <a:rPr lang="ru" sz="1350" dirty="0">
                <a:solidFill>
                  <a:srgbClr val="000000"/>
                </a:solidFill>
                <a:latin typeface="Arial"/>
              </a:rPr>
            </a:br>
            <a:r>
              <a:rPr lang="ru" sz="1350" dirty="0">
                <a:solidFill>
                  <a:srgbClr val="000000"/>
                </a:solidFill>
                <a:latin typeface="Arial"/>
              </a:rPr>
              <a:t>дифференцировке и выживанию различных типов эпителиальных клеток</a:t>
            </a:r>
            <a:r>
              <a:rPr lang="ru" sz="1350" baseline="30000" dirty="0">
                <a:solidFill>
                  <a:srgbClr val="000000"/>
                </a:solidFill>
                <a:latin typeface="Arial"/>
              </a:rPr>
              <a:t>2,3</a:t>
            </a:r>
            <a:endParaRPr lang="en-US" sz="1350" baseline="30000" dirty="0">
              <a:solidFill>
                <a:srgbClr val="000000"/>
              </a:solidFill>
              <a:latin typeface="Arial"/>
            </a:endParaRPr>
          </a:p>
        </p:txBody>
      </p:sp>
      <p:sp>
        <p:nvSpPr>
          <p:cNvPr id="45" name="Подзаголовок 4">
            <a:extLst>
              <a:ext uri="{FF2B5EF4-FFF2-40B4-BE49-F238E27FC236}">
                <a16:creationId xmlns:a16="http://schemas.microsoft.com/office/drawing/2014/main" xmlns="" id="{CEC0EEBD-D225-40AD-B9ED-D599835E8200}"/>
              </a:ext>
            </a:extLst>
          </p:cNvPr>
          <p:cNvSpPr txBox="1">
            <a:spLocks/>
          </p:cNvSpPr>
          <p:nvPr/>
        </p:nvSpPr>
        <p:spPr>
          <a:xfrm>
            <a:off x="168051" y="4517072"/>
            <a:ext cx="5220110" cy="569073"/>
          </a:xfrm>
          <a:prstGeom prst="rect">
            <a:avLst/>
          </a:prstGeom>
        </p:spPr>
        <p:txBody>
          <a:bodyPr vert="horz" lIns="68555" tIns="34278" rIns="68555" bIns="34278" rtlCol="0" anchor="b" anchorCtr="0">
            <a:noAutofit/>
          </a:bodyPr>
          <a:lstStyle>
            <a:lvl1pPr marL="0" indent="0" algn="r" defTabSz="914400" rtl="0" eaLnBrk="1" latinLnBrk="0" hangingPunct="1">
              <a:lnSpc>
                <a:spcPct val="90000"/>
              </a:lnSpc>
              <a:spcBef>
                <a:spcPts val="1000"/>
              </a:spcBef>
              <a:buFont typeface="Arial" panose="020B0604020202020204" pitchFamily="34" charset="0"/>
              <a:buNone/>
              <a:defRPr sz="1800" b="0" kern="1200">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28600" indent="-228600" algn="l" defTabSz="685617">
              <a:lnSpc>
                <a:spcPct val="100000"/>
              </a:lnSpc>
              <a:spcBef>
                <a:spcPts val="0"/>
              </a:spcBef>
              <a:buAutoNum type="arabicPeriod"/>
            </a:pPr>
            <a:r>
              <a:rPr lang="en-US" sz="600" dirty="0">
                <a:solidFill>
                  <a:srgbClr val="000000"/>
                </a:solidFill>
              </a:rPr>
              <a:t>Iqbal N, Iqbal N. Mol Biol Int. 2014;2014:852748. doi:10.1155/2014/852748 </a:t>
            </a:r>
            <a:endParaRPr lang="ru-RU" sz="600" dirty="0">
              <a:solidFill>
                <a:srgbClr val="000000"/>
              </a:solidFill>
            </a:endParaRPr>
          </a:p>
          <a:p>
            <a:pPr marL="228600" indent="-228600" algn="l" defTabSz="685617">
              <a:lnSpc>
                <a:spcPct val="100000"/>
              </a:lnSpc>
              <a:spcBef>
                <a:spcPts val="0"/>
              </a:spcBef>
              <a:buAutoNum type="arabicPeriod"/>
            </a:pPr>
            <a:r>
              <a:rPr lang="da-DK" sz="600" dirty="0">
                <a:solidFill>
                  <a:srgbClr val="000000"/>
                </a:solidFill>
              </a:rPr>
              <a:t>Albagoush SA, et al. HER2. </a:t>
            </a:r>
            <a:r>
              <a:rPr lang="da-DK" sz="600" dirty="0">
                <a:solidFill>
                  <a:srgbClr val="000000"/>
                </a:solidFill>
                <a:hlinkClick r:id="rId4"/>
              </a:rPr>
              <a:t>https://www.ncbi.nlm.nih.gov/books/NBK537134/?report=printable</a:t>
            </a:r>
            <a:r>
              <a:rPr lang="ru-RU" sz="600" dirty="0">
                <a:solidFill>
                  <a:srgbClr val="000000"/>
                </a:solidFill>
              </a:rPr>
              <a:t> (дата обращения 22.03.2023)</a:t>
            </a:r>
          </a:p>
          <a:p>
            <a:pPr marL="228600" indent="-228600" algn="l" defTabSz="685617">
              <a:lnSpc>
                <a:spcPct val="100000"/>
              </a:lnSpc>
              <a:spcBef>
                <a:spcPts val="0"/>
              </a:spcBef>
              <a:buAutoNum type="arabicPeriod"/>
            </a:pPr>
            <a:r>
              <a:rPr lang="da-DK" sz="600" dirty="0">
                <a:solidFill>
                  <a:srgbClr val="000000"/>
                </a:solidFill>
              </a:rPr>
              <a:t>Rinnerthaler G, et al. Int J Mol Sci. 2019; 20:1115. doi:10.3390/ijms20051115</a:t>
            </a:r>
            <a:endParaRPr lang="ru-RU" sz="600" dirty="0">
              <a:solidFill>
                <a:srgbClr val="000000"/>
              </a:solidFill>
            </a:endParaRPr>
          </a:p>
          <a:p>
            <a:pPr marL="228600" indent="-228600" algn="l" defTabSz="685617">
              <a:lnSpc>
                <a:spcPct val="100000"/>
              </a:lnSpc>
              <a:spcBef>
                <a:spcPts val="0"/>
              </a:spcBef>
              <a:buAutoNum type="arabicPeriod"/>
            </a:pPr>
            <a:r>
              <a:rPr lang="en-US" sz="600" dirty="0" err="1">
                <a:solidFill>
                  <a:srgbClr val="000000"/>
                </a:solidFill>
              </a:rPr>
              <a:t>Greally</a:t>
            </a:r>
            <a:r>
              <a:rPr lang="en-US" sz="600" dirty="0">
                <a:solidFill>
                  <a:srgbClr val="000000"/>
                </a:solidFill>
              </a:rPr>
              <a:t> M, et al. </a:t>
            </a:r>
            <a:r>
              <a:rPr lang="en-US" sz="600" dirty="0" err="1">
                <a:solidFill>
                  <a:srgbClr val="000000"/>
                </a:solidFill>
              </a:rPr>
              <a:t>Curr</a:t>
            </a:r>
            <a:r>
              <a:rPr lang="en-US" sz="600" dirty="0">
                <a:solidFill>
                  <a:srgbClr val="000000"/>
                </a:solidFill>
              </a:rPr>
              <a:t> </a:t>
            </a:r>
            <a:r>
              <a:rPr lang="en-US" sz="600" dirty="0" err="1">
                <a:solidFill>
                  <a:srgbClr val="000000"/>
                </a:solidFill>
              </a:rPr>
              <a:t>Probl</a:t>
            </a:r>
            <a:r>
              <a:rPr lang="en-US" sz="600" dirty="0">
                <a:solidFill>
                  <a:srgbClr val="000000"/>
                </a:solidFill>
              </a:rPr>
              <a:t> Cancer. 2018;42(6):560-571.</a:t>
            </a:r>
            <a:endParaRPr lang="ru-RU" sz="600" dirty="0">
              <a:solidFill>
                <a:srgbClr val="000000"/>
              </a:solidFill>
            </a:endParaRPr>
          </a:p>
        </p:txBody>
      </p:sp>
    </p:spTree>
    <p:extLst>
      <p:ext uri="{BB962C8B-B14F-4D97-AF65-F5344CB8AC3E}">
        <p14:creationId xmlns:p14="http://schemas.microsoft.com/office/powerpoint/2010/main" val="24838682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p:txBody>
          <a:bodyPr>
            <a:normAutofit/>
          </a:bodyPr>
          <a:lstStyle/>
          <a:p>
            <a:r>
              <a:rPr lang="ru-RU" dirty="0"/>
              <a:t>При раке желудка отмечается</a:t>
            </a:r>
            <a:r>
              <a:rPr lang="en-US" dirty="0"/>
              <a:t> </a:t>
            </a:r>
            <a:r>
              <a:rPr lang="ru-RU" dirty="0"/>
              <a:t>гетерогенность опухоли</a:t>
            </a:r>
          </a:p>
        </p:txBody>
      </p:sp>
      <p:grpSp>
        <p:nvGrpSpPr>
          <p:cNvPr id="2" name="Группа 1">
            <a:extLst>
              <a:ext uri="{FF2B5EF4-FFF2-40B4-BE49-F238E27FC236}">
                <a16:creationId xmlns:a16="http://schemas.microsoft.com/office/drawing/2014/main" xmlns="" id="{7E49E828-AE3E-598F-EB7C-E278372C2547}"/>
              </a:ext>
            </a:extLst>
          </p:cNvPr>
          <p:cNvGrpSpPr/>
          <p:nvPr/>
        </p:nvGrpSpPr>
        <p:grpSpPr>
          <a:xfrm>
            <a:off x="3139605" y="1165055"/>
            <a:ext cx="4766582" cy="3041075"/>
            <a:chOff x="1949093" y="1819275"/>
            <a:chExt cx="7895754" cy="5034423"/>
          </a:xfrm>
        </p:grpSpPr>
        <p:grpSp>
          <p:nvGrpSpPr>
            <p:cNvPr id="3" name="Группа 2">
              <a:extLst>
                <a:ext uri="{FF2B5EF4-FFF2-40B4-BE49-F238E27FC236}">
                  <a16:creationId xmlns:a16="http://schemas.microsoft.com/office/drawing/2014/main" xmlns="" id="{34D5011E-FD36-A5EB-FC2B-D67E9295E242}"/>
                </a:ext>
              </a:extLst>
            </p:cNvPr>
            <p:cNvGrpSpPr/>
            <p:nvPr/>
          </p:nvGrpSpPr>
          <p:grpSpPr>
            <a:xfrm>
              <a:off x="2109789" y="1819275"/>
              <a:ext cx="7735058" cy="4348164"/>
              <a:chOff x="2109789" y="1819275"/>
              <a:chExt cx="7735058" cy="4348164"/>
            </a:xfrm>
          </p:grpSpPr>
          <p:pic>
            <p:nvPicPr>
              <p:cNvPr id="9" name="Grafik 2" descr="BO18255-3407HercepIV.jpg">
                <a:extLst>
                  <a:ext uri="{FF2B5EF4-FFF2-40B4-BE49-F238E27FC236}">
                    <a16:creationId xmlns:a16="http://schemas.microsoft.com/office/drawing/2014/main" xmlns="" id="{B98C12F0-97BB-9359-75BF-99997309046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24250" y="1819275"/>
                <a:ext cx="5000626" cy="403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2" descr="BO18255-3407 I_FISH.jpg">
                <a:extLst>
                  <a:ext uri="{FF2B5EF4-FFF2-40B4-BE49-F238E27FC236}">
                    <a16:creationId xmlns:a16="http://schemas.microsoft.com/office/drawing/2014/main" xmlns="" id="{2CAA2A0F-5D54-843F-E832-D26CB848C492}"/>
                  </a:ext>
                </a:extLst>
              </p:cNvPr>
              <p:cNvPicPr>
                <a:picLocks noChangeAspect="1"/>
              </p:cNvPicPr>
              <p:nvPr/>
            </p:nvPicPr>
            <p:blipFill>
              <a:blip r:embed="rId3">
                <a:lum bright="-6000" contrast="34000"/>
                <a:extLst>
                  <a:ext uri="{28A0092B-C50C-407E-A947-70E740481C1C}">
                    <a14:useLocalDpi xmlns:a14="http://schemas.microsoft.com/office/drawing/2010/main" val="0"/>
                  </a:ext>
                </a:extLst>
              </a:blip>
              <a:srcRect/>
              <a:stretch>
                <a:fillRect/>
              </a:stretch>
            </p:blipFill>
            <p:spPr bwMode="auto">
              <a:xfrm>
                <a:off x="7094539" y="3768725"/>
                <a:ext cx="2746375"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13">
                <a:extLst>
                  <a:ext uri="{FF2B5EF4-FFF2-40B4-BE49-F238E27FC236}">
                    <a16:creationId xmlns:a16="http://schemas.microsoft.com/office/drawing/2014/main" xmlns="" id="{C7E761AD-87D0-BB88-EEC1-8F994D2D97DB}"/>
                  </a:ext>
                </a:extLst>
              </p:cNvPr>
              <p:cNvCxnSpPr/>
              <p:nvPr/>
            </p:nvCxnSpPr>
            <p:spPr bwMode="auto">
              <a:xfrm rot="16200000" flipH="1">
                <a:off x="5366544" y="4428331"/>
                <a:ext cx="2324100" cy="1150938"/>
              </a:xfrm>
              <a:prstGeom prst="line">
                <a:avLst/>
              </a:prstGeom>
              <a:noFill/>
              <a:ln w="6350" cap="flat" cmpd="sng" algn="ctr">
                <a:solidFill>
                  <a:sysClr val="windowText" lastClr="000000"/>
                </a:solidFill>
                <a:prstDash val="solid"/>
                <a:miter lim="800000"/>
              </a:ln>
              <a:effectLst/>
            </p:spPr>
          </p:cxnSp>
          <p:cxnSp>
            <p:nvCxnSpPr>
              <p:cNvPr id="12" name="Gerade Verbindung 14">
                <a:extLst>
                  <a:ext uri="{FF2B5EF4-FFF2-40B4-BE49-F238E27FC236}">
                    <a16:creationId xmlns:a16="http://schemas.microsoft.com/office/drawing/2014/main" xmlns="" id="{ACAE18DB-C8CD-6D63-9931-4980834BF8B9}"/>
                  </a:ext>
                </a:extLst>
              </p:cNvPr>
              <p:cNvCxnSpPr/>
              <p:nvPr/>
            </p:nvCxnSpPr>
            <p:spPr bwMode="auto">
              <a:xfrm>
                <a:off x="6675439" y="2984501"/>
                <a:ext cx="3165475" cy="804863"/>
              </a:xfrm>
              <a:prstGeom prst="line">
                <a:avLst/>
              </a:prstGeom>
              <a:noFill/>
              <a:ln w="6350" cap="flat" cmpd="sng" algn="ctr">
                <a:solidFill>
                  <a:sysClr val="windowText" lastClr="000000"/>
                </a:solidFill>
                <a:prstDash val="solid"/>
                <a:miter lim="800000"/>
              </a:ln>
              <a:effectLst/>
            </p:spPr>
          </p:cxnSp>
          <p:sp>
            <p:nvSpPr>
              <p:cNvPr id="13" name="Textfeld 18">
                <a:extLst>
                  <a:ext uri="{FF2B5EF4-FFF2-40B4-BE49-F238E27FC236}">
                    <a16:creationId xmlns:a16="http://schemas.microsoft.com/office/drawing/2014/main" xmlns="" id="{1A4F893C-9326-F82E-A0C1-E51411B4CD04}"/>
                  </a:ext>
                </a:extLst>
              </p:cNvPr>
              <p:cNvSpPr txBox="1">
                <a:spLocks noChangeArrowheads="1"/>
              </p:cNvSpPr>
              <p:nvPr/>
            </p:nvSpPr>
            <p:spPr bwMode="auto">
              <a:xfrm>
                <a:off x="7204903" y="3733800"/>
                <a:ext cx="2639944" cy="57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eaLnBrk="1" hangingPunct="1">
                  <a:defRPr/>
                </a:pPr>
                <a:r>
                  <a:rPr lang="ru-RU" altLang="ru-RU" sz="825" kern="0" dirty="0" err="1">
                    <a:solidFill>
                      <a:prstClr val="white"/>
                    </a:solidFill>
                    <a:latin typeface="+mn-lt"/>
                  </a:rPr>
                  <a:t>Интестинальный</a:t>
                </a:r>
                <a:endParaRPr lang="ru-RU" altLang="ru-RU" sz="825" kern="0" dirty="0">
                  <a:solidFill>
                    <a:prstClr val="white"/>
                  </a:solidFill>
                  <a:latin typeface="+mn-lt"/>
                </a:endParaRPr>
              </a:p>
              <a:p>
                <a:pPr defTabSz="685800" eaLnBrk="1" hangingPunct="1">
                  <a:defRPr/>
                </a:pPr>
                <a:r>
                  <a:rPr lang="de-DE" altLang="ru-RU" sz="825" kern="0" dirty="0">
                    <a:solidFill>
                      <a:prstClr val="white"/>
                    </a:solidFill>
                    <a:latin typeface="+mn-lt"/>
                  </a:rPr>
                  <a:t>(</a:t>
                </a:r>
                <a:r>
                  <a:rPr lang="ru-RU" altLang="ru-RU" sz="825" kern="0" dirty="0" err="1">
                    <a:solidFill>
                      <a:prstClr val="white"/>
                    </a:solidFill>
                    <a:latin typeface="+mn-lt"/>
                  </a:rPr>
                  <a:t>железистообразующий</a:t>
                </a:r>
                <a:r>
                  <a:rPr lang="de-DE" altLang="ru-RU" sz="825" kern="0" dirty="0">
                    <a:solidFill>
                      <a:prstClr val="white"/>
                    </a:solidFill>
                    <a:latin typeface="+mn-lt"/>
                  </a:rPr>
                  <a:t>) </a:t>
                </a:r>
                <a:r>
                  <a:rPr lang="ru-RU" altLang="ru-RU" sz="825" kern="0" dirty="0">
                    <a:solidFill>
                      <a:prstClr val="white"/>
                    </a:solidFill>
                    <a:latin typeface="+mn-lt"/>
                  </a:rPr>
                  <a:t>тип</a:t>
                </a:r>
                <a:endParaRPr lang="de-DE" altLang="ru-RU" sz="825" kern="0" dirty="0">
                  <a:solidFill>
                    <a:prstClr val="white"/>
                  </a:solidFill>
                  <a:latin typeface="+mn-lt"/>
                </a:endParaRPr>
              </a:p>
            </p:txBody>
          </p:sp>
          <p:sp>
            <p:nvSpPr>
              <p:cNvPr id="14" name="Rechteck 16">
                <a:extLst>
                  <a:ext uri="{FF2B5EF4-FFF2-40B4-BE49-F238E27FC236}">
                    <a16:creationId xmlns:a16="http://schemas.microsoft.com/office/drawing/2014/main" xmlns="" id="{BC9A8B1A-37F6-74ED-9222-C31B047DA674}"/>
                  </a:ext>
                </a:extLst>
              </p:cNvPr>
              <p:cNvSpPr/>
              <p:nvPr/>
            </p:nvSpPr>
            <p:spPr bwMode="auto">
              <a:xfrm>
                <a:off x="5961064" y="2984500"/>
                <a:ext cx="714375" cy="857250"/>
              </a:xfrm>
              <a:prstGeom prst="rect">
                <a:avLst/>
              </a:prstGeom>
              <a:noFill/>
              <a:ln w="12700" cap="flat" cmpd="sng" algn="ctr">
                <a:solidFill>
                  <a:sysClr val="windowText" lastClr="000000"/>
                </a:solidFill>
                <a:prstDash val="solid"/>
                <a:miter lim="800000"/>
              </a:ln>
              <a:effectLst/>
            </p:spPr>
            <p:txBody>
              <a:bodyPr anchor="ctr"/>
              <a:lstStyle/>
              <a:p>
                <a:pPr algn="ctr" defTabSz="685800">
                  <a:defRPr/>
                </a:pPr>
                <a:endParaRPr lang="en-US" sz="1350" kern="0">
                  <a:solidFill>
                    <a:srgbClr val="FFFFFF"/>
                  </a:solidFill>
                </a:endParaRPr>
              </a:p>
            </p:txBody>
          </p:sp>
          <p:pic>
            <p:nvPicPr>
              <p:cNvPr id="15" name="Grafik 2" descr="BO18255-3407 III_SZ_FISH.jpg">
                <a:extLst>
                  <a:ext uri="{FF2B5EF4-FFF2-40B4-BE49-F238E27FC236}">
                    <a16:creationId xmlns:a16="http://schemas.microsoft.com/office/drawing/2014/main" xmlns="" id="{A98C42FC-2B5F-4FE1-31B2-792B7C69A1E7}"/>
                  </a:ext>
                </a:extLst>
              </p:cNvPr>
              <p:cNvPicPr>
                <a:picLocks noChangeAspect="1"/>
              </p:cNvPicPr>
              <p:nvPr/>
            </p:nvPicPr>
            <p:blipFill>
              <a:blip r:embed="rId4">
                <a:lum bright="-12000" contrast="26000"/>
                <a:extLst>
                  <a:ext uri="{28A0092B-C50C-407E-A947-70E740481C1C}">
                    <a14:useLocalDpi xmlns:a14="http://schemas.microsoft.com/office/drawing/2010/main" val="0"/>
                  </a:ext>
                </a:extLst>
              </a:blip>
              <a:srcRect/>
              <a:stretch>
                <a:fillRect/>
              </a:stretch>
            </p:blipFill>
            <p:spPr bwMode="auto">
              <a:xfrm>
                <a:off x="2109789" y="3694114"/>
                <a:ext cx="2154237" cy="247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hteck 8">
                <a:extLst>
                  <a:ext uri="{FF2B5EF4-FFF2-40B4-BE49-F238E27FC236}">
                    <a16:creationId xmlns:a16="http://schemas.microsoft.com/office/drawing/2014/main" xmlns="" id="{063BBA3B-3850-6E70-85F1-9B61BC52344E}"/>
                  </a:ext>
                </a:extLst>
              </p:cNvPr>
              <p:cNvSpPr/>
              <p:nvPr/>
            </p:nvSpPr>
            <p:spPr bwMode="auto">
              <a:xfrm>
                <a:off x="4024314" y="2479675"/>
                <a:ext cx="714375" cy="857250"/>
              </a:xfrm>
              <a:prstGeom prst="rect">
                <a:avLst/>
              </a:prstGeom>
              <a:noFill/>
              <a:ln w="12700" cap="flat" cmpd="sng" algn="ctr">
                <a:solidFill>
                  <a:sysClr val="windowText" lastClr="000000"/>
                </a:solidFill>
                <a:prstDash val="solid"/>
                <a:miter lim="800000"/>
              </a:ln>
              <a:effectLst/>
            </p:spPr>
            <p:txBody>
              <a:bodyPr anchor="ctr"/>
              <a:lstStyle/>
              <a:p>
                <a:pPr algn="ctr" defTabSz="685800">
                  <a:defRPr/>
                </a:pPr>
                <a:endParaRPr lang="en-US" sz="1350" kern="0">
                  <a:solidFill>
                    <a:srgbClr val="FFFFFF"/>
                  </a:solidFill>
                </a:endParaRPr>
              </a:p>
            </p:txBody>
          </p:sp>
          <p:cxnSp>
            <p:nvCxnSpPr>
              <p:cNvPr id="17" name="Gerade Verbindung 9">
                <a:extLst>
                  <a:ext uri="{FF2B5EF4-FFF2-40B4-BE49-F238E27FC236}">
                    <a16:creationId xmlns:a16="http://schemas.microsoft.com/office/drawing/2014/main" xmlns="" id="{A078CED7-7DDF-831B-D5C6-0B6086BCB40F}"/>
                  </a:ext>
                </a:extLst>
              </p:cNvPr>
              <p:cNvCxnSpPr/>
              <p:nvPr/>
            </p:nvCxnSpPr>
            <p:spPr bwMode="auto">
              <a:xfrm rot="10800000" flipV="1">
                <a:off x="2135189" y="2479676"/>
                <a:ext cx="1889125" cy="1236663"/>
              </a:xfrm>
              <a:prstGeom prst="line">
                <a:avLst/>
              </a:prstGeom>
              <a:noFill/>
              <a:ln w="6350" cap="flat" cmpd="sng" algn="ctr">
                <a:solidFill>
                  <a:sysClr val="windowText" lastClr="000000"/>
                </a:solidFill>
                <a:prstDash val="solid"/>
                <a:miter lim="800000"/>
              </a:ln>
              <a:effectLst/>
            </p:spPr>
          </p:cxnSp>
          <p:cxnSp>
            <p:nvCxnSpPr>
              <p:cNvPr id="18" name="Gerade Verbindung 10">
                <a:extLst>
                  <a:ext uri="{FF2B5EF4-FFF2-40B4-BE49-F238E27FC236}">
                    <a16:creationId xmlns:a16="http://schemas.microsoft.com/office/drawing/2014/main" xmlns="" id="{31583873-9758-F106-21D1-F6B745400CBB}"/>
                  </a:ext>
                </a:extLst>
              </p:cNvPr>
              <p:cNvCxnSpPr/>
              <p:nvPr/>
            </p:nvCxnSpPr>
            <p:spPr bwMode="auto">
              <a:xfrm rot="5400000">
                <a:off x="3102770" y="4529932"/>
                <a:ext cx="2828925" cy="442913"/>
              </a:xfrm>
              <a:prstGeom prst="line">
                <a:avLst/>
              </a:prstGeom>
              <a:noFill/>
              <a:ln w="6350" cap="flat" cmpd="sng" algn="ctr">
                <a:solidFill>
                  <a:sysClr val="windowText" lastClr="000000"/>
                </a:solidFill>
                <a:prstDash val="solid"/>
                <a:miter lim="800000"/>
              </a:ln>
              <a:effectLst/>
            </p:spPr>
          </p:cxnSp>
          <p:sp>
            <p:nvSpPr>
              <p:cNvPr id="19" name="Textfeld 16">
                <a:extLst>
                  <a:ext uri="{FF2B5EF4-FFF2-40B4-BE49-F238E27FC236}">
                    <a16:creationId xmlns:a16="http://schemas.microsoft.com/office/drawing/2014/main" xmlns="" id="{FB77B0CE-E2EF-A28C-A4B0-DAAED11E5465}"/>
                  </a:ext>
                </a:extLst>
              </p:cNvPr>
              <p:cNvSpPr txBox="1">
                <a:spLocks noChangeArrowheads="1"/>
              </p:cNvSpPr>
              <p:nvPr/>
            </p:nvSpPr>
            <p:spPr bwMode="auto">
              <a:xfrm>
                <a:off x="2381250" y="3630614"/>
                <a:ext cx="1601703" cy="57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85800" eaLnBrk="1" hangingPunct="1">
                  <a:defRPr/>
                </a:pPr>
                <a:r>
                  <a:rPr lang="ru-RU" altLang="ru-RU" sz="825" kern="0" dirty="0">
                    <a:solidFill>
                      <a:prstClr val="white"/>
                    </a:solidFill>
                    <a:latin typeface="+mn-lt"/>
                  </a:rPr>
                  <a:t>Перстневидный</a:t>
                </a:r>
              </a:p>
              <a:p>
                <a:pPr algn="ctr" defTabSz="685800" eaLnBrk="1" hangingPunct="1">
                  <a:defRPr/>
                </a:pPr>
                <a:r>
                  <a:rPr lang="ru-RU" altLang="ru-RU" sz="825" kern="0" dirty="0">
                    <a:solidFill>
                      <a:prstClr val="white"/>
                    </a:solidFill>
                    <a:latin typeface="+mn-lt"/>
                  </a:rPr>
                  <a:t>тип</a:t>
                </a:r>
                <a:endParaRPr lang="de-DE" altLang="ru-RU" sz="825" kern="0" dirty="0">
                  <a:solidFill>
                    <a:prstClr val="white"/>
                  </a:solidFill>
                  <a:latin typeface="+mn-lt"/>
                </a:endParaRPr>
              </a:p>
            </p:txBody>
          </p:sp>
          <p:sp>
            <p:nvSpPr>
              <p:cNvPr id="20" name="Textfeld 18">
                <a:extLst>
                  <a:ext uri="{FF2B5EF4-FFF2-40B4-BE49-F238E27FC236}">
                    <a16:creationId xmlns:a16="http://schemas.microsoft.com/office/drawing/2014/main" xmlns="" id="{46F1E987-66DC-1752-C534-5B4D87A45242}"/>
                  </a:ext>
                </a:extLst>
              </p:cNvPr>
              <p:cNvSpPr txBox="1">
                <a:spLocks noChangeArrowheads="1"/>
              </p:cNvSpPr>
              <p:nvPr/>
            </p:nvSpPr>
            <p:spPr bwMode="auto">
              <a:xfrm>
                <a:off x="3667125" y="5354637"/>
                <a:ext cx="306003" cy="496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85800" eaLnBrk="1" hangingPunct="1">
                  <a:defRPr/>
                </a:pPr>
                <a:endParaRPr lang="en-US" altLang="ru-RU" sz="1350" kern="0">
                  <a:solidFill>
                    <a:prstClr val="black"/>
                  </a:solidFill>
                  <a:latin typeface="+mn-lt"/>
                </a:endParaRPr>
              </a:p>
            </p:txBody>
          </p:sp>
        </p:grpSp>
        <p:sp>
          <p:nvSpPr>
            <p:cNvPr id="4" name="Text Box 16">
              <a:extLst>
                <a:ext uri="{FF2B5EF4-FFF2-40B4-BE49-F238E27FC236}">
                  <a16:creationId xmlns:a16="http://schemas.microsoft.com/office/drawing/2014/main" xmlns="" id="{20DA1ED1-BCF0-A5D9-92D8-1D8B44E7A3C0}"/>
                </a:ext>
              </a:extLst>
            </p:cNvPr>
            <p:cNvSpPr txBox="1">
              <a:spLocks noChangeArrowheads="1"/>
            </p:cNvSpPr>
            <p:nvPr/>
          </p:nvSpPr>
          <p:spPr bwMode="auto">
            <a:xfrm>
              <a:off x="7104064" y="6165852"/>
              <a:ext cx="2736850" cy="687846"/>
            </a:xfrm>
            <a:prstGeom prst="rect">
              <a:avLst/>
            </a:prstGeom>
            <a:noFill/>
            <a:ln>
              <a:noFill/>
            </a:ln>
            <a:effec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eaLnBrk="1" hangingPunct="1">
                <a:defRPr/>
              </a:pPr>
              <a:r>
                <a:rPr lang="ru-RU" altLang="ru-RU" sz="1050" kern="0" dirty="0">
                  <a:solidFill>
                    <a:prstClr val="black"/>
                  </a:solidFill>
                  <a:latin typeface="+mn-lt"/>
                </a:rPr>
                <a:t>Высокая амплификация</a:t>
              </a:r>
              <a:endParaRPr lang="en-US" altLang="ru-RU" sz="1050" kern="0" dirty="0">
                <a:solidFill>
                  <a:prstClr val="black"/>
                </a:solidFill>
                <a:latin typeface="+mn-lt"/>
              </a:endParaRPr>
            </a:p>
          </p:txBody>
        </p:sp>
        <p:sp>
          <p:nvSpPr>
            <p:cNvPr id="8" name="Text Box 17">
              <a:extLst>
                <a:ext uri="{FF2B5EF4-FFF2-40B4-BE49-F238E27FC236}">
                  <a16:creationId xmlns:a16="http://schemas.microsoft.com/office/drawing/2014/main" xmlns="" id="{1DA22780-3C9B-7C23-33E7-9335116E7CF4}"/>
                </a:ext>
              </a:extLst>
            </p:cNvPr>
            <p:cNvSpPr txBox="1">
              <a:spLocks noChangeArrowheads="1"/>
            </p:cNvSpPr>
            <p:nvPr/>
          </p:nvSpPr>
          <p:spPr bwMode="auto">
            <a:xfrm>
              <a:off x="1949093" y="6167242"/>
              <a:ext cx="2515488" cy="420352"/>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eaLnBrk="1" hangingPunct="1">
                <a:defRPr/>
              </a:pPr>
              <a:r>
                <a:rPr lang="ru-RU" altLang="ru-RU" sz="1050" kern="0" dirty="0">
                  <a:solidFill>
                    <a:prstClr val="black"/>
                  </a:solidFill>
                  <a:latin typeface="+mn-lt"/>
                </a:rPr>
                <a:t>Нет амплификации</a:t>
              </a:r>
              <a:endParaRPr lang="en-US" altLang="ru-RU" sz="1050" kern="0" dirty="0">
                <a:solidFill>
                  <a:prstClr val="black"/>
                </a:solidFill>
                <a:latin typeface="+mn-lt"/>
              </a:endParaRPr>
            </a:p>
          </p:txBody>
        </p:sp>
      </p:grpSp>
      <p:pic>
        <p:nvPicPr>
          <p:cNvPr id="21" name="Picture 5" descr="09-15946">
            <a:extLst>
              <a:ext uri="{FF2B5EF4-FFF2-40B4-BE49-F238E27FC236}">
                <a16:creationId xmlns:a16="http://schemas.microsoft.com/office/drawing/2014/main" xmlns="" id="{767A3A89-4CBE-2250-2CBD-E9BE72915970}"/>
              </a:ext>
            </a:extLst>
          </p:cNvPr>
          <p:cNvPicPr>
            <a:picLocks noChangeAspect="1" noChangeArrowheads="1"/>
          </p:cNvPicPr>
          <p:nvPr/>
        </p:nvPicPr>
        <p:blipFill>
          <a:blip r:embed="rId5">
            <a:lum bright="6000"/>
            <a:extLst>
              <a:ext uri="{28A0092B-C50C-407E-A947-70E740481C1C}">
                <a14:useLocalDpi xmlns:a14="http://schemas.microsoft.com/office/drawing/2010/main" val="0"/>
              </a:ext>
            </a:extLst>
          </a:blip>
          <a:srcRect/>
          <a:stretch>
            <a:fillRect/>
          </a:stretch>
        </p:blipFill>
        <p:spPr bwMode="auto">
          <a:xfrm>
            <a:off x="7159797" y="758558"/>
            <a:ext cx="1657958" cy="1326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sp>
        <p:nvSpPr>
          <p:cNvPr id="22" name="Rectangle 3">
            <a:extLst>
              <a:ext uri="{FF2B5EF4-FFF2-40B4-BE49-F238E27FC236}">
                <a16:creationId xmlns:a16="http://schemas.microsoft.com/office/drawing/2014/main" xmlns="" id="{46661C6C-E6DB-CE35-3201-4913612E41C6}"/>
              </a:ext>
            </a:extLst>
          </p:cNvPr>
          <p:cNvSpPr txBox="1">
            <a:spLocks noChangeArrowheads="1"/>
          </p:cNvSpPr>
          <p:nvPr/>
        </p:nvSpPr>
        <p:spPr>
          <a:xfrm>
            <a:off x="262917" y="1327707"/>
            <a:ext cx="2760496" cy="2249905"/>
          </a:xfrm>
          <a:prstGeom prst="rect">
            <a:avLst/>
          </a:prstGeom>
        </p:spPr>
        <p:txBody>
          <a:bodyPr vert="horz" lIns="68580" tIns="34290" rIns="68580" bIns="3429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pPr>
            <a:r>
              <a:rPr lang="ru-RU" sz="1350" dirty="0">
                <a:solidFill>
                  <a:prstClr val="black"/>
                </a:solidFill>
              </a:rPr>
              <a:t>Какой блок выбрать?</a:t>
            </a:r>
          </a:p>
          <a:p>
            <a:pPr lvl="1">
              <a:buClr>
                <a:schemeClr val="accent2"/>
              </a:buClr>
            </a:pPr>
            <a:r>
              <a:rPr lang="ru-RU" sz="1200" dirty="0">
                <a:solidFill>
                  <a:prstClr val="black"/>
                </a:solidFill>
              </a:rPr>
              <a:t>Блок с участками с самым низким уровнем дифференцировки,</a:t>
            </a:r>
          </a:p>
          <a:p>
            <a:pPr lvl="1">
              <a:buClr>
                <a:schemeClr val="accent2"/>
              </a:buClr>
            </a:pPr>
            <a:r>
              <a:rPr lang="ru-RU" sz="1200" dirty="0">
                <a:solidFill>
                  <a:prstClr val="black"/>
                </a:solidFill>
              </a:rPr>
              <a:t>При наличии нескольких паттернов нужно взять </a:t>
            </a:r>
            <a:br>
              <a:rPr lang="ru-RU" sz="1200" dirty="0">
                <a:solidFill>
                  <a:prstClr val="black"/>
                </a:solidFill>
              </a:rPr>
            </a:br>
            <a:r>
              <a:rPr lang="ru-RU" sz="1200" dirty="0">
                <a:solidFill>
                  <a:prstClr val="black"/>
                </a:solidFill>
              </a:rPr>
              <a:t>несколько блоков.</a:t>
            </a:r>
            <a:endParaRPr lang="ru-RU" altLang="ru-RU" sz="1050" dirty="0">
              <a:solidFill>
                <a:prstClr val="black"/>
              </a:solidFill>
            </a:endParaRPr>
          </a:p>
          <a:p>
            <a:pPr marL="284560" indent="-284560">
              <a:buClr>
                <a:schemeClr val="accent2"/>
              </a:buClr>
            </a:pPr>
            <a:r>
              <a:rPr lang="ru-RU" altLang="ru-RU" sz="1050" dirty="0">
                <a:solidFill>
                  <a:prstClr val="black"/>
                </a:solidFill>
              </a:rPr>
              <a:t>Гетерогенное окрашивание встречается чаще при раке желудка и пищеводно-желудочного перехода чем при раке молочной железы</a:t>
            </a:r>
            <a:r>
              <a:rPr lang="en-GB" altLang="ru-RU" sz="1050" baseline="30000" dirty="0">
                <a:solidFill>
                  <a:prstClr val="black"/>
                </a:solidFill>
              </a:rPr>
              <a:t>1</a:t>
            </a:r>
          </a:p>
          <a:p>
            <a:pPr marL="284560" indent="-284560">
              <a:buClr>
                <a:schemeClr val="accent2"/>
              </a:buClr>
            </a:pPr>
            <a:r>
              <a:rPr lang="ru-RU" altLang="ru-RU" sz="1050" dirty="0">
                <a:solidFill>
                  <a:prstClr val="black"/>
                </a:solidFill>
              </a:rPr>
              <a:t>Гетерогенность опухоли встречается </a:t>
            </a:r>
            <a:br>
              <a:rPr lang="ru-RU" altLang="ru-RU" sz="1050" dirty="0">
                <a:solidFill>
                  <a:prstClr val="black"/>
                </a:solidFill>
              </a:rPr>
            </a:br>
            <a:r>
              <a:rPr lang="ru-RU" altLang="ru-RU" sz="1050" dirty="0">
                <a:solidFill>
                  <a:prstClr val="black"/>
                </a:solidFill>
              </a:rPr>
              <a:t>в 5-30% случаев рака желудка</a:t>
            </a:r>
            <a:r>
              <a:rPr lang="en-GB" altLang="ru-RU" sz="1050" baseline="30000" dirty="0">
                <a:solidFill>
                  <a:prstClr val="black"/>
                </a:solidFill>
              </a:rPr>
              <a:t>1,2</a:t>
            </a:r>
            <a:endParaRPr lang="en-GB" altLang="ru-RU" sz="1050" dirty="0">
              <a:solidFill>
                <a:prstClr val="black"/>
              </a:solidFill>
            </a:endParaRPr>
          </a:p>
        </p:txBody>
      </p:sp>
      <p:sp>
        <p:nvSpPr>
          <p:cNvPr id="23" name="Rectangle 4">
            <a:extLst>
              <a:ext uri="{FF2B5EF4-FFF2-40B4-BE49-F238E27FC236}">
                <a16:creationId xmlns:a16="http://schemas.microsoft.com/office/drawing/2014/main" xmlns="" id="{C59086E2-C36E-75F3-6273-E8473C22D32E}"/>
              </a:ext>
            </a:extLst>
          </p:cNvPr>
          <p:cNvSpPr>
            <a:spLocks noChangeArrowheads="1"/>
          </p:cNvSpPr>
          <p:nvPr/>
        </p:nvSpPr>
        <p:spPr bwMode="auto">
          <a:xfrm>
            <a:off x="262917" y="4454440"/>
            <a:ext cx="717474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marL="342900" indent="-342900"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eaLnBrk="1" hangingPunct="1"/>
            <a:r>
              <a:rPr lang="ru-RU" sz="700" dirty="0">
                <a:latin typeface="+mn-lt"/>
              </a:rPr>
              <a:t>1. </a:t>
            </a:r>
            <a:r>
              <a:rPr lang="en-US" sz="700" dirty="0">
                <a:latin typeface="+mn-lt"/>
              </a:rPr>
              <a:t>Hofmann M, Stoss O, Shi D, et al. Assessment of a HER2 scoring system for gastric cancer: results from a validation study. </a:t>
            </a:r>
            <a:r>
              <a:rPr lang="en-US" sz="700" i="1" dirty="0">
                <a:latin typeface="+mn-lt"/>
              </a:rPr>
              <a:t>Histopathology</a:t>
            </a:r>
            <a:r>
              <a:rPr lang="en-US" sz="700" dirty="0">
                <a:latin typeface="+mn-lt"/>
              </a:rPr>
              <a:t>. 2008;52(7):797-805. doi:10.1111/j.1365-2559.2008.03028.x</a:t>
            </a:r>
            <a:r>
              <a:rPr lang="ru-RU" sz="700" dirty="0">
                <a:latin typeface="+mn-lt"/>
              </a:rPr>
              <a:t> 2.</a:t>
            </a:r>
            <a:r>
              <a:rPr lang="en-US" sz="700" b="0" i="0" dirty="0">
                <a:solidFill>
                  <a:srgbClr val="212121"/>
                </a:solidFill>
                <a:effectLst/>
                <a:latin typeface="+mn-lt"/>
              </a:rPr>
              <a:t> </a:t>
            </a:r>
            <a:r>
              <a:rPr lang="en-US" sz="700" b="0" i="0" dirty="0" err="1">
                <a:solidFill>
                  <a:srgbClr val="212121"/>
                </a:solidFill>
                <a:effectLst/>
                <a:latin typeface="+mn-lt"/>
              </a:rPr>
              <a:t>Rüschoff</a:t>
            </a:r>
            <a:r>
              <a:rPr lang="en-US" sz="700" b="0" i="0" dirty="0">
                <a:solidFill>
                  <a:srgbClr val="212121"/>
                </a:solidFill>
                <a:effectLst/>
                <a:latin typeface="+mn-lt"/>
              </a:rPr>
              <a:t> J, </a:t>
            </a:r>
            <a:r>
              <a:rPr lang="en-US" sz="700" dirty="0">
                <a:solidFill>
                  <a:srgbClr val="212121"/>
                </a:solidFill>
                <a:latin typeface="+mn-lt"/>
              </a:rPr>
              <a:t>et al.</a:t>
            </a:r>
            <a:r>
              <a:rPr lang="ru-RU" sz="700" dirty="0">
                <a:solidFill>
                  <a:srgbClr val="212121"/>
                </a:solidFill>
                <a:latin typeface="+mn-lt"/>
              </a:rPr>
              <a:t>б </a:t>
            </a:r>
            <a:r>
              <a:rPr lang="en-US" sz="700" b="0" i="0" dirty="0">
                <a:solidFill>
                  <a:srgbClr val="212121"/>
                </a:solidFill>
                <a:effectLst/>
                <a:latin typeface="+mn-lt"/>
              </a:rPr>
              <a:t>.. </a:t>
            </a:r>
            <a:r>
              <a:rPr lang="en-US" sz="700" b="0" i="0" dirty="0" err="1">
                <a:solidFill>
                  <a:srgbClr val="212121"/>
                </a:solidFill>
                <a:effectLst/>
                <a:latin typeface="+mn-lt"/>
              </a:rPr>
              <a:t>Pathologe</a:t>
            </a:r>
            <a:r>
              <a:rPr lang="en-US" sz="700" b="0" i="0" dirty="0">
                <a:solidFill>
                  <a:srgbClr val="212121"/>
                </a:solidFill>
                <a:effectLst/>
                <a:latin typeface="+mn-lt"/>
              </a:rPr>
              <a:t>. 2010 May;31(3):208-17. German. </a:t>
            </a:r>
            <a:r>
              <a:rPr lang="en-US" sz="700" b="0" i="0" dirty="0" err="1">
                <a:solidFill>
                  <a:srgbClr val="212121"/>
                </a:solidFill>
                <a:effectLst/>
                <a:latin typeface="+mn-lt"/>
              </a:rPr>
              <a:t>doi</a:t>
            </a:r>
            <a:r>
              <a:rPr lang="en-US" sz="700" b="0" i="0" dirty="0">
                <a:solidFill>
                  <a:srgbClr val="212121"/>
                </a:solidFill>
                <a:effectLst/>
                <a:latin typeface="+mn-lt"/>
              </a:rPr>
              <a:t>: 10.1007/s00292-010-1278-1. PMID: 20443098.</a:t>
            </a:r>
            <a:r>
              <a:rPr lang="ru-RU" sz="700" dirty="0">
                <a:latin typeface="+mn-lt"/>
              </a:rPr>
              <a:t> 3 </a:t>
            </a:r>
            <a:r>
              <a:rPr lang="en-US" sz="700" dirty="0">
                <a:latin typeface="+mn-lt"/>
              </a:rPr>
              <a:t>Bartley AN, Washington MK, Colasacco C, et al. HER2 Testing and Clinical Decision Making in Gastroesophageal Adenocarcinoma: Guideline From the College of American Pathologists, American Society for Clinical Pathology, and the American Society of Clinical Oncology. J Clin Oncol. 2017;35(4):446-464. doi:10.1200/JCO.2016.69.4836</a:t>
            </a:r>
            <a:r>
              <a:rPr lang="ru-RU" sz="700" dirty="0">
                <a:latin typeface="+mn-lt"/>
              </a:rPr>
              <a:t> 4. </a:t>
            </a:r>
          </a:p>
        </p:txBody>
      </p:sp>
    </p:spTree>
    <p:extLst>
      <p:ext uri="{BB962C8B-B14F-4D97-AF65-F5344CB8AC3E}">
        <p14:creationId xmlns:p14="http://schemas.microsoft.com/office/powerpoint/2010/main" val="38418860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6">
            <a:extLst>
              <a:ext uri="{FF2B5EF4-FFF2-40B4-BE49-F238E27FC236}">
                <a16:creationId xmlns:a16="http://schemas.microsoft.com/office/drawing/2014/main" xmlns="" id="{CCAB47EE-D22B-64D5-CE0B-2450C7A264BC}"/>
              </a:ext>
            </a:extLst>
          </p:cNvPr>
          <p:cNvGraphicFramePr>
            <a:graphicFrameLocks/>
          </p:cNvGraphicFramePr>
          <p:nvPr/>
        </p:nvGraphicFramePr>
        <p:xfrm>
          <a:off x="496730" y="1068316"/>
          <a:ext cx="7912679" cy="3670950"/>
        </p:xfrm>
        <a:graphic>
          <a:graphicData uri="http://schemas.openxmlformats.org/drawingml/2006/table">
            <a:tbl>
              <a:tblPr firstRow="1" bandRow="1"/>
              <a:tblGrid>
                <a:gridCol w="1439248">
                  <a:extLst>
                    <a:ext uri="{9D8B030D-6E8A-4147-A177-3AD203B41FA5}">
                      <a16:colId xmlns:a16="http://schemas.microsoft.com/office/drawing/2014/main" xmlns="" val="420945940"/>
                    </a:ext>
                  </a:extLst>
                </a:gridCol>
                <a:gridCol w="607761">
                  <a:extLst>
                    <a:ext uri="{9D8B030D-6E8A-4147-A177-3AD203B41FA5}">
                      <a16:colId xmlns:a16="http://schemas.microsoft.com/office/drawing/2014/main" xmlns="" val="3909815810"/>
                    </a:ext>
                  </a:extLst>
                </a:gridCol>
                <a:gridCol w="2285316">
                  <a:extLst>
                    <a:ext uri="{9D8B030D-6E8A-4147-A177-3AD203B41FA5}">
                      <a16:colId xmlns:a16="http://schemas.microsoft.com/office/drawing/2014/main" xmlns="" val="1730632265"/>
                    </a:ext>
                  </a:extLst>
                </a:gridCol>
                <a:gridCol w="1961996">
                  <a:extLst>
                    <a:ext uri="{9D8B030D-6E8A-4147-A177-3AD203B41FA5}">
                      <a16:colId xmlns:a16="http://schemas.microsoft.com/office/drawing/2014/main" xmlns="" val="3946135727"/>
                    </a:ext>
                  </a:extLst>
                </a:gridCol>
                <a:gridCol w="1618358">
                  <a:extLst>
                    <a:ext uri="{9D8B030D-6E8A-4147-A177-3AD203B41FA5}">
                      <a16:colId xmlns:a16="http://schemas.microsoft.com/office/drawing/2014/main" xmlns="" val="1509593679"/>
                    </a:ext>
                  </a:extLst>
                </a:gridCol>
              </a:tblGrid>
              <a:tr h="27451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ru-RU" sz="1000" dirty="0">
                        <a:solidFill>
                          <a:schemeClr val="bg1"/>
                        </a:solidFill>
                        <a:latin typeface="+mn-lt"/>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000" dirty="0">
                          <a:solidFill>
                            <a:schemeClr val="bg1"/>
                          </a:solidFill>
                          <a:latin typeface="+mn-lt"/>
                        </a:rPr>
                        <a:t>Шкала</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000" dirty="0">
                          <a:solidFill>
                            <a:schemeClr val="bg1"/>
                          </a:solidFill>
                          <a:latin typeface="+mn-lt"/>
                        </a:rPr>
                        <a:t>Операционный материал</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solidFill>
                            <a:schemeClr val="bg1"/>
                          </a:solidFill>
                          <a:latin typeface="+mn-lt"/>
                        </a:rPr>
                        <a:t>Биопсия</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000" dirty="0">
                          <a:solidFill>
                            <a:schemeClr val="bg1"/>
                          </a:solidFill>
                          <a:latin typeface="+mn-lt"/>
                        </a:rPr>
                        <a:t>HER2</a:t>
                      </a:r>
                      <a:r>
                        <a:rPr lang="ru-RU" sz="1000" dirty="0">
                          <a:solidFill>
                            <a:schemeClr val="bg1"/>
                          </a:solidFill>
                          <a:latin typeface="+mn-lt"/>
                        </a:rPr>
                        <a:t>-статус опухоли</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3911856787"/>
                  </a:ext>
                </a:extLst>
              </a:tr>
              <a:tr h="7409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ru-RU" sz="1000" dirty="0">
                        <a:latin typeface="+mn-lt"/>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000" dirty="0">
                          <a:latin typeface="+mn-lt"/>
                        </a:rPr>
                        <a:t>0</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000" dirty="0">
                          <a:latin typeface="+mn-lt"/>
                        </a:rPr>
                        <a:t>Нет окрашивания или мембранное </a:t>
                      </a:r>
                      <a:r>
                        <a:rPr lang="en-US" sz="1000" b="1" dirty="0">
                          <a:solidFill>
                            <a:schemeClr val="accent1"/>
                          </a:solidFill>
                          <a:latin typeface="+mn-lt"/>
                        </a:rPr>
                        <a:t>&lt;</a:t>
                      </a:r>
                      <a:r>
                        <a:rPr lang="ru-RU" sz="1000" b="1" dirty="0">
                          <a:solidFill>
                            <a:schemeClr val="accent1"/>
                          </a:solidFill>
                          <a:latin typeface="+mn-lt"/>
                        </a:rPr>
                        <a:t>10% опухолевых клеток</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000" dirty="0">
                          <a:latin typeface="+mn-lt"/>
                        </a:rPr>
                        <a:t>Нет окрашивания</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000" dirty="0">
                          <a:latin typeface="+mn-lt"/>
                        </a:rPr>
                        <a:t>Отрицательный</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757422"/>
                  </a:ext>
                </a:extLst>
              </a:tr>
              <a:tr h="77334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ru-RU" sz="1000" dirty="0">
                        <a:latin typeface="+mn-lt"/>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000" dirty="0">
                          <a:latin typeface="+mn-lt"/>
                        </a:rPr>
                        <a:t>1+</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latin typeface="+mn-lt"/>
                        </a:rPr>
                        <a:t>Слабое/едва различимое частичное мембранное окрашивание </a:t>
                      </a:r>
                      <a:r>
                        <a:rPr lang="ru-RU" sz="1000" b="1" dirty="0">
                          <a:solidFill>
                            <a:schemeClr val="accent1"/>
                          </a:solidFill>
                          <a:latin typeface="+mn-lt"/>
                        </a:rPr>
                        <a:t>≥10%</a:t>
                      </a:r>
                    </a:p>
                    <a:p>
                      <a:r>
                        <a:rPr lang="ru-RU" sz="1000" b="1" dirty="0">
                          <a:solidFill>
                            <a:schemeClr val="accent1"/>
                          </a:solidFill>
                          <a:latin typeface="+mn-lt"/>
                        </a:rPr>
                        <a:t>опухолевых клеток</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latin typeface="+mn-lt"/>
                        </a:rPr>
                        <a:t>Слабое/едва различимое частичное мембранное окрашивание </a:t>
                      </a:r>
                      <a:r>
                        <a:rPr lang="ru-RU" sz="1000" b="1" dirty="0">
                          <a:solidFill>
                            <a:schemeClr val="accent1"/>
                          </a:solidFill>
                          <a:latin typeface="+mn-lt"/>
                        </a:rPr>
                        <a:t>кластера опухолевых клеток</a:t>
                      </a:r>
                      <a:r>
                        <a:rPr lang="ru-RU" sz="1000" dirty="0">
                          <a:latin typeface="+mn-lt"/>
                        </a:rPr>
                        <a:t>*</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latin typeface="+mn-lt"/>
                        </a:rPr>
                        <a:t>Отрицательный</a:t>
                      </a:r>
                    </a:p>
                    <a:p>
                      <a:endParaRPr lang="ru-RU" sz="1000" dirty="0">
                        <a:latin typeface="+mn-lt"/>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680951001"/>
                  </a:ext>
                </a:extLst>
              </a:tr>
              <a:tr h="81153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ru-RU" sz="1000">
                        <a:latin typeface="+mn-lt"/>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000" dirty="0">
                          <a:latin typeface="+mn-lt"/>
                        </a:rPr>
                        <a:t>2+</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latin typeface="+mn-lt"/>
                        </a:rPr>
                        <a:t>Слабое/умеренное полное, </a:t>
                      </a:r>
                      <a:r>
                        <a:rPr lang="ru-RU" sz="1000" dirty="0" err="1">
                          <a:latin typeface="+mn-lt"/>
                        </a:rPr>
                        <a:t>базолатеральное</a:t>
                      </a:r>
                      <a:r>
                        <a:rPr lang="ru-RU" sz="1000" dirty="0">
                          <a:latin typeface="+mn-lt"/>
                        </a:rPr>
                        <a:t> или латеральное мембранное окрашивание </a:t>
                      </a:r>
                      <a:r>
                        <a:rPr lang="ru-RU" sz="1000" b="1" dirty="0">
                          <a:solidFill>
                            <a:schemeClr val="accent1"/>
                          </a:solidFill>
                          <a:latin typeface="+mn-lt"/>
                        </a:rPr>
                        <a:t>≥10%</a:t>
                      </a:r>
                    </a:p>
                    <a:p>
                      <a:r>
                        <a:rPr lang="ru-RU" sz="1000" b="1" dirty="0">
                          <a:solidFill>
                            <a:schemeClr val="accent1"/>
                          </a:solidFill>
                          <a:latin typeface="+mn-lt"/>
                        </a:rPr>
                        <a:t>опухолевых клеток</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latin typeface="+mn-lt"/>
                        </a:rPr>
                        <a:t>Слабое/умеренное полное, </a:t>
                      </a:r>
                      <a:r>
                        <a:rPr lang="ru-RU" sz="1000" dirty="0" err="1">
                          <a:latin typeface="+mn-lt"/>
                        </a:rPr>
                        <a:t>базолатеральное</a:t>
                      </a:r>
                      <a:r>
                        <a:rPr lang="ru-RU" sz="1000" dirty="0">
                          <a:latin typeface="+mn-lt"/>
                        </a:rPr>
                        <a:t> или латеральное мембранное окрашивание </a:t>
                      </a:r>
                      <a:r>
                        <a:rPr lang="ru-RU" sz="1000" b="1" dirty="0">
                          <a:solidFill>
                            <a:schemeClr val="accent1"/>
                          </a:solidFill>
                          <a:latin typeface="+mn-lt"/>
                        </a:rPr>
                        <a:t>кластера опухолевых клеток</a:t>
                      </a:r>
                      <a:r>
                        <a:rPr lang="ru-RU" sz="1000" dirty="0">
                          <a:latin typeface="+mn-lt"/>
                        </a:rPr>
                        <a:t>*</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000" dirty="0">
                          <a:latin typeface="+mn-lt"/>
                        </a:rPr>
                        <a:t>Сомнительный, требуется подтверждение </a:t>
                      </a:r>
                      <a:r>
                        <a:rPr lang="en-US" sz="1000" dirty="0">
                          <a:latin typeface="+mn-lt"/>
                        </a:rPr>
                        <a:t>ISH</a:t>
                      </a:r>
                      <a:endParaRPr lang="ru-RU" sz="1000" dirty="0">
                        <a:latin typeface="+mn-lt"/>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606828671"/>
                  </a:ext>
                </a:extLst>
              </a:tr>
              <a:tr h="81153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ru-RU" sz="1000" dirty="0">
                        <a:latin typeface="+mn-lt"/>
                      </a:endParaRP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000" dirty="0">
                          <a:latin typeface="+mn-lt"/>
                        </a:rPr>
                        <a:t>3+</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latin typeface="+mn-lt"/>
                        </a:rPr>
                        <a:t>Выраженное полное, </a:t>
                      </a:r>
                      <a:r>
                        <a:rPr lang="ru-RU" sz="1000" dirty="0" err="1">
                          <a:latin typeface="+mn-lt"/>
                        </a:rPr>
                        <a:t>базолатеральное</a:t>
                      </a:r>
                      <a:r>
                        <a:rPr lang="ru-RU" sz="1000" dirty="0">
                          <a:latin typeface="+mn-lt"/>
                        </a:rPr>
                        <a:t> или латеральное мембранное окрашивание </a:t>
                      </a:r>
                      <a:r>
                        <a:rPr lang="ru-RU" sz="1000" b="1" dirty="0">
                          <a:solidFill>
                            <a:schemeClr val="accent1"/>
                          </a:solidFill>
                          <a:latin typeface="+mn-lt"/>
                        </a:rPr>
                        <a:t>≥10%</a:t>
                      </a:r>
                    </a:p>
                    <a:p>
                      <a:r>
                        <a:rPr lang="ru-RU" sz="1000" b="1" dirty="0">
                          <a:solidFill>
                            <a:schemeClr val="accent1"/>
                          </a:solidFill>
                          <a:latin typeface="+mn-lt"/>
                        </a:rPr>
                        <a:t>опухолевых клеток</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dirty="0">
                          <a:latin typeface="+mn-lt"/>
                        </a:rPr>
                        <a:t>Выраженное полное, </a:t>
                      </a:r>
                      <a:r>
                        <a:rPr lang="ru-RU" sz="1000" dirty="0" err="1">
                          <a:latin typeface="+mn-lt"/>
                        </a:rPr>
                        <a:t>базолатеральное</a:t>
                      </a:r>
                      <a:r>
                        <a:rPr lang="ru-RU" sz="1000" dirty="0">
                          <a:latin typeface="+mn-lt"/>
                        </a:rPr>
                        <a:t> или латеральное мембранное окрашивание </a:t>
                      </a:r>
                      <a:r>
                        <a:rPr lang="ru-RU" sz="1000" b="1" dirty="0">
                          <a:solidFill>
                            <a:schemeClr val="accent1"/>
                          </a:solidFill>
                          <a:latin typeface="+mn-lt"/>
                        </a:rPr>
                        <a:t>кластера опухолевых клеток</a:t>
                      </a:r>
                      <a:r>
                        <a:rPr lang="ru-RU" sz="1000" dirty="0">
                          <a:latin typeface="+mn-lt"/>
                        </a:rPr>
                        <a:t>*</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000" dirty="0">
                          <a:latin typeface="+mn-lt"/>
                        </a:rPr>
                        <a:t>Положительный</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40810931"/>
                  </a:ext>
                </a:extLst>
              </a:tr>
              <a:tr h="217170">
                <a:tc gridSpan="5">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ru-RU" sz="1000" dirty="0">
                          <a:latin typeface="+mn-lt"/>
                        </a:rPr>
                        <a:t>*кластер опухолевых клеток - 5 клеток опухоли, образующих кластер</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ru-RU" sz="1400" dirty="0"/>
                    </a:p>
                  </a:txBody>
                  <a:tcPr/>
                </a:tc>
                <a:tc hMerge="1">
                  <a:txBody>
                    <a:bodyPr/>
                    <a:lstStyle/>
                    <a:p>
                      <a:endParaRPr lang="ru-RU" sz="1400" dirty="0"/>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400" dirty="0"/>
                    </a:p>
                  </a:txBody>
                  <a:tcPr/>
                </a:tc>
                <a:tc hMerge="1">
                  <a:txBody>
                    <a:bodyPr/>
                    <a:lstStyle/>
                    <a:p>
                      <a:endParaRPr lang="ru-RU" sz="1400" dirty="0"/>
                    </a:p>
                  </a:txBody>
                  <a:tcPr/>
                </a:tc>
                <a:extLst>
                  <a:ext uri="{0D108BD9-81ED-4DB2-BD59-A6C34878D82A}">
                    <a16:rowId xmlns:a16="http://schemas.microsoft.com/office/drawing/2014/main" xmlns="" val="1123852042"/>
                  </a:ext>
                </a:extLst>
              </a:tr>
            </a:tbl>
          </a:graphicData>
        </a:graphic>
      </p:graphicFrame>
      <p:sp>
        <p:nvSpPr>
          <p:cNvPr id="2" name="Заголовок 1">
            <a:extLst>
              <a:ext uri="{FF2B5EF4-FFF2-40B4-BE49-F238E27FC236}">
                <a16:creationId xmlns:a16="http://schemas.microsoft.com/office/drawing/2014/main" xmlns="" id="{EED0A185-F696-29B2-D463-95D70A328BEE}"/>
              </a:ext>
            </a:extLst>
          </p:cNvPr>
          <p:cNvSpPr>
            <a:spLocks noGrp="1"/>
          </p:cNvSpPr>
          <p:nvPr>
            <p:ph type="title"/>
          </p:nvPr>
        </p:nvSpPr>
        <p:spPr>
          <a:xfrm>
            <a:off x="237062" y="144000"/>
            <a:ext cx="8765651" cy="832322"/>
          </a:xfrm>
        </p:spPr>
        <p:txBody>
          <a:bodyPr>
            <a:noAutofit/>
          </a:bodyPr>
          <a:lstStyle/>
          <a:p>
            <a:r>
              <a:rPr lang="ru-RU" sz="1800" dirty="0"/>
              <a:t>Иммуногистохимические критерии оценки HER2 </a:t>
            </a:r>
            <a:br>
              <a:rPr lang="ru-RU" sz="1800" dirty="0"/>
            </a:br>
            <a:r>
              <a:rPr lang="ru-RU" sz="1800" dirty="0"/>
              <a:t>при распространенном раке желудка и пищеводно-желудочного перехода</a:t>
            </a:r>
          </a:p>
        </p:txBody>
      </p:sp>
      <p:sp>
        <p:nvSpPr>
          <p:cNvPr id="4" name="Rectangle 4">
            <a:extLst>
              <a:ext uri="{FF2B5EF4-FFF2-40B4-BE49-F238E27FC236}">
                <a16:creationId xmlns:a16="http://schemas.microsoft.com/office/drawing/2014/main" xmlns="" id="{901FDDDE-11A5-43A5-CC4A-49C55FBAE18F}"/>
              </a:ext>
            </a:extLst>
          </p:cNvPr>
          <p:cNvSpPr>
            <a:spLocks noChangeArrowheads="1"/>
          </p:cNvSpPr>
          <p:nvPr/>
        </p:nvSpPr>
        <p:spPr bwMode="auto">
          <a:xfrm>
            <a:off x="237063" y="4907166"/>
            <a:ext cx="799253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762000" eaLnBrk="0" hangingPunct="0">
              <a:defRPr>
                <a:solidFill>
                  <a:schemeClr val="tx1"/>
                </a:solidFill>
                <a:latin typeface="Arial" panose="020B0604020202020204" pitchFamily="34" charset="0"/>
                <a:cs typeface="Arial" panose="020B0604020202020204" pitchFamily="34" charset="0"/>
              </a:defRPr>
            </a:lvl1pPr>
            <a:lvl2pPr marL="742950" indent="-285750" defTabSz="762000" eaLnBrk="0" hangingPunct="0">
              <a:defRPr>
                <a:solidFill>
                  <a:schemeClr val="tx1"/>
                </a:solidFill>
                <a:latin typeface="Arial" panose="020B0604020202020204" pitchFamily="34" charset="0"/>
                <a:cs typeface="Arial" panose="020B0604020202020204" pitchFamily="34" charset="0"/>
              </a:defRPr>
            </a:lvl2pPr>
            <a:lvl3pPr marL="1143000" indent="-228600" defTabSz="762000" eaLnBrk="0" hangingPunct="0">
              <a:defRPr>
                <a:solidFill>
                  <a:schemeClr val="tx1"/>
                </a:solidFill>
                <a:latin typeface="Arial" panose="020B0604020202020204" pitchFamily="34" charset="0"/>
                <a:cs typeface="Arial" panose="020B0604020202020204" pitchFamily="34" charset="0"/>
              </a:defRPr>
            </a:lvl3pPr>
            <a:lvl4pPr marL="1600200" indent="-228600" defTabSz="762000" eaLnBrk="0" hangingPunct="0">
              <a:defRPr>
                <a:solidFill>
                  <a:schemeClr val="tx1"/>
                </a:solidFill>
                <a:latin typeface="Arial" panose="020B0604020202020204" pitchFamily="34" charset="0"/>
                <a:cs typeface="Arial" panose="020B0604020202020204" pitchFamily="34" charset="0"/>
              </a:defRPr>
            </a:lvl4pPr>
            <a:lvl5pPr marL="2057400" indent="-228600" defTabSz="762000" eaLnBrk="0" hangingPunct="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r>
              <a:rPr lang="en-US" sz="600" dirty="0">
                <a:effectLst/>
                <a:ea typeface="Times New Roman" panose="02020603050405020304" pitchFamily="18" charset="0"/>
                <a:cs typeface="Century Gothic" panose="020B0502020202020204" pitchFamily="34" charset="0"/>
              </a:rPr>
              <a:t>Bang YJ, Van </a:t>
            </a:r>
            <a:r>
              <a:rPr lang="en-US" sz="600" dirty="0" err="1">
                <a:effectLst/>
                <a:ea typeface="Times New Roman" panose="02020603050405020304" pitchFamily="18" charset="0"/>
                <a:cs typeface="Century Gothic" panose="020B0502020202020204" pitchFamily="34" charset="0"/>
              </a:rPr>
              <a:t>Cutsem</a:t>
            </a:r>
            <a:r>
              <a:rPr lang="en-US" sz="600" dirty="0">
                <a:effectLst/>
                <a:ea typeface="Times New Roman" panose="02020603050405020304" pitchFamily="18" charset="0"/>
                <a:cs typeface="Century Gothic" panose="020B0502020202020204" pitchFamily="34" charset="0"/>
              </a:rPr>
              <a:t> E, </a:t>
            </a:r>
            <a:r>
              <a:rPr lang="en-US" sz="600" dirty="0" err="1">
                <a:effectLst/>
                <a:ea typeface="Times New Roman" panose="02020603050405020304" pitchFamily="18" charset="0"/>
                <a:cs typeface="Century Gothic" panose="020B0502020202020204" pitchFamily="34" charset="0"/>
              </a:rPr>
              <a:t>Feyereislova</a:t>
            </a:r>
            <a:r>
              <a:rPr lang="en-US" sz="600" dirty="0">
                <a:effectLst/>
                <a:ea typeface="Times New Roman" panose="02020603050405020304" pitchFamily="18" charset="0"/>
                <a:cs typeface="Century Gothic" panose="020B0502020202020204" pitchFamily="34" charset="0"/>
              </a:rPr>
              <a:t> A, et al. </a:t>
            </a:r>
            <a:r>
              <a:rPr lang="en-US" sz="600" i="1" dirty="0">
                <a:effectLst/>
                <a:ea typeface="Times New Roman" panose="02020603050405020304" pitchFamily="18" charset="0"/>
                <a:cs typeface="Century Gothic" panose="020B0502020202020204" pitchFamily="34" charset="0"/>
              </a:rPr>
              <a:t>Lancet</a:t>
            </a:r>
            <a:r>
              <a:rPr lang="en-US" sz="600" dirty="0">
                <a:effectLst/>
                <a:ea typeface="Times New Roman" panose="02020603050405020304" pitchFamily="18" charset="0"/>
                <a:cs typeface="Century Gothic" panose="020B0502020202020204" pitchFamily="34" charset="0"/>
              </a:rPr>
              <a:t>. 2010;376(9742):687-697.</a:t>
            </a:r>
            <a:endParaRPr lang="ru-RU" sz="600" dirty="0">
              <a:effectLst/>
              <a:latin typeface="Century Gothic" panose="020B0502020202020204" pitchFamily="34" charset="0"/>
              <a:ea typeface="Times New Roman" panose="02020603050405020304" pitchFamily="18" charset="0"/>
              <a:cs typeface="Century Gothic" panose="020B0502020202020204" pitchFamily="34" charset="0"/>
            </a:endParaRPr>
          </a:p>
        </p:txBody>
      </p:sp>
      <p:grpSp>
        <p:nvGrpSpPr>
          <p:cNvPr id="6" name="Группа 5">
            <a:extLst>
              <a:ext uri="{FF2B5EF4-FFF2-40B4-BE49-F238E27FC236}">
                <a16:creationId xmlns:a16="http://schemas.microsoft.com/office/drawing/2014/main" xmlns="" id="{80E4C4F5-2609-0287-8F23-C5CECFB7B503}"/>
              </a:ext>
            </a:extLst>
          </p:cNvPr>
          <p:cNvGrpSpPr/>
          <p:nvPr/>
        </p:nvGrpSpPr>
        <p:grpSpPr>
          <a:xfrm>
            <a:off x="496730" y="1332594"/>
            <a:ext cx="1350000" cy="2975549"/>
            <a:chOff x="766580" y="1999617"/>
            <a:chExt cx="1800000" cy="3967398"/>
          </a:xfrm>
        </p:grpSpPr>
        <p:pic>
          <p:nvPicPr>
            <p:cNvPr id="7" name="Picture 4">
              <a:extLst>
                <a:ext uri="{FF2B5EF4-FFF2-40B4-BE49-F238E27FC236}">
                  <a16:creationId xmlns:a16="http://schemas.microsoft.com/office/drawing/2014/main" xmlns="" id="{A00897D7-0FB6-0A54-AA32-AC8D6783C0F0}"/>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b="39742"/>
            <a:stretch/>
          </p:blipFill>
          <p:spPr bwMode="auto">
            <a:xfrm>
              <a:off x="766580" y="1999617"/>
              <a:ext cx="1800000" cy="81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xmlns="" id="{A05D6114-5B12-E67B-AEB7-8363A384EB78}"/>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b="39742"/>
            <a:stretch/>
          </p:blipFill>
          <p:spPr bwMode="auto">
            <a:xfrm>
              <a:off x="766580" y="3021517"/>
              <a:ext cx="1800000" cy="813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a:extLst>
                <a:ext uri="{FF2B5EF4-FFF2-40B4-BE49-F238E27FC236}">
                  <a16:creationId xmlns:a16="http://schemas.microsoft.com/office/drawing/2014/main" xmlns="" id="{8DA132F3-9904-BEBF-7C1A-4EFDA07FE36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39742"/>
            <a:stretch/>
          </p:blipFill>
          <p:spPr bwMode="auto">
            <a:xfrm>
              <a:off x="766580" y="4105876"/>
              <a:ext cx="1800000" cy="813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a:extLst>
                <a:ext uri="{FF2B5EF4-FFF2-40B4-BE49-F238E27FC236}">
                  <a16:creationId xmlns:a16="http://schemas.microsoft.com/office/drawing/2014/main" xmlns="" id="{F28E2D58-A620-ADD3-AABC-83D85EDF5EF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39742"/>
            <a:stretch/>
          </p:blipFill>
          <p:spPr bwMode="auto">
            <a:xfrm>
              <a:off x="766580" y="5153536"/>
              <a:ext cx="1800000" cy="81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886891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916CCCA-6C19-655C-E144-4C0E753273F0}"/>
              </a:ext>
            </a:extLst>
          </p:cNvPr>
          <p:cNvSpPr>
            <a:spLocks noGrp="1"/>
          </p:cNvSpPr>
          <p:nvPr>
            <p:ph type="title"/>
          </p:nvPr>
        </p:nvSpPr>
        <p:spPr/>
        <p:txBody>
          <a:bodyPr>
            <a:normAutofit fontScale="90000"/>
          </a:bodyPr>
          <a:lstStyle/>
          <a:p>
            <a:r>
              <a:rPr lang="ru-RU" dirty="0"/>
              <a:t>Различия Her2 тестирования рака желудка и рака молочной железы: критерии позитивного статуса</a:t>
            </a:r>
          </a:p>
        </p:txBody>
      </p:sp>
      <p:sp>
        <p:nvSpPr>
          <p:cNvPr id="3" name="TextBox 2">
            <a:extLst>
              <a:ext uri="{FF2B5EF4-FFF2-40B4-BE49-F238E27FC236}">
                <a16:creationId xmlns:a16="http://schemas.microsoft.com/office/drawing/2014/main" xmlns="" id="{A3922DC3-5CB3-DA33-4EAF-627443C75EDF}"/>
              </a:ext>
            </a:extLst>
          </p:cNvPr>
          <p:cNvSpPr txBox="1"/>
          <p:nvPr/>
        </p:nvSpPr>
        <p:spPr>
          <a:xfrm>
            <a:off x="41107" y="4772596"/>
            <a:ext cx="8287109" cy="369332"/>
          </a:xfrm>
          <a:prstGeom prst="rect">
            <a:avLst/>
          </a:prstGeom>
          <a:noFill/>
        </p:spPr>
        <p:txBody>
          <a:bodyPr wrap="square">
            <a:spAutoFit/>
          </a:bodyPr>
          <a:lstStyle/>
          <a:p>
            <a:r>
              <a:rPr lang="ru-RU" sz="600" dirty="0"/>
              <a:t>1. </a:t>
            </a:r>
            <a:r>
              <a:rPr lang="en-US" sz="600" dirty="0"/>
              <a:t>Bartley AN, Washington MK, Colasacco C, et al. HER2 Testing and Clinical Decision Making in Gastroesophageal Adenocarcinoma: Guideline From the College of American Pathologists, American Society for Clinical Pathology, and the American Society of Clinical Oncology. </a:t>
            </a:r>
            <a:r>
              <a:rPr lang="en-US" sz="600" i="1" dirty="0"/>
              <a:t>J Clin Oncol</a:t>
            </a:r>
            <a:r>
              <a:rPr lang="en-US" sz="600" dirty="0"/>
              <a:t>. 2017;35(4):446-464. doi:10.1200/JCO.2016.69.4836</a:t>
            </a:r>
            <a:r>
              <a:rPr lang="ru-RU" sz="600" dirty="0"/>
              <a:t>, 2. </a:t>
            </a:r>
            <a:r>
              <a:rPr lang="en-US" sz="600" dirty="0" err="1"/>
              <a:t>Farshid</a:t>
            </a:r>
            <a:r>
              <a:rPr lang="en-US" sz="600" dirty="0"/>
              <a:t> G, </a:t>
            </a:r>
            <a:r>
              <a:rPr lang="en-US" sz="600" dirty="0" err="1"/>
              <a:t>Bilous</a:t>
            </a:r>
            <a:r>
              <a:rPr lang="en-US" sz="600" dirty="0"/>
              <a:t> M, Morey A, et al. ASCO/CAP 2018 breast cancer HER2 testing guidelines: summary of pertinent recommendations for practice in Australia. </a:t>
            </a:r>
            <a:r>
              <a:rPr lang="en-US" sz="600" i="1" dirty="0"/>
              <a:t>Pathology</a:t>
            </a:r>
            <a:r>
              <a:rPr lang="en-US" sz="600" dirty="0"/>
              <a:t>. 2019;51(4):345-348. doi:10.1016/j.pathol.2019.02.004</a:t>
            </a:r>
          </a:p>
        </p:txBody>
      </p:sp>
      <p:graphicFrame>
        <p:nvGraphicFramePr>
          <p:cNvPr id="4" name="Таблица 2">
            <a:extLst>
              <a:ext uri="{FF2B5EF4-FFF2-40B4-BE49-F238E27FC236}">
                <a16:creationId xmlns:a16="http://schemas.microsoft.com/office/drawing/2014/main" xmlns="" id="{DE89179C-4E8E-A201-C296-F5392D66A3EF}"/>
              </a:ext>
            </a:extLst>
          </p:cNvPr>
          <p:cNvGraphicFramePr>
            <a:graphicFrameLocks/>
          </p:cNvGraphicFramePr>
          <p:nvPr/>
        </p:nvGraphicFramePr>
        <p:xfrm>
          <a:off x="466927" y="968771"/>
          <a:ext cx="8287109" cy="3703320"/>
        </p:xfrm>
        <a:graphic>
          <a:graphicData uri="http://schemas.openxmlformats.org/drawingml/2006/table">
            <a:tbl>
              <a:tblPr firstRow="1" bandRow="1"/>
              <a:tblGrid>
                <a:gridCol w="1626185">
                  <a:extLst>
                    <a:ext uri="{9D8B030D-6E8A-4147-A177-3AD203B41FA5}">
                      <a16:colId xmlns:a16="http://schemas.microsoft.com/office/drawing/2014/main" xmlns="" val="1674458615"/>
                    </a:ext>
                  </a:extLst>
                </a:gridCol>
                <a:gridCol w="3330462">
                  <a:extLst>
                    <a:ext uri="{9D8B030D-6E8A-4147-A177-3AD203B41FA5}">
                      <a16:colId xmlns:a16="http://schemas.microsoft.com/office/drawing/2014/main" xmlns="" val="1086956637"/>
                    </a:ext>
                  </a:extLst>
                </a:gridCol>
                <a:gridCol w="3330462">
                  <a:extLst>
                    <a:ext uri="{9D8B030D-6E8A-4147-A177-3AD203B41FA5}">
                      <a16:colId xmlns:a16="http://schemas.microsoft.com/office/drawing/2014/main" xmlns="" val="3646626665"/>
                    </a:ext>
                  </a:extLst>
                </a:gridCol>
              </a:tblGrid>
              <a:tr h="22860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endParaRPr lang="ru-RU" sz="1100" dirty="0">
                        <a:solidFill>
                          <a:schemeClr val="bg1"/>
                        </a:solidFill>
                        <a:latin typeface="+mn-lt"/>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100" b="1" dirty="0">
                          <a:solidFill>
                            <a:schemeClr val="bg1"/>
                          </a:solidFill>
                          <a:latin typeface="+mn-lt"/>
                        </a:rPr>
                        <a:t>Рак желудка</a:t>
                      </a:r>
                    </a:p>
                  </a:txBody>
                  <a:tcPr marL="68580" marR="68580"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100" b="1" dirty="0">
                          <a:solidFill>
                            <a:schemeClr val="bg1"/>
                          </a:solidFill>
                          <a:latin typeface="+mn-lt"/>
                        </a:rPr>
                        <a:t>Рак молочной железы</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xmlns="" val="2473127981"/>
                  </a:ext>
                </a:extLst>
              </a:tr>
              <a:tr h="228600">
                <a:tc grid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100" dirty="0">
                          <a:latin typeface="+mn-lt"/>
                        </a:rPr>
                        <a:t>ИГХ окрашивание</a:t>
                      </a:r>
                    </a:p>
                  </a:txBody>
                  <a:tcPr marL="68580" marR="68580" marT="34290" marB="34290" anchor="ctr">
                    <a:lnL w="12700" cmpd="sng">
                      <a:noFill/>
                    </a:lnL>
                    <a:lnR w="12700" cmpd="sng">
                      <a:noFill/>
                    </a:lnR>
                    <a:lnT w="12700" cmpd="sng">
                      <a:noFill/>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hMerge="1">
                  <a:txBody>
                    <a:bodyPr/>
                    <a:lstStyle/>
                    <a:p>
                      <a:endParaRPr lang="ru-RU"/>
                    </a:p>
                  </a:txBody>
                  <a:tcPr/>
                </a:tc>
                <a:tc hMerge="1">
                  <a:txBody>
                    <a:bodyPr/>
                    <a:lstStyle/>
                    <a:p>
                      <a:endParaRPr lang="ru-RU" dirty="0"/>
                    </a:p>
                  </a:txBody>
                  <a:tcPr/>
                </a:tc>
                <a:extLst>
                  <a:ext uri="{0D108BD9-81ED-4DB2-BD59-A6C34878D82A}">
                    <a16:rowId xmlns:a16="http://schemas.microsoft.com/office/drawing/2014/main" xmlns="" val="1909996945"/>
                  </a:ext>
                </a:extLst>
              </a:tr>
              <a:tr h="38862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Пороговое значение</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Биопсийный материал: ≥5 клеток</a:t>
                      </a:r>
                    </a:p>
                    <a:p>
                      <a:r>
                        <a:rPr lang="ru-RU" sz="1100" dirty="0">
                          <a:latin typeface="+mn-lt"/>
                        </a:rPr>
                        <a:t>Операционный материал: ≥10%</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Биопсийный материал: ≥10%</a:t>
                      </a:r>
                    </a:p>
                    <a:p>
                      <a:r>
                        <a:rPr lang="ru-RU" sz="1100" dirty="0">
                          <a:latin typeface="+mn-lt"/>
                        </a:rPr>
                        <a:t>Операционный материал: ≥10%</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72436876"/>
                  </a:ext>
                </a:extLst>
              </a:tr>
              <a:tr h="38862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Характер окрашивания</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Полное, латеральное, базолатеральное окрашивание</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Полное окрашивание</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61582404"/>
                  </a:ext>
                </a:extLst>
              </a:tr>
              <a:tr h="228600">
                <a:tc grid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ru-RU" sz="1100" dirty="0">
                          <a:latin typeface="+mn-lt"/>
                        </a:rPr>
                        <a:t>Позитивный </a:t>
                      </a:r>
                      <a:r>
                        <a:rPr lang="en-US" sz="1100" dirty="0">
                          <a:latin typeface="+mn-lt"/>
                        </a:rPr>
                        <a:t>HER2-</a:t>
                      </a:r>
                      <a:r>
                        <a:rPr lang="ru-RU" sz="1100" dirty="0">
                          <a:latin typeface="+mn-lt"/>
                        </a:rPr>
                        <a:t>статус</a:t>
                      </a:r>
                    </a:p>
                  </a:txBody>
                  <a:tcPr marL="68580" marR="68580" marT="34290" marB="3429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hMerge="1">
                  <a:txBody>
                    <a:bodyPr/>
                    <a:lstStyle/>
                    <a:p>
                      <a:endParaRPr lang="ru-RU"/>
                    </a:p>
                  </a:txBody>
                  <a:tcPr/>
                </a:tc>
                <a:tc hMerge="1">
                  <a:txBody>
                    <a:bodyPr/>
                    <a:lstStyle/>
                    <a:p>
                      <a:endParaRPr lang="ru-RU" dirty="0"/>
                    </a:p>
                  </a:txBody>
                  <a:tcPr/>
                </a:tc>
                <a:extLst>
                  <a:ext uri="{0D108BD9-81ED-4DB2-BD59-A6C34878D82A}">
                    <a16:rowId xmlns:a16="http://schemas.microsoft.com/office/drawing/2014/main" xmlns="" val="1638832810"/>
                  </a:ext>
                </a:extLst>
              </a:tr>
              <a:tr h="7086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Тип опухоли</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Гастроинтестинального типа – до 30%</a:t>
                      </a:r>
                    </a:p>
                    <a:p>
                      <a:r>
                        <a:rPr lang="ru-RU" sz="1100" dirty="0">
                          <a:latin typeface="+mn-lt"/>
                        </a:rPr>
                        <a:t>Смешанного типа – до 15%</a:t>
                      </a:r>
                    </a:p>
                    <a:p>
                      <a:r>
                        <a:rPr lang="ru-RU" sz="1100" dirty="0">
                          <a:latin typeface="+mn-lt"/>
                        </a:rPr>
                        <a:t>Диффузного типа – до 5% (перстневидные клетки в основном </a:t>
                      </a:r>
                      <a:r>
                        <a:rPr lang="en-US" sz="1100" dirty="0">
                          <a:latin typeface="+mn-lt"/>
                        </a:rPr>
                        <a:t>HER2-</a:t>
                      </a:r>
                      <a:r>
                        <a:rPr lang="ru-RU" sz="1100" dirty="0">
                          <a:latin typeface="+mn-lt"/>
                        </a:rPr>
                        <a:t>негативные)</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Протоковый рак </a:t>
                      </a:r>
                      <a:r>
                        <a:rPr lang="en-US" sz="1100" dirty="0">
                          <a:latin typeface="+mn-lt"/>
                        </a:rPr>
                        <a:t>G2, G3 – </a:t>
                      </a:r>
                      <a:r>
                        <a:rPr lang="ru-RU" sz="1100" dirty="0">
                          <a:latin typeface="+mn-lt"/>
                        </a:rPr>
                        <a:t>до 20%</a:t>
                      </a:r>
                    </a:p>
                    <a:p>
                      <a:r>
                        <a:rPr lang="ru-RU" sz="1100" dirty="0">
                          <a:latin typeface="+mn-lt"/>
                        </a:rPr>
                        <a:t>Рак специфического типа или </a:t>
                      </a:r>
                      <a:r>
                        <a:rPr lang="ru-RU" sz="1100" dirty="0" err="1">
                          <a:latin typeface="+mn-lt"/>
                        </a:rPr>
                        <a:t>протоковый</a:t>
                      </a:r>
                      <a:r>
                        <a:rPr lang="ru-RU" sz="1100" dirty="0">
                          <a:latin typeface="+mn-lt"/>
                        </a:rPr>
                        <a:t> </a:t>
                      </a:r>
                      <a:br>
                        <a:rPr lang="ru-RU" sz="1100" dirty="0">
                          <a:latin typeface="+mn-lt"/>
                        </a:rPr>
                      </a:br>
                      <a:r>
                        <a:rPr lang="ru-RU" sz="1100" dirty="0">
                          <a:latin typeface="+mn-lt"/>
                        </a:rPr>
                        <a:t>рак </a:t>
                      </a:r>
                      <a:r>
                        <a:rPr lang="en-US" sz="1100" dirty="0">
                          <a:latin typeface="+mn-lt"/>
                        </a:rPr>
                        <a:t>G1 – </a:t>
                      </a:r>
                      <a:r>
                        <a:rPr lang="ru-RU" sz="1100" dirty="0">
                          <a:latin typeface="+mn-lt"/>
                        </a:rPr>
                        <a:t>редко или практически никогда</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611544"/>
                  </a:ext>
                </a:extLst>
              </a:tr>
              <a:tr h="43976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Расположение опухоли</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Гастроэзофагеальный переход, кардия – до 30%</a:t>
                      </a:r>
                    </a:p>
                    <a:p>
                      <a:r>
                        <a:rPr lang="ru-RU" sz="1100" dirty="0">
                          <a:latin typeface="+mn-lt"/>
                        </a:rPr>
                        <a:t>Антральный отдел – до 15%</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Нет связи</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789316627"/>
                  </a:ext>
                </a:extLst>
              </a:tr>
              <a:tr h="228600">
                <a:tc gridSpan="3">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dirty="0">
                          <a:latin typeface="+mn-lt"/>
                        </a:rPr>
                        <a:t>Метод тестирования для выбора пациентов</a:t>
                      </a:r>
                    </a:p>
                  </a:txBody>
                  <a:tcPr marL="68580" marR="68580" marT="34290" marB="34290" anchor="ctr">
                    <a:lnL w="12700" cmpd="sng">
                      <a:noFill/>
                    </a:lnL>
                    <a:lnR w="12700" cmpd="sng">
                      <a:noFill/>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4472C4">
                        <a:lumMod val="20000"/>
                        <a:lumOff val="80000"/>
                      </a:srgbClr>
                    </a:solidFill>
                  </a:tcPr>
                </a:tc>
                <a:tc hMerge="1">
                  <a:txBody>
                    <a:bodyPr/>
                    <a:lstStyle/>
                    <a:p>
                      <a:endParaRPr lang="ru-RU"/>
                    </a:p>
                  </a:txBody>
                  <a:tcPr/>
                </a:tc>
                <a:tc hMerge="1">
                  <a:txBody>
                    <a:bodyPr/>
                    <a:lstStyle/>
                    <a:p>
                      <a:endParaRPr lang="ru-RU" dirty="0"/>
                    </a:p>
                  </a:txBody>
                  <a:tcPr/>
                </a:tc>
                <a:extLst>
                  <a:ext uri="{0D108BD9-81ED-4DB2-BD59-A6C34878D82A}">
                    <a16:rowId xmlns:a16="http://schemas.microsoft.com/office/drawing/2014/main" xmlns="" val="4072477496"/>
                  </a:ext>
                </a:extLst>
              </a:tr>
              <a:tr h="388620">
                <a:tc row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ИГХ или </a:t>
                      </a:r>
                      <a:r>
                        <a:rPr lang="en-US" sz="1100" dirty="0">
                          <a:latin typeface="+mn-lt"/>
                        </a:rPr>
                        <a:t>FISH</a:t>
                      </a:r>
                      <a:endParaRPr lang="ru-RU" sz="1100" dirty="0">
                        <a:latin typeface="+mn-lt"/>
                      </a:endParaRP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Первичный тест – ИГХ</a:t>
                      </a:r>
                    </a:p>
                    <a:p>
                      <a:r>
                        <a:rPr lang="ru-RU" sz="1100" dirty="0">
                          <a:latin typeface="+mn-lt"/>
                        </a:rPr>
                        <a:t>При значении ИГХ 2+ - </a:t>
                      </a:r>
                      <a:r>
                        <a:rPr lang="en-US" sz="1100" dirty="0">
                          <a:latin typeface="+mn-lt"/>
                        </a:rPr>
                        <a:t>FISH</a:t>
                      </a:r>
                      <a:endParaRPr lang="ru-RU" sz="1100" dirty="0">
                        <a:latin typeface="+mn-lt"/>
                      </a:endParaRP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ru-RU" sz="1100" dirty="0">
                          <a:latin typeface="+mn-lt"/>
                        </a:rPr>
                        <a:t>ИГХ и </a:t>
                      </a:r>
                      <a:r>
                        <a:rPr lang="en-US" sz="1100" dirty="0">
                          <a:latin typeface="+mn-lt"/>
                        </a:rPr>
                        <a:t>FISH </a:t>
                      </a:r>
                      <a:r>
                        <a:rPr lang="ru-RU" sz="1100" dirty="0">
                          <a:latin typeface="+mn-lt"/>
                        </a:rPr>
                        <a:t>- равнозначны</a:t>
                      </a:r>
                    </a:p>
                  </a:txBody>
                  <a:tcPr marL="68580" marR="68580" marT="34290" marB="34290">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155071132"/>
                  </a:ext>
                </a:extLst>
              </a:tr>
              <a:tr h="228600">
                <a:tc vMerge="1">
                  <a:txBody>
                    <a:bodyPr/>
                    <a:lstStyle/>
                    <a:p>
                      <a:endParaRPr lang="ru-RU" dirty="0"/>
                    </a:p>
                  </a:txBody>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100" dirty="0">
                          <a:latin typeface="+mn-lt"/>
                        </a:rPr>
                        <a:t>FISH</a:t>
                      </a:r>
                      <a:r>
                        <a:rPr lang="ru-RU" sz="1100" dirty="0">
                          <a:latin typeface="+mn-lt"/>
                        </a:rPr>
                        <a:t> считается позитивным при соотношении ≥2</a:t>
                      </a:r>
                      <a:r>
                        <a:rPr lang="en-US" sz="1100" dirty="0">
                          <a:latin typeface="+mn-lt"/>
                        </a:rPr>
                        <a:t>,</a:t>
                      </a:r>
                      <a:r>
                        <a:rPr lang="ru-RU" sz="1100" dirty="0">
                          <a:latin typeface="+mn-lt"/>
                        </a:rPr>
                        <a:t>0</a:t>
                      </a:r>
                    </a:p>
                  </a:txBody>
                  <a:tcPr marL="68580" marR="68580" marT="34290" marB="3429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dirty="0"/>
                    </a:p>
                  </a:txBody>
                  <a:tcPr/>
                </a:tc>
                <a:extLst>
                  <a:ext uri="{0D108BD9-81ED-4DB2-BD59-A6C34878D82A}">
                    <a16:rowId xmlns:a16="http://schemas.microsoft.com/office/drawing/2014/main" xmlns="" val="530530946"/>
                  </a:ext>
                </a:extLst>
              </a:tr>
            </a:tbl>
          </a:graphicData>
        </a:graphic>
      </p:graphicFrame>
      <p:sp>
        <p:nvSpPr>
          <p:cNvPr id="6" name="TextBox 5">
            <a:extLst>
              <a:ext uri="{FF2B5EF4-FFF2-40B4-BE49-F238E27FC236}">
                <a16:creationId xmlns:a16="http://schemas.microsoft.com/office/drawing/2014/main" xmlns="" id="{CA7EA854-970D-54FF-8A37-78D8B3DFBE95}"/>
              </a:ext>
            </a:extLst>
          </p:cNvPr>
          <p:cNvSpPr txBox="1"/>
          <p:nvPr/>
        </p:nvSpPr>
        <p:spPr>
          <a:xfrm>
            <a:off x="47887" y="4575061"/>
            <a:ext cx="4572000" cy="215444"/>
          </a:xfrm>
          <a:prstGeom prst="rect">
            <a:avLst/>
          </a:prstGeom>
          <a:noFill/>
        </p:spPr>
        <p:txBody>
          <a:bodyPr wrap="square">
            <a:spAutoFit/>
          </a:bodyPr>
          <a:lstStyle/>
          <a:p>
            <a:r>
              <a:rPr lang="ru-RU" sz="800" dirty="0"/>
              <a:t>ИГХ – иммуногистохимия, </a:t>
            </a:r>
            <a:r>
              <a:rPr lang="en-US" sz="800" dirty="0"/>
              <a:t>FISH — </a:t>
            </a:r>
            <a:r>
              <a:rPr lang="ru-RU" sz="800" dirty="0"/>
              <a:t>флюоресцентная гибридизация </a:t>
            </a:r>
            <a:r>
              <a:rPr lang="en-US" sz="800" dirty="0"/>
              <a:t>in situ</a:t>
            </a:r>
          </a:p>
        </p:txBody>
      </p:sp>
    </p:spTree>
    <p:extLst>
      <p:ext uri="{BB962C8B-B14F-4D97-AF65-F5344CB8AC3E}">
        <p14:creationId xmlns:p14="http://schemas.microsoft.com/office/powerpoint/2010/main" val="15324026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EC73FE47-822D-09A6-2C96-C11623778310}"/>
              </a:ext>
            </a:extLst>
          </p:cNvPr>
          <p:cNvSpPr>
            <a:spLocks noGrp="1"/>
          </p:cNvSpPr>
          <p:nvPr>
            <p:ph type="title"/>
          </p:nvPr>
        </p:nvSpPr>
        <p:spPr/>
        <p:txBody>
          <a:bodyPr/>
          <a:lstStyle/>
          <a:p>
            <a:r>
              <a:rPr lang="ru-RU" dirty="0"/>
              <a:t>Оценка </a:t>
            </a:r>
            <a:r>
              <a:rPr lang="en-US" dirty="0"/>
              <a:t>ISH</a:t>
            </a:r>
            <a:r>
              <a:rPr lang="ru-RU" dirty="0"/>
              <a:t> при раке желудка</a:t>
            </a:r>
          </a:p>
        </p:txBody>
      </p:sp>
      <p:sp>
        <p:nvSpPr>
          <p:cNvPr id="4" name="Текст 3">
            <a:extLst>
              <a:ext uri="{FF2B5EF4-FFF2-40B4-BE49-F238E27FC236}">
                <a16:creationId xmlns:a16="http://schemas.microsoft.com/office/drawing/2014/main" xmlns="" id="{9EE4A98F-4D4B-6340-3C8C-C6EE508FF53B}"/>
              </a:ext>
            </a:extLst>
          </p:cNvPr>
          <p:cNvSpPr txBox="1">
            <a:spLocks/>
          </p:cNvSpPr>
          <p:nvPr/>
        </p:nvSpPr>
        <p:spPr>
          <a:xfrm>
            <a:off x="237062" y="4543918"/>
            <a:ext cx="7886700" cy="504000"/>
          </a:xfrm>
          <a:prstGeom prst="rect">
            <a:avLst/>
          </a:prstGeom>
        </p:spPr>
        <p:txBody>
          <a:bodyPr vert="horz" lIns="68580" tIns="34290" rIns="68580" bIns="34290" rtlCol="0" anchor="b">
            <a:noAutofit/>
          </a:bodyPr>
          <a:lstStyle>
            <a:defPPr>
              <a:defRPr lang="ru-RU"/>
            </a:defPPr>
            <a:lvl1pPr marL="0" indent="0" algn="l" defTabSz="914400" rtl="0" eaLnBrk="1" latinLnBrk="0" hangingPunct="1">
              <a:lnSpc>
                <a:spcPct val="90000"/>
              </a:lnSpc>
              <a:spcBef>
                <a:spcPts val="1000"/>
              </a:spcBef>
              <a:buFont typeface="Arial" panose="020B0604020202020204" pitchFamily="34" charset="0"/>
              <a:buNone/>
              <a:defRPr sz="1800" i="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286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0"/>
              </a:spcBef>
              <a:defRPr/>
            </a:pPr>
            <a:r>
              <a:rPr lang="ru-RU" sz="700" i="0" dirty="0">
                <a:solidFill>
                  <a:srgbClr val="000000"/>
                </a:solidFill>
                <a:latin typeface="Arial" panose="020B0604020202020204"/>
                <a:cs typeface="Calibri" panose="020F0502020204030204" pitchFamily="34" charset="0"/>
              </a:rPr>
              <a:t>1. </a:t>
            </a:r>
            <a:r>
              <a:rPr lang="en-US" sz="700" i="0" dirty="0">
                <a:solidFill>
                  <a:srgbClr val="000000"/>
                </a:solidFill>
                <a:latin typeface="Arial" panose="020B0604020202020204"/>
                <a:cs typeface="Calibri" panose="020F0502020204030204" pitchFamily="34" charset="0"/>
              </a:rPr>
              <a:t>Bartley AN, Washington MK, </a:t>
            </a:r>
            <a:r>
              <a:rPr lang="en-US" sz="700" i="0" dirty="0" err="1">
                <a:solidFill>
                  <a:srgbClr val="000000"/>
                </a:solidFill>
                <a:latin typeface="Arial" panose="020B0604020202020204"/>
                <a:cs typeface="Calibri" panose="020F0502020204030204" pitchFamily="34" charset="0"/>
              </a:rPr>
              <a:t>Colasacco</a:t>
            </a:r>
            <a:r>
              <a:rPr lang="en-US" sz="700" i="0" dirty="0">
                <a:solidFill>
                  <a:srgbClr val="000000"/>
                </a:solidFill>
                <a:latin typeface="Arial" panose="020B0604020202020204"/>
                <a:cs typeface="Calibri" panose="020F0502020204030204" pitchFamily="34" charset="0"/>
              </a:rPr>
              <a:t> C, et al. HER2 Testing and Clinical Decision Making in Gastroesophageal Adenocarcinoma: </a:t>
            </a:r>
            <a:endParaRPr lang="ru-RU" sz="700" i="0" dirty="0">
              <a:solidFill>
                <a:srgbClr val="000000"/>
              </a:solidFill>
              <a:latin typeface="Arial" panose="020B0604020202020204"/>
              <a:cs typeface="Calibri" panose="020F0502020204030204" pitchFamily="34" charset="0"/>
            </a:endParaRPr>
          </a:p>
          <a:p>
            <a:pPr defTabSz="685800">
              <a:lnSpc>
                <a:spcPct val="100000"/>
              </a:lnSpc>
              <a:spcBef>
                <a:spcPts val="0"/>
              </a:spcBef>
              <a:defRPr/>
            </a:pPr>
            <a:r>
              <a:rPr lang="en-US" sz="700" i="0" dirty="0">
                <a:solidFill>
                  <a:srgbClr val="000000"/>
                </a:solidFill>
                <a:latin typeface="Arial" panose="020B0604020202020204"/>
                <a:cs typeface="Calibri" panose="020F0502020204030204" pitchFamily="34" charset="0"/>
              </a:rPr>
              <a:t>Guideline From the College of American Pathologists, American Society for Clinical Pathology, and the American Society of Clinical Oncology. </a:t>
            </a:r>
            <a:endParaRPr lang="ru-RU" sz="700" i="0" dirty="0">
              <a:solidFill>
                <a:srgbClr val="000000"/>
              </a:solidFill>
              <a:latin typeface="Arial" panose="020B0604020202020204"/>
              <a:cs typeface="Calibri" panose="020F0502020204030204" pitchFamily="34" charset="0"/>
            </a:endParaRPr>
          </a:p>
          <a:p>
            <a:pPr defTabSz="685800">
              <a:lnSpc>
                <a:spcPct val="100000"/>
              </a:lnSpc>
              <a:spcBef>
                <a:spcPts val="0"/>
              </a:spcBef>
              <a:defRPr/>
            </a:pPr>
            <a:r>
              <a:rPr lang="en-US" sz="700" i="0" dirty="0">
                <a:solidFill>
                  <a:srgbClr val="000000"/>
                </a:solidFill>
                <a:latin typeface="Arial" panose="020B0604020202020204"/>
                <a:cs typeface="Calibri" panose="020F0502020204030204" pitchFamily="34" charset="0"/>
              </a:rPr>
              <a:t>J Clin Oncol. 2017;35(4):446-464. doi:10.1200/JCO.2016.69.4836</a:t>
            </a:r>
            <a:endParaRPr lang="ru-RU" altLang="ko-KR" sz="800" dirty="0">
              <a:solidFill>
                <a:srgbClr val="000000"/>
              </a:solidFill>
              <a:latin typeface="Arial" panose="020B0604020202020204"/>
              <a:ea typeface="Arial Unicode MS" pitchFamily="34" charset="-128"/>
            </a:endParaRPr>
          </a:p>
        </p:txBody>
      </p:sp>
      <p:grpSp>
        <p:nvGrpSpPr>
          <p:cNvPr id="5" name="Группа 4">
            <a:extLst>
              <a:ext uri="{FF2B5EF4-FFF2-40B4-BE49-F238E27FC236}">
                <a16:creationId xmlns:a16="http://schemas.microsoft.com/office/drawing/2014/main" xmlns="" id="{1055E528-F205-3533-E7F0-4861EFF28197}"/>
              </a:ext>
            </a:extLst>
          </p:cNvPr>
          <p:cNvGrpSpPr/>
          <p:nvPr/>
        </p:nvGrpSpPr>
        <p:grpSpPr>
          <a:xfrm>
            <a:off x="1068156" y="1065712"/>
            <a:ext cx="7208509" cy="3254075"/>
            <a:chOff x="350485" y="854679"/>
            <a:chExt cx="5853933" cy="4619447"/>
          </a:xfrm>
        </p:grpSpPr>
        <p:graphicFrame>
          <p:nvGraphicFramePr>
            <p:cNvPr id="6" name="Схема 5">
              <a:extLst>
                <a:ext uri="{FF2B5EF4-FFF2-40B4-BE49-F238E27FC236}">
                  <a16:creationId xmlns:a16="http://schemas.microsoft.com/office/drawing/2014/main" xmlns="" id="{2EC12C92-D585-2906-8DDB-99E162E06D38}"/>
                </a:ext>
              </a:extLst>
            </p:cNvPr>
            <p:cNvGraphicFramePr/>
            <p:nvPr/>
          </p:nvGraphicFramePr>
          <p:xfrm>
            <a:off x="350485" y="854679"/>
            <a:ext cx="5853933" cy="46194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7" name="Соединитель: уступ 6">
              <a:extLst>
                <a:ext uri="{FF2B5EF4-FFF2-40B4-BE49-F238E27FC236}">
                  <a16:creationId xmlns:a16="http://schemas.microsoft.com/office/drawing/2014/main" xmlns="" id="{35D1F853-6340-78FB-88F2-C0264582A347}"/>
                </a:ext>
              </a:extLst>
            </p:cNvPr>
            <p:cNvCxnSpPr>
              <a:cxnSpLocks/>
            </p:cNvCxnSpPr>
            <p:nvPr/>
          </p:nvCxnSpPr>
          <p:spPr>
            <a:xfrm rot="10800000" flipV="1">
              <a:off x="1990918" y="2641301"/>
              <a:ext cx="406167" cy="633640"/>
            </a:xfrm>
            <a:prstGeom prst="bentConnector3">
              <a:avLst>
                <a:gd name="adj1" fmla="val 16"/>
              </a:avLst>
            </a:prstGeom>
            <a:noFill/>
            <a:ln w="12700" cap="flat" cmpd="sng" algn="ctr">
              <a:solidFill>
                <a:srgbClr val="4472C4"/>
              </a:solidFill>
              <a:prstDash val="solid"/>
              <a:miter lim="800000"/>
            </a:ln>
            <a:effectLst/>
          </p:spPr>
        </p:cxnSp>
      </p:grpSp>
    </p:spTree>
    <p:extLst>
      <p:ext uri="{BB962C8B-B14F-4D97-AF65-F5344CB8AC3E}">
        <p14:creationId xmlns:p14="http://schemas.microsoft.com/office/powerpoint/2010/main" val="13831241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0172AA7B-11BB-4812-8753-123CB7EFAB8C}"/>
              </a:ext>
            </a:extLst>
          </p:cNvPr>
          <p:cNvSpPr>
            <a:spLocks noGrp="1"/>
          </p:cNvSpPr>
          <p:nvPr>
            <p:ph type="title"/>
          </p:nvPr>
        </p:nvSpPr>
        <p:spPr>
          <a:xfrm>
            <a:off x="352005" y="247517"/>
            <a:ext cx="8765651" cy="504000"/>
          </a:xfrm>
        </p:spPr>
        <p:txBody>
          <a:bodyPr/>
          <a:lstStyle/>
          <a:p>
            <a:r>
              <a:rPr lang="ru-RU" dirty="0"/>
              <a:t>Заключение: ключевая информация</a:t>
            </a:r>
            <a:endParaRPr lang="en-US" dirty="0"/>
          </a:p>
        </p:txBody>
      </p:sp>
      <p:sp>
        <p:nvSpPr>
          <p:cNvPr id="5" name="Rectangle 9">
            <a:extLst>
              <a:ext uri="{FF2B5EF4-FFF2-40B4-BE49-F238E27FC236}">
                <a16:creationId xmlns:a16="http://schemas.microsoft.com/office/drawing/2014/main" xmlns="" id="{7C7C7F66-0149-4914-BC66-84F71E17BE7F}"/>
              </a:ext>
            </a:extLst>
          </p:cNvPr>
          <p:cNvSpPr>
            <a:spLocks noChangeArrowheads="1"/>
          </p:cNvSpPr>
          <p:nvPr/>
        </p:nvSpPr>
        <p:spPr bwMode="auto">
          <a:xfrm>
            <a:off x="352005" y="1062068"/>
            <a:ext cx="7905750" cy="2765784"/>
          </a:xfrm>
          <a:prstGeom prst="rect">
            <a:avLst/>
          </a:prstGeom>
          <a:noFill/>
          <a:ln w="9525" cap="flat">
            <a:noFill/>
            <a:round/>
            <a:headEnd/>
            <a:tailEnd/>
          </a:ln>
          <a:effectLst/>
        </p:spPr>
        <p:txBody>
          <a:bodyPr wrap="square" lIns="0" tIns="12600" rIns="0" bIns="0" rtlCol="0">
            <a:spAutoFit/>
          </a:bodyPr>
          <a:lstStyle/>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При обследовании по поводу рака желудка может быть проведена оценка биомаркеров. </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Для большинства биомаркеров исследование рекомендуется проводить только у пациентов с подозрением на наличие метастазов или подтвержденными метастазами, поскольку </a:t>
            </a:r>
            <a:r>
              <a:rPr lang="ru-RU" sz="1350" dirty="0">
                <a:solidFill>
                  <a:srgbClr val="000000"/>
                </a:solidFill>
                <a:latin typeface="Arial"/>
              </a:rPr>
              <a:t>результаты необходимы онкологу для принятия решения о лечении</a:t>
            </a:r>
            <a:r>
              <a:rPr lang="ru" sz="1350" dirty="0">
                <a:solidFill>
                  <a:srgbClr val="000000"/>
                </a:solidFill>
                <a:latin typeface="Arial"/>
              </a:rPr>
              <a:t>. </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Определение HER2 статуса при раке желудка отличается от такового при раке молочной железы.</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50" dirty="0">
                <a:solidFill>
                  <a:srgbClr val="000000"/>
                </a:solidFill>
                <a:latin typeface="Arial"/>
              </a:rPr>
              <a:t>Особое внимание следует уделить выбору блока (блоков) и сбору входящей информации (например, предшествующая терапия трастузумабом).</a:t>
            </a:r>
            <a:endParaRPr lang="ru" sz="135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В настоящее время результаты определения HER2-статуса интерпретируют бинарно:  HER2-положительный и HER2-отрицательный.</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50" dirty="0">
                <a:solidFill>
                  <a:srgbClr val="000000"/>
                </a:solidFill>
                <a:latin typeface="Arial"/>
              </a:rPr>
              <a:t>Определение амплификации гена </a:t>
            </a:r>
            <a:r>
              <a:rPr lang="en-US" sz="1350" dirty="0">
                <a:solidFill>
                  <a:srgbClr val="000000"/>
                </a:solidFill>
                <a:latin typeface="Arial"/>
              </a:rPr>
              <a:t>HER2 (ERBB2) </a:t>
            </a:r>
            <a:r>
              <a:rPr lang="ru-RU" sz="1350" dirty="0">
                <a:solidFill>
                  <a:srgbClr val="000000"/>
                </a:solidFill>
                <a:latin typeface="Arial"/>
              </a:rPr>
              <a:t>методом </a:t>
            </a:r>
            <a:r>
              <a:rPr lang="en-US" sz="1350" dirty="0">
                <a:solidFill>
                  <a:srgbClr val="000000"/>
                </a:solidFill>
                <a:latin typeface="Arial"/>
              </a:rPr>
              <a:t>ISH </a:t>
            </a:r>
            <a:r>
              <a:rPr lang="ru-RU" sz="1350" dirty="0">
                <a:solidFill>
                  <a:srgbClr val="000000"/>
                </a:solidFill>
                <a:latin typeface="Arial"/>
              </a:rPr>
              <a:t>применяется в определении </a:t>
            </a:r>
            <a:r>
              <a:rPr lang="en-US" sz="1350" dirty="0">
                <a:solidFill>
                  <a:srgbClr val="000000"/>
                </a:solidFill>
                <a:latin typeface="Arial"/>
              </a:rPr>
              <a:t>HER2 </a:t>
            </a:r>
            <a:r>
              <a:rPr lang="ru-RU" sz="1350" dirty="0">
                <a:solidFill>
                  <a:srgbClr val="000000"/>
                </a:solidFill>
                <a:latin typeface="Arial"/>
              </a:rPr>
              <a:t>статуса опухоли желудка после проведения первичного ИГХ тестирования.</a:t>
            </a:r>
            <a:endParaRPr lang="ru" sz="1350" dirty="0">
              <a:solidFill>
                <a:srgbClr val="000000"/>
              </a:solidFill>
              <a:latin typeface="Arial"/>
            </a:endParaRPr>
          </a:p>
        </p:txBody>
      </p:sp>
      <p:sp>
        <p:nvSpPr>
          <p:cNvPr id="6" name="TextBox 5">
            <a:extLst>
              <a:ext uri="{FF2B5EF4-FFF2-40B4-BE49-F238E27FC236}">
                <a16:creationId xmlns:a16="http://schemas.microsoft.com/office/drawing/2014/main" xmlns="" id="{EC11F3A4-0D01-4F47-B0B4-B3631174820F}"/>
              </a:ext>
            </a:extLst>
          </p:cNvPr>
          <p:cNvSpPr txBox="1"/>
          <p:nvPr/>
        </p:nvSpPr>
        <p:spPr>
          <a:xfrm>
            <a:off x="352005" y="3998483"/>
            <a:ext cx="6004821" cy="316946"/>
          </a:xfrm>
          <a:prstGeom prst="rect">
            <a:avLst/>
          </a:prstGeom>
          <a:noFill/>
          <a:ln>
            <a:solidFill>
              <a:schemeClr val="bg1"/>
            </a:solidFill>
          </a:ln>
        </p:spPr>
        <p:txBody>
          <a:bodyPr wrap="none" rtlCol="0">
            <a:noAutofit/>
          </a:bodyPr>
          <a:lstStyle/>
          <a:p>
            <a:pPr algn="l">
              <a:lnSpc>
                <a:spcPct val="90000"/>
              </a:lnSpc>
              <a:spcAft>
                <a:spcPts val="600"/>
              </a:spcAft>
            </a:pPr>
            <a:r>
              <a:rPr lang="ru-RU" sz="1000" i="1" dirty="0"/>
              <a:t>РЖ – рак желудка, ИГХ – иммуногистохимия, </a:t>
            </a:r>
            <a:r>
              <a:rPr lang="en-US" sz="1000" i="1" dirty="0">
                <a:latin typeface="Arial"/>
              </a:rPr>
              <a:t>ISH — </a:t>
            </a:r>
            <a:r>
              <a:rPr lang="ru-RU" sz="1000" i="1" dirty="0">
                <a:latin typeface="Arial"/>
              </a:rPr>
              <a:t>гибридизация </a:t>
            </a:r>
            <a:r>
              <a:rPr lang="en-US" sz="1000" i="1" dirty="0">
                <a:latin typeface="Arial"/>
              </a:rPr>
              <a:t>in situ</a:t>
            </a:r>
            <a:endParaRPr lang="ru-RU" sz="1000" i="1" dirty="0">
              <a:latin typeface="Arial"/>
            </a:endParaRPr>
          </a:p>
        </p:txBody>
      </p:sp>
      <p:sp>
        <p:nvSpPr>
          <p:cNvPr id="3" name="Текст 3">
            <a:extLst>
              <a:ext uri="{FF2B5EF4-FFF2-40B4-BE49-F238E27FC236}">
                <a16:creationId xmlns:a16="http://schemas.microsoft.com/office/drawing/2014/main" xmlns="" id="{59354D83-48CB-8979-CD6D-62B8B759EF96}"/>
              </a:ext>
            </a:extLst>
          </p:cNvPr>
          <p:cNvSpPr txBox="1">
            <a:spLocks/>
          </p:cNvSpPr>
          <p:nvPr/>
        </p:nvSpPr>
        <p:spPr>
          <a:xfrm>
            <a:off x="371055" y="4234060"/>
            <a:ext cx="7886700" cy="504000"/>
          </a:xfrm>
          <a:prstGeom prst="rect">
            <a:avLst/>
          </a:prstGeom>
        </p:spPr>
        <p:txBody>
          <a:bodyPr vert="horz" lIns="68580" tIns="34290" rIns="68580" bIns="34290" rtlCol="0" anchor="b">
            <a:noAutofit/>
          </a:bodyPr>
          <a:lstStyle>
            <a:defPPr>
              <a:defRPr lang="ru-RU"/>
            </a:defPPr>
            <a:lvl1pPr marL="0" indent="0" algn="l" defTabSz="914400" rtl="0" eaLnBrk="1" latinLnBrk="0" hangingPunct="1">
              <a:lnSpc>
                <a:spcPct val="90000"/>
              </a:lnSpc>
              <a:spcBef>
                <a:spcPts val="1000"/>
              </a:spcBef>
              <a:buFont typeface="Arial" panose="020B0604020202020204" pitchFamily="34" charset="0"/>
              <a:buNone/>
              <a:defRPr sz="1800" i="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286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743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200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657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0"/>
              </a:spcBef>
              <a:defRPr/>
            </a:pPr>
            <a:r>
              <a:rPr lang="ru-RU" sz="700" i="0" dirty="0">
                <a:solidFill>
                  <a:srgbClr val="000000"/>
                </a:solidFill>
                <a:latin typeface="Arial" panose="020B0604020202020204"/>
                <a:cs typeface="Calibri" panose="020F0502020204030204" pitchFamily="34" charset="0"/>
              </a:rPr>
              <a:t>1. </a:t>
            </a:r>
            <a:r>
              <a:rPr lang="en-US" sz="700" i="0" dirty="0">
                <a:solidFill>
                  <a:srgbClr val="000000"/>
                </a:solidFill>
                <a:latin typeface="Arial" panose="020B0604020202020204"/>
                <a:cs typeface="Calibri" panose="020F0502020204030204" pitchFamily="34" charset="0"/>
              </a:rPr>
              <a:t>Bartley AN, Washington MK, </a:t>
            </a:r>
            <a:r>
              <a:rPr lang="en-US" sz="700" i="0" dirty="0" err="1">
                <a:solidFill>
                  <a:srgbClr val="000000"/>
                </a:solidFill>
                <a:latin typeface="Arial" panose="020B0604020202020204"/>
                <a:cs typeface="Calibri" panose="020F0502020204030204" pitchFamily="34" charset="0"/>
              </a:rPr>
              <a:t>Colasacco</a:t>
            </a:r>
            <a:r>
              <a:rPr lang="en-US" sz="700" i="0" dirty="0">
                <a:solidFill>
                  <a:srgbClr val="000000"/>
                </a:solidFill>
                <a:latin typeface="Arial" panose="020B0604020202020204"/>
                <a:cs typeface="Calibri" panose="020F0502020204030204" pitchFamily="34" charset="0"/>
              </a:rPr>
              <a:t> C, et al. HER2 Testing and Clinical Decision Making in Gastroesophageal Adenocarcinoma: </a:t>
            </a:r>
            <a:endParaRPr lang="ru-RU" sz="700" i="0" dirty="0">
              <a:solidFill>
                <a:srgbClr val="000000"/>
              </a:solidFill>
              <a:latin typeface="Arial" panose="020B0604020202020204"/>
              <a:cs typeface="Calibri" panose="020F0502020204030204" pitchFamily="34" charset="0"/>
            </a:endParaRPr>
          </a:p>
          <a:p>
            <a:pPr defTabSz="685800">
              <a:lnSpc>
                <a:spcPct val="100000"/>
              </a:lnSpc>
              <a:spcBef>
                <a:spcPts val="0"/>
              </a:spcBef>
              <a:defRPr/>
            </a:pPr>
            <a:r>
              <a:rPr lang="en-US" sz="700" i="0" dirty="0">
                <a:solidFill>
                  <a:srgbClr val="000000"/>
                </a:solidFill>
                <a:latin typeface="Arial" panose="020B0604020202020204"/>
                <a:cs typeface="Calibri" panose="020F0502020204030204" pitchFamily="34" charset="0"/>
              </a:rPr>
              <a:t>Guideline From the College of American Pathologists, American Society for Clinical Pathology, and the American Society of Clinical Oncology. </a:t>
            </a:r>
            <a:endParaRPr lang="ru-RU" sz="700" i="0" dirty="0">
              <a:solidFill>
                <a:srgbClr val="000000"/>
              </a:solidFill>
              <a:latin typeface="Arial" panose="020B0604020202020204"/>
              <a:cs typeface="Calibri" panose="020F0502020204030204" pitchFamily="34" charset="0"/>
            </a:endParaRPr>
          </a:p>
          <a:p>
            <a:pPr defTabSz="685800">
              <a:lnSpc>
                <a:spcPct val="100000"/>
              </a:lnSpc>
              <a:spcBef>
                <a:spcPts val="0"/>
              </a:spcBef>
              <a:defRPr/>
            </a:pPr>
            <a:r>
              <a:rPr lang="en-US" sz="700" i="0" dirty="0">
                <a:solidFill>
                  <a:srgbClr val="000000"/>
                </a:solidFill>
                <a:latin typeface="Arial" panose="020B0604020202020204"/>
                <a:cs typeface="Calibri" panose="020F0502020204030204" pitchFamily="34" charset="0"/>
              </a:rPr>
              <a:t>J Clin Oncol. 2017;35(4):446-464. doi:10.1200/JCO.2016.69.4836</a:t>
            </a:r>
            <a:endParaRPr lang="ru-RU" altLang="ko-KR" sz="800" dirty="0">
              <a:solidFill>
                <a:srgbClr val="000000"/>
              </a:solidFill>
              <a:latin typeface="Arial" panose="020B0604020202020204"/>
              <a:ea typeface="Arial Unicode MS" pitchFamily="34" charset="-128"/>
            </a:endParaRPr>
          </a:p>
        </p:txBody>
      </p:sp>
    </p:spTree>
    <p:extLst>
      <p:ext uri="{BB962C8B-B14F-4D97-AF65-F5344CB8AC3E}">
        <p14:creationId xmlns:p14="http://schemas.microsoft.com/office/powerpoint/2010/main" val="36620913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7D6695-0FA5-4D13-AE90-01E1A4A35236}"/>
              </a:ext>
            </a:extLst>
          </p:cNvPr>
          <p:cNvSpPr>
            <a:spLocks noGrp="1"/>
          </p:cNvSpPr>
          <p:nvPr>
            <p:ph type="title"/>
          </p:nvPr>
        </p:nvSpPr>
        <p:spPr>
          <a:xfrm>
            <a:off x="216001" y="1081682"/>
            <a:ext cx="8151622" cy="1402726"/>
          </a:xfrm>
        </p:spPr>
        <p:txBody>
          <a:bodyPr/>
          <a:lstStyle/>
          <a:p>
            <a:r>
              <a:rPr lang="ru-RU" dirty="0"/>
              <a:t>Определение </a:t>
            </a:r>
            <a:r>
              <a:rPr lang="en-US" dirty="0"/>
              <a:t>HER2 </a:t>
            </a:r>
            <a:r>
              <a:rPr lang="ru-RU" dirty="0"/>
              <a:t>статуса при </a:t>
            </a:r>
            <a:r>
              <a:rPr lang="ru-RU" dirty="0" err="1"/>
              <a:t>немелкоклеточном</a:t>
            </a:r>
            <a:r>
              <a:rPr lang="ru-RU" dirty="0"/>
              <a:t> раке легкого (НМРЛ)</a:t>
            </a:r>
            <a:br>
              <a:rPr lang="ru-RU" dirty="0"/>
            </a:br>
            <a:endParaRPr lang="en-US" dirty="0"/>
          </a:p>
        </p:txBody>
      </p:sp>
    </p:spTree>
    <p:extLst>
      <p:ext uri="{BB962C8B-B14F-4D97-AF65-F5344CB8AC3E}">
        <p14:creationId xmlns:p14="http://schemas.microsoft.com/office/powerpoint/2010/main" val="2343540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Подзаголовок 4">
            <a:extLst>
              <a:ext uri="{FF2B5EF4-FFF2-40B4-BE49-F238E27FC236}">
                <a16:creationId xmlns:a16="http://schemas.microsoft.com/office/drawing/2014/main" xmlns="" id="{D6373781-7744-45E6-B74C-46A9EFD5D380}"/>
              </a:ext>
            </a:extLst>
          </p:cNvPr>
          <p:cNvSpPr txBox="1">
            <a:spLocks/>
          </p:cNvSpPr>
          <p:nvPr/>
        </p:nvSpPr>
        <p:spPr>
          <a:xfrm>
            <a:off x="131428" y="4607808"/>
            <a:ext cx="8050256" cy="459318"/>
          </a:xfrm>
          <a:prstGeom prst="rect">
            <a:avLst/>
          </a:prstGeom>
        </p:spPr>
        <p:txBody>
          <a:bodyPr vert="horz" lIns="91440" tIns="45720" rIns="91440" bIns="45720" rtlCol="0" anchor="b" anchorCtr="0">
            <a:normAutofit/>
          </a:bodyPr>
          <a:lstStyle>
            <a:lvl1pPr marL="0" indent="0" algn="r" defTabSz="914400" rtl="0" eaLnBrk="1" latinLnBrk="0" hangingPunct="1">
              <a:lnSpc>
                <a:spcPct val="90000"/>
              </a:lnSpc>
              <a:spcBef>
                <a:spcPts val="1000"/>
              </a:spcBef>
              <a:buFont typeface="Arial" panose="020B0604020202020204" pitchFamily="34" charset="0"/>
              <a:buNone/>
              <a:defRPr sz="1800" b="0" kern="1200">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20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1. NCCN Guidelines Version 1.2023 Non-Small Cell Lung Cancer. © </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Национальная сеть многопрофильных онкологических учреждений США, Инк.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https://www.nccn.org/guidelines/guidelines-detail?category=1&amp;id=1450 (</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дата </a:t>
            </a:r>
            <a:r>
              <a:rPr lang="ru-RU" sz="600" dirty="0">
                <a:solidFill>
                  <a:srgbClr val="000000"/>
                </a:solidFill>
              </a:rPr>
              <a:t>обращения</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 07.02.23). 2.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L.E. Hendriks, et al. Annals of Oncology, 2023,https://doi.org/10.1016/j.annonc.2022.12.009. 3. U.S. Food and Drug  administration </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электронный ресурс: </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https://www.fda.gov/drugs/resources-information-approved-drugs/fda-approves-fam-trastuzumab-deruxtecan-nxki-her2-low-breast-cancer (</a:t>
            </a: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дата обращения: 07.02.23)</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 </a:t>
            </a:r>
          </a:p>
        </p:txBody>
      </p:sp>
      <p:sp>
        <p:nvSpPr>
          <p:cNvPr id="20" name="TextBox 19">
            <a:extLst>
              <a:ext uri="{FF2B5EF4-FFF2-40B4-BE49-F238E27FC236}">
                <a16:creationId xmlns:a16="http://schemas.microsoft.com/office/drawing/2014/main" xmlns="" id="{B80B1931-E970-4E88-A8D7-D5986D3645CE}"/>
              </a:ext>
            </a:extLst>
          </p:cNvPr>
          <p:cNvSpPr txBox="1"/>
          <p:nvPr/>
        </p:nvSpPr>
        <p:spPr>
          <a:xfrm>
            <a:off x="237066" y="99024"/>
            <a:ext cx="8669867" cy="1200329"/>
          </a:xfrm>
          <a:prstGeom prst="rect">
            <a:avLst/>
          </a:prstGeom>
          <a:noFill/>
        </p:spPr>
        <p:txBody>
          <a:bodyPr wrap="square">
            <a:spAutoFit/>
          </a:bodyPr>
          <a:lstStyle/>
          <a:p>
            <a:r>
              <a:rPr lang="ru-RU" b="1" dirty="0">
                <a:solidFill>
                  <a:schemeClr val="tx2"/>
                </a:solidFill>
              </a:rPr>
              <a:t>Немелкоклеточный рак лёгкого:</a:t>
            </a:r>
            <a:r>
              <a:rPr lang="ru-RU" dirty="0">
                <a:solidFill>
                  <a:schemeClr val="tx2"/>
                </a:solidFill>
              </a:rPr>
              <a:t/>
            </a:r>
            <a:br>
              <a:rPr lang="ru-RU" dirty="0">
                <a:solidFill>
                  <a:schemeClr val="tx2"/>
                </a:solidFill>
              </a:rPr>
            </a:br>
            <a:r>
              <a:rPr lang="ru-RU" sz="1800" dirty="0">
                <a:solidFill>
                  <a:schemeClr val="tx2"/>
                </a:solidFill>
              </a:rPr>
              <a:t>согласно обновленным рекомендациям</a:t>
            </a:r>
            <a:r>
              <a:rPr lang="en-GB" sz="1800" dirty="0">
                <a:solidFill>
                  <a:schemeClr val="tx2"/>
                </a:solidFill>
              </a:rPr>
              <a:t> NCCN </a:t>
            </a:r>
            <a:r>
              <a:rPr lang="ru-RU" sz="1800" dirty="0">
                <a:solidFill>
                  <a:schemeClr val="tx2"/>
                </a:solidFill>
              </a:rPr>
              <a:t>и </a:t>
            </a:r>
            <a:r>
              <a:rPr lang="en-GB" sz="1800" dirty="0">
                <a:solidFill>
                  <a:schemeClr val="tx2"/>
                </a:solidFill>
              </a:rPr>
              <a:t>ESMO</a:t>
            </a:r>
            <a:r>
              <a:rPr lang="ru-RU" sz="1800" dirty="0">
                <a:solidFill>
                  <a:schemeClr val="tx2"/>
                </a:solidFill>
              </a:rPr>
              <a:t> по НМРЛ</a:t>
            </a:r>
            <a:r>
              <a:rPr lang="en-GB" sz="1800" dirty="0">
                <a:solidFill>
                  <a:schemeClr val="tx2"/>
                </a:solidFill>
              </a:rPr>
              <a:t> </a:t>
            </a:r>
            <a:r>
              <a:rPr lang="ru-RU" sz="1800" dirty="0">
                <a:solidFill>
                  <a:schemeClr val="tx2"/>
                </a:solidFill>
              </a:rPr>
              <a:t>должно выполняться молекулярное тестирование на наличие активирующих мутаций </a:t>
            </a:r>
            <a:r>
              <a:rPr lang="en-GB" sz="1800" i="1" dirty="0">
                <a:solidFill>
                  <a:schemeClr val="tx2"/>
                </a:solidFill>
              </a:rPr>
              <a:t>HER2</a:t>
            </a:r>
            <a:r>
              <a:rPr lang="ru-RU" sz="1800" i="1" dirty="0">
                <a:solidFill>
                  <a:schemeClr val="tx2"/>
                </a:solidFill>
              </a:rPr>
              <a:t> </a:t>
            </a:r>
            <a:r>
              <a:rPr lang="ru-RU" sz="1800" dirty="0">
                <a:solidFill>
                  <a:schemeClr val="tx2"/>
                </a:solidFill>
              </a:rPr>
              <a:t>в связи с появлением опции терапии для данной когорты пациентов</a:t>
            </a:r>
            <a:r>
              <a:rPr lang="ru-RU" sz="1800" baseline="30000" dirty="0">
                <a:solidFill>
                  <a:schemeClr val="tx2"/>
                </a:solidFill>
              </a:rPr>
              <a:t>1-3</a:t>
            </a:r>
            <a:endParaRPr lang="en-US" dirty="0">
              <a:solidFill>
                <a:schemeClr val="tx2"/>
              </a:solidFill>
            </a:endParaRPr>
          </a:p>
        </p:txBody>
      </p:sp>
      <p:grpSp>
        <p:nvGrpSpPr>
          <p:cNvPr id="21" name="Group 11">
            <a:extLst>
              <a:ext uri="{FF2B5EF4-FFF2-40B4-BE49-F238E27FC236}">
                <a16:creationId xmlns:a16="http://schemas.microsoft.com/office/drawing/2014/main" xmlns="" id="{8EA42DE8-D272-450E-AD73-DA92BB93C169}"/>
              </a:ext>
            </a:extLst>
          </p:cNvPr>
          <p:cNvGrpSpPr/>
          <p:nvPr/>
        </p:nvGrpSpPr>
        <p:grpSpPr>
          <a:xfrm>
            <a:off x="913266" y="1299353"/>
            <a:ext cx="7714266" cy="1981581"/>
            <a:chOff x="206629" y="3018303"/>
            <a:chExt cx="10818012" cy="2492223"/>
          </a:xfrm>
        </p:grpSpPr>
        <p:pic>
          <p:nvPicPr>
            <p:cNvPr id="22" name="Picture 4">
              <a:extLst>
                <a:ext uri="{FF2B5EF4-FFF2-40B4-BE49-F238E27FC236}">
                  <a16:creationId xmlns:a16="http://schemas.microsoft.com/office/drawing/2014/main" xmlns="" id="{6956B8B6-52B9-4693-8533-F602B6D345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61713" y="3018303"/>
              <a:ext cx="1635281" cy="967124"/>
            </a:xfrm>
            <a:prstGeom prst="rect">
              <a:avLst/>
            </a:prstGeom>
          </p:spPr>
        </p:pic>
        <p:pic>
          <p:nvPicPr>
            <p:cNvPr id="23" name="Picture 5">
              <a:extLst>
                <a:ext uri="{FF2B5EF4-FFF2-40B4-BE49-F238E27FC236}">
                  <a16:creationId xmlns:a16="http://schemas.microsoft.com/office/drawing/2014/main" xmlns="" id="{319035C2-4416-4AA0-8982-EC85746601E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06629" y="3040208"/>
              <a:ext cx="2732410" cy="959676"/>
            </a:xfrm>
            <a:prstGeom prst="rect">
              <a:avLst/>
            </a:prstGeom>
          </p:spPr>
        </p:pic>
        <p:sp>
          <p:nvSpPr>
            <p:cNvPr id="24" name="Content Placeholder 9">
              <a:extLst>
                <a:ext uri="{FF2B5EF4-FFF2-40B4-BE49-F238E27FC236}">
                  <a16:creationId xmlns:a16="http://schemas.microsoft.com/office/drawing/2014/main" xmlns="" id="{C92BBE0E-D255-47FC-8382-480B5335D5C7}"/>
                </a:ext>
              </a:extLst>
            </p:cNvPr>
            <p:cNvSpPr txBox="1">
              <a:spLocks/>
            </p:cNvSpPr>
            <p:nvPr/>
          </p:nvSpPr>
          <p:spPr>
            <a:xfrm>
              <a:off x="5514950" y="3857892"/>
              <a:ext cx="5509691" cy="1652634"/>
            </a:xfrm>
            <a:prstGeom prst="rect">
              <a:avLst/>
            </a:prstGeom>
          </p:spPr>
          <p:txBody>
            <a:bodyPr lIns="0" rIns="0" rtlCol="0"/>
            <a:lstStyle>
              <a:lvl1pPr marL="342900" indent="-342900" algn="l" defTabSz="457200" rtl="0" eaLnBrk="1" latinLnBrk="0" hangingPunct="1">
                <a:spcBef>
                  <a:spcPct val="20000"/>
                </a:spcBef>
                <a:buFont typeface="Arial"/>
                <a:buChar char="•"/>
                <a:defRPr kumimoji="1" lang="en-US" sz="2000" kern="1200" dirty="0" smtClean="0">
                  <a:solidFill>
                    <a:schemeClr val="tx2"/>
                  </a:solidFill>
                  <a:latin typeface="+mn-lt"/>
                  <a:ea typeface="+mn-ea"/>
                  <a:cs typeface="+mn-cs"/>
                </a:defRPr>
              </a:lvl1pPr>
              <a:lvl2pPr marL="685800" indent="-457200" algn="l" defTabSz="457200" rtl="0" eaLnBrk="1" latinLnBrk="0" hangingPunct="1">
                <a:spcBef>
                  <a:spcPct val="20000"/>
                </a:spcBef>
                <a:buFont typeface="Arial"/>
                <a:buChar char="–"/>
                <a:defRPr kumimoji="1" sz="2800" kern="1200">
                  <a:solidFill>
                    <a:schemeClr val="tx1"/>
                  </a:solidFill>
                  <a:latin typeface="+mn-lt"/>
                  <a:ea typeface="+mn-ea"/>
                  <a:cs typeface="+mn-cs"/>
                </a:defRPr>
              </a:lvl2pPr>
              <a:lvl3pPr marL="742950" indent="-285750" algn="l" defTabSz="457200" rtl="0" eaLnBrk="1" latinLnBrk="0" hangingPunct="1">
                <a:spcBef>
                  <a:spcPct val="20000"/>
                </a:spcBef>
                <a:buFont typeface="Arial"/>
                <a:buChar char="•"/>
                <a:defRPr kumimoji="1" lang="en-US" sz="1800" kern="1200" dirty="0" smtClean="0">
                  <a:solidFill>
                    <a:schemeClr val="tx2"/>
                  </a:solidFill>
                  <a:latin typeface="+mn-lt"/>
                  <a:ea typeface="+mn-ea"/>
                  <a:cs typeface="+mn-cs"/>
                </a:defRPr>
              </a:lvl3pPr>
              <a:lvl4pPr marL="971550" indent="-285750" algn="l" defTabSz="457200" rtl="0" eaLnBrk="1" latinLnBrk="0" hangingPunct="1">
                <a:spcBef>
                  <a:spcPct val="20000"/>
                </a:spcBef>
                <a:buFont typeface="Arial"/>
                <a:buChar char="–"/>
                <a:defRPr kumimoji="1" lang="en-US" sz="1400" kern="1200" dirty="0" smtClean="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kumimoji="1" lang="en-US" sz="1400" kern="1200" dirty="0" smtClean="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defTabSz="457166">
                <a:spcBef>
                  <a:spcPts val="600"/>
                </a:spcBef>
                <a:buClr>
                  <a:srgbClr val="68D2DF"/>
                </a:buClr>
                <a:buNone/>
                <a:defRPr/>
              </a:pPr>
              <a:r>
                <a:rPr lang="ru-RU" sz="1400" dirty="0">
                  <a:solidFill>
                    <a:schemeClr val="tx1"/>
                  </a:solidFill>
                </a:rPr>
                <a:t>Следует выполнять тестирование на наличие:</a:t>
              </a:r>
            </a:p>
            <a:p>
              <a:pPr defTabSz="457166">
                <a:spcBef>
                  <a:spcPts val="0"/>
                </a:spcBef>
                <a:buClr>
                  <a:srgbClr val="68D2DF"/>
                </a:buClr>
                <a:buFont typeface="Arial" panose="020B0604020202020204" pitchFamily="34" charset="0"/>
                <a:buChar char="•"/>
                <a:defRPr/>
              </a:pPr>
              <a:r>
                <a:rPr lang="ru-RU" sz="1400" dirty="0">
                  <a:solidFill>
                    <a:schemeClr val="tx1"/>
                  </a:solidFill>
                </a:rPr>
                <a:t>мутации с утратой экзона 14 </a:t>
              </a:r>
              <a:r>
                <a:rPr lang="en-GB" sz="1400" i="1" dirty="0">
                  <a:solidFill>
                    <a:schemeClr val="tx1"/>
                  </a:solidFill>
                </a:rPr>
                <a:t>MET</a:t>
              </a:r>
              <a:endParaRPr lang="ru-RU" sz="1400" i="1" dirty="0">
                <a:solidFill>
                  <a:schemeClr val="tx1"/>
                </a:solidFill>
              </a:endParaRPr>
            </a:p>
            <a:p>
              <a:pPr defTabSz="457166">
                <a:spcBef>
                  <a:spcPts val="0"/>
                </a:spcBef>
                <a:buClr>
                  <a:srgbClr val="68D2DF"/>
                </a:buClr>
                <a:buFont typeface="Arial" panose="020B0604020202020204" pitchFamily="34" charset="0"/>
                <a:buChar char="•"/>
                <a:defRPr/>
              </a:pPr>
              <a:r>
                <a:rPr lang="ru-RU" sz="1400" dirty="0">
                  <a:solidFill>
                    <a:schemeClr val="tx1"/>
                  </a:solidFill>
                </a:rPr>
                <a:t>амплификации </a:t>
              </a:r>
              <a:r>
                <a:rPr lang="en-GB" sz="1400" i="1" dirty="0">
                  <a:solidFill>
                    <a:schemeClr val="tx1"/>
                  </a:solidFill>
                </a:rPr>
                <a:t>MET</a:t>
              </a:r>
              <a:endParaRPr lang="ru-RU" sz="1400" i="1" dirty="0">
                <a:solidFill>
                  <a:schemeClr val="tx1"/>
                </a:solidFill>
              </a:endParaRPr>
            </a:p>
            <a:p>
              <a:pPr defTabSz="457166">
                <a:spcBef>
                  <a:spcPts val="0"/>
                </a:spcBef>
                <a:buClr>
                  <a:srgbClr val="68D2DF"/>
                </a:buClr>
                <a:buFont typeface="Arial" panose="020B0604020202020204" pitchFamily="34" charset="0"/>
                <a:buChar char="•"/>
                <a:defRPr/>
              </a:pPr>
              <a:r>
                <a:rPr lang="ru-RU" sz="1400" dirty="0">
                  <a:solidFill>
                    <a:schemeClr val="tx1"/>
                  </a:solidFill>
                </a:rPr>
                <a:t>транслокации </a:t>
              </a:r>
              <a:r>
                <a:rPr lang="en-GB" sz="1400" i="1" dirty="0">
                  <a:solidFill>
                    <a:schemeClr val="tx1"/>
                  </a:solidFill>
                </a:rPr>
                <a:t>RET</a:t>
              </a:r>
              <a:endParaRPr lang="ru-RU" sz="1400" i="1" dirty="0">
                <a:solidFill>
                  <a:schemeClr val="tx1"/>
                </a:solidFill>
              </a:endParaRPr>
            </a:p>
            <a:p>
              <a:pPr defTabSz="457166">
                <a:spcBef>
                  <a:spcPts val="0"/>
                </a:spcBef>
                <a:buClr>
                  <a:srgbClr val="68D2DF"/>
                </a:buClr>
                <a:buFont typeface="Arial" panose="020B0604020202020204" pitchFamily="34" charset="0"/>
                <a:buChar char="•"/>
                <a:defRPr/>
              </a:pPr>
              <a:r>
                <a:rPr lang="ru-RU" sz="1400" dirty="0">
                  <a:solidFill>
                    <a:schemeClr val="tx1"/>
                  </a:solidFill>
                </a:rPr>
                <a:t>мутации </a:t>
              </a:r>
              <a:r>
                <a:rPr lang="en-GB" sz="1400" i="1" dirty="0">
                  <a:solidFill>
                    <a:schemeClr val="tx1"/>
                  </a:solidFill>
                </a:rPr>
                <a:t>KRAS</a:t>
              </a:r>
              <a:r>
                <a:rPr lang="en-GB" sz="1400" dirty="0">
                  <a:solidFill>
                    <a:schemeClr val="tx1"/>
                  </a:solidFill>
                </a:rPr>
                <a:t> G12C</a:t>
              </a:r>
              <a:endParaRPr lang="ru-RU" sz="1400" dirty="0">
                <a:solidFill>
                  <a:schemeClr val="tx1"/>
                </a:solidFill>
              </a:endParaRPr>
            </a:p>
            <a:p>
              <a:pPr defTabSz="457166">
                <a:spcBef>
                  <a:spcPts val="0"/>
                </a:spcBef>
                <a:buClr>
                  <a:srgbClr val="68D2DF"/>
                </a:buClr>
                <a:buFont typeface="Arial" panose="020B0604020202020204" pitchFamily="34" charset="0"/>
                <a:buChar char="•"/>
                <a:defRPr/>
              </a:pPr>
              <a:r>
                <a:rPr lang="ru-RU" sz="1400" b="1" dirty="0">
                  <a:solidFill>
                    <a:schemeClr val="tx1"/>
                  </a:solidFill>
                </a:rPr>
                <a:t>мутации</a:t>
              </a:r>
              <a:r>
                <a:rPr lang="ru-RU" sz="1400" dirty="0">
                  <a:solidFill>
                    <a:schemeClr val="tx1"/>
                  </a:solidFill>
                </a:rPr>
                <a:t> </a:t>
              </a:r>
              <a:r>
                <a:rPr lang="en-GB" sz="1400" b="1" i="1" dirty="0">
                  <a:solidFill>
                    <a:schemeClr val="tx1"/>
                  </a:solidFill>
                </a:rPr>
                <a:t>HER2</a:t>
              </a:r>
              <a:r>
                <a:rPr lang="en-GB" sz="1400" b="1" dirty="0">
                  <a:solidFill>
                    <a:schemeClr val="tx1"/>
                  </a:solidFill>
                </a:rPr>
                <a:t> </a:t>
              </a:r>
              <a:r>
                <a:rPr lang="en-GB" sz="1400" dirty="0">
                  <a:solidFill>
                    <a:schemeClr val="tx1"/>
                  </a:solidFill>
                </a:rPr>
                <a:t>[II, A].</a:t>
              </a:r>
            </a:p>
            <a:p>
              <a:pPr defTabSz="457166">
                <a:spcBef>
                  <a:spcPts val="600"/>
                </a:spcBef>
                <a:buClr>
                  <a:srgbClr val="68D2DF"/>
                </a:buClr>
                <a:buFont typeface="Arial" panose="020B0604020202020204" pitchFamily="34" charset="0"/>
                <a:buChar char="•"/>
                <a:defRPr/>
              </a:pPr>
              <a:r>
                <a:rPr lang="ru-RU" sz="1400" dirty="0">
                  <a:solidFill>
                    <a:schemeClr val="tx1"/>
                  </a:solidFill>
                </a:rPr>
                <a:t>Для молекулярного тестирования </a:t>
              </a:r>
              <a:r>
                <a:rPr lang="ru-RU" sz="1400" b="1" dirty="0">
                  <a:solidFill>
                    <a:schemeClr val="tx1"/>
                  </a:solidFill>
                </a:rPr>
                <a:t>предпочтительно применение мультиплексных платформ (</a:t>
              </a:r>
              <a:r>
                <a:rPr lang="en-GB" sz="1400" b="1" dirty="0">
                  <a:solidFill>
                    <a:schemeClr val="tx1"/>
                  </a:solidFill>
                </a:rPr>
                <a:t>NGS)</a:t>
              </a:r>
              <a:r>
                <a:rPr lang="ru-RU" sz="1400" dirty="0">
                  <a:solidFill>
                    <a:schemeClr val="tx1"/>
                  </a:solidFill>
                </a:rPr>
                <a:t> в случае их доступности </a:t>
              </a:r>
              <a:r>
                <a:rPr lang="en-GB" sz="1400" dirty="0">
                  <a:solidFill>
                    <a:schemeClr val="tx1"/>
                  </a:solidFill>
                </a:rPr>
                <a:t>[III, A].</a:t>
              </a:r>
              <a:r>
                <a:rPr lang="ru-RU" sz="1400" baseline="30000" dirty="0">
                  <a:solidFill>
                    <a:schemeClr val="tx1"/>
                  </a:solidFill>
                </a:rPr>
                <a:t>2</a:t>
              </a:r>
              <a:endParaRPr kumimoji="1" lang="en-GB" sz="1400" b="0" i="0" u="none" strike="noStrike" kern="1200" cap="none" spc="0" normalizeH="0" baseline="30000" noProof="0" dirty="0">
                <a:ln>
                  <a:noFill/>
                </a:ln>
                <a:solidFill>
                  <a:schemeClr val="tx1"/>
                </a:solidFill>
                <a:effectLst/>
                <a:uLnTx/>
                <a:uFillTx/>
                <a:latin typeface="Arial"/>
                <a:ea typeface="+mn-ea"/>
                <a:cs typeface="+mn-cs"/>
              </a:endParaRPr>
            </a:p>
          </p:txBody>
        </p:sp>
      </p:grpSp>
      <p:sp>
        <p:nvSpPr>
          <p:cNvPr id="25" name="Content Placeholder 9">
            <a:extLst>
              <a:ext uri="{FF2B5EF4-FFF2-40B4-BE49-F238E27FC236}">
                <a16:creationId xmlns:a16="http://schemas.microsoft.com/office/drawing/2014/main" xmlns="" id="{8B74A97E-3402-428D-8648-08253BE1F834}"/>
              </a:ext>
            </a:extLst>
          </p:cNvPr>
          <p:cNvSpPr txBox="1">
            <a:spLocks/>
          </p:cNvSpPr>
          <p:nvPr/>
        </p:nvSpPr>
        <p:spPr>
          <a:xfrm>
            <a:off x="174802" y="1996508"/>
            <a:ext cx="4159495" cy="1587822"/>
          </a:xfrm>
          <a:prstGeom prst="rect">
            <a:avLst/>
          </a:prstGeom>
        </p:spPr>
        <p:txBody>
          <a:bodyPr lIns="0" rIns="0" rtlCol="0"/>
          <a:lstStyle>
            <a:defPPr>
              <a:defRPr lang="en-US"/>
            </a:defPPr>
            <a:lvl1pPr marL="115879" indent="-115879" defTabSz="457166">
              <a:spcBef>
                <a:spcPts val="600"/>
              </a:spcBef>
              <a:buClr>
                <a:srgbClr val="C4D600"/>
              </a:buClr>
              <a:buFont typeface="Arial"/>
              <a:buChar char="•"/>
              <a:defRPr kumimoji="1" sz="1100">
                <a:solidFill>
                  <a:srgbClr val="3F4444"/>
                </a:solidFill>
                <a:latin typeface="Arial"/>
              </a:defRPr>
            </a:lvl1pPr>
            <a:lvl2pPr marL="685800" indent="-457200" defTabSz="457200">
              <a:spcBef>
                <a:spcPct val="20000"/>
              </a:spcBef>
              <a:buFont typeface="Arial"/>
              <a:buChar char="–"/>
              <a:defRPr kumimoji="1" sz="2800"/>
            </a:lvl2pPr>
            <a:lvl3pPr marL="742950" indent="-285750" defTabSz="457200">
              <a:spcBef>
                <a:spcPct val="20000"/>
              </a:spcBef>
              <a:buFont typeface="Arial"/>
              <a:buChar char="•"/>
              <a:defRPr kumimoji="1" sz="1800">
                <a:solidFill>
                  <a:schemeClr val="tx2"/>
                </a:solidFill>
              </a:defRPr>
            </a:lvl3pPr>
            <a:lvl4pPr marL="971550" indent="-285750" defTabSz="457200">
              <a:spcBef>
                <a:spcPct val="20000"/>
              </a:spcBef>
              <a:buFont typeface="Arial"/>
              <a:buChar char="–"/>
              <a:defRPr kumimoji="1" sz="1400">
                <a:solidFill>
                  <a:schemeClr val="tx2"/>
                </a:solidFill>
              </a:defRPr>
            </a:lvl4pPr>
            <a:lvl5pPr marL="2057400" indent="-228600" defTabSz="457200">
              <a:spcBef>
                <a:spcPct val="20000"/>
              </a:spcBef>
              <a:buFont typeface="Arial"/>
              <a:buChar char="»"/>
              <a:defRPr kumimoji="1" sz="1400">
                <a:solidFill>
                  <a:schemeClr val="tx2"/>
                </a:solidFill>
              </a:defRPr>
            </a:lvl5pPr>
            <a:lvl6pPr marL="2514600" indent="-228600" defTabSz="457200">
              <a:spcBef>
                <a:spcPct val="20000"/>
              </a:spcBef>
              <a:buFont typeface="Arial"/>
              <a:buChar char="•"/>
              <a:defRPr kumimoji="1" sz="2000"/>
            </a:lvl6pPr>
            <a:lvl7pPr marL="2971800" indent="-228600" defTabSz="457200">
              <a:spcBef>
                <a:spcPct val="20000"/>
              </a:spcBef>
              <a:buFont typeface="Arial"/>
              <a:buChar char="•"/>
              <a:defRPr kumimoji="1" sz="2000"/>
            </a:lvl7pPr>
            <a:lvl8pPr marL="3429000" indent="-228600" defTabSz="457200">
              <a:spcBef>
                <a:spcPct val="20000"/>
              </a:spcBef>
              <a:buFont typeface="Arial"/>
              <a:buChar char="•"/>
              <a:defRPr kumimoji="1" sz="2000"/>
            </a:lvl8pPr>
            <a:lvl9pPr marL="3886200" indent="-228600" defTabSz="457200">
              <a:spcBef>
                <a:spcPct val="20000"/>
              </a:spcBef>
              <a:buFont typeface="Arial"/>
              <a:buChar char="•"/>
              <a:defRPr kumimoji="1" sz="2000"/>
            </a:lvl9pPr>
          </a:lstStyle>
          <a:p>
            <a:pPr marL="0" indent="0">
              <a:buClr>
                <a:srgbClr val="68D2DF"/>
              </a:buClr>
              <a:buNone/>
              <a:defRPr/>
            </a:pPr>
            <a:r>
              <a:rPr lang="ru-RU" sz="1400" dirty="0">
                <a:solidFill>
                  <a:srgbClr val="000000"/>
                </a:solidFill>
              </a:rPr>
              <a:t>Р</a:t>
            </a:r>
            <a:r>
              <a:rPr kumimoji="1" lang="ru-RU" sz="1400" b="0" i="0" u="none" strike="noStrike" kern="1200" cap="none" spc="0" normalizeH="0" noProof="0" dirty="0" err="1">
                <a:ln>
                  <a:noFill/>
                </a:ln>
                <a:solidFill>
                  <a:srgbClr val="000000"/>
                </a:solidFill>
                <a:effectLst/>
                <a:uLnTx/>
                <a:uFillTx/>
                <a:latin typeface="Arial"/>
                <a:ea typeface="+mn-ea"/>
                <a:cs typeface="+mn-cs"/>
              </a:rPr>
              <a:t>екомендовано</a:t>
            </a:r>
            <a:r>
              <a:rPr kumimoji="1" lang="ru-RU" sz="1400" b="0" i="0" u="none" strike="noStrike" kern="1200" cap="none" spc="0" normalizeH="0" noProof="0" dirty="0">
                <a:ln>
                  <a:noFill/>
                </a:ln>
                <a:solidFill>
                  <a:srgbClr val="000000"/>
                </a:solidFill>
                <a:effectLst/>
                <a:uLnTx/>
                <a:uFillTx/>
                <a:latin typeface="Arial"/>
                <a:ea typeface="+mn-ea"/>
                <a:cs typeface="+mn-cs"/>
              </a:rPr>
              <a:t> использовать широкую панель генов для молекулярного профилирования </a:t>
            </a:r>
            <a:r>
              <a:rPr lang="ru-RU" sz="1400" dirty="0">
                <a:solidFill>
                  <a:srgbClr val="000000"/>
                </a:solidFill>
              </a:rPr>
              <a:t>с применением валидированных тестов, исследующих как минимум следующие потенциальные генетические изменения: </a:t>
            </a:r>
          </a:p>
          <a:p>
            <a:pPr marL="0" indent="0">
              <a:buClr>
                <a:srgbClr val="68D2DF"/>
              </a:buClr>
              <a:buNone/>
              <a:defRPr/>
            </a:pPr>
            <a:endParaRPr kumimoji="1" lang="ru" sz="1400" b="0" i="0" u="none" strike="noStrike" kern="1200" cap="none" spc="0" normalizeH="0" noProof="0" dirty="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xmlns="" id="{F8D5781F-E983-46A9-B2F8-7933BE84EF9A}"/>
              </a:ext>
            </a:extLst>
          </p:cNvPr>
          <p:cNvSpPr txBox="1"/>
          <p:nvPr/>
        </p:nvSpPr>
        <p:spPr>
          <a:xfrm>
            <a:off x="0" y="3138970"/>
            <a:ext cx="4258733" cy="2031325"/>
          </a:xfrm>
          <a:prstGeom prst="rect">
            <a:avLst/>
          </a:prstGeom>
          <a:noFill/>
        </p:spPr>
        <p:txBody>
          <a:bodyPr wrap="square" numCol="2" rtlCol="0">
            <a:spAutoFit/>
          </a:bodyPr>
          <a:lstStyle/>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r>
              <a:rPr kumimoji="0" lang="ru-RU" sz="1400" b="0" i="0" u="none" strike="noStrike" kern="1200" cap="none" spc="0" normalizeH="0" baseline="0" noProof="0" dirty="0">
                <a:ln>
                  <a:noFill/>
                </a:ln>
                <a:solidFill>
                  <a:srgbClr val="000000"/>
                </a:solidFill>
                <a:effectLst/>
                <a:uLnTx/>
                <a:uFillTx/>
                <a:latin typeface="Arial"/>
                <a:ea typeface="+mn-ea"/>
                <a:cs typeface="+mn-cs"/>
              </a:rPr>
              <a:t>транслокации </a:t>
            </a:r>
            <a:r>
              <a:rPr kumimoji="1" lang="en-GB" sz="1400" b="0" i="1" u="none" strike="noStrike" kern="1200" cap="none" spc="0" normalizeH="0" baseline="0" noProof="0" dirty="0">
                <a:ln>
                  <a:noFill/>
                </a:ln>
                <a:solidFill>
                  <a:srgbClr val="000000"/>
                </a:solidFill>
                <a:effectLst/>
                <a:uLnTx/>
                <a:uFillTx/>
                <a:latin typeface="Arial"/>
                <a:ea typeface="+mn-ea"/>
                <a:cs typeface="+mn-cs"/>
              </a:rPr>
              <a:t>ALK</a:t>
            </a:r>
            <a:endParaRPr kumimoji="1" lang="ru-RU"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r>
              <a:rPr kumimoji="1" lang="ru-RU" sz="1400" b="0" i="0" u="none" strike="noStrike" kern="1200" cap="none" spc="0" normalizeH="0" baseline="0" noProof="0" dirty="0">
                <a:ln>
                  <a:noFill/>
                </a:ln>
                <a:solidFill>
                  <a:srgbClr val="000000"/>
                </a:solidFill>
                <a:effectLst/>
                <a:uLnTx/>
                <a:uFillTx/>
                <a:latin typeface="Arial"/>
                <a:ea typeface="+mn-ea"/>
                <a:cs typeface="+mn-cs"/>
              </a:rPr>
              <a:t>мутации </a:t>
            </a:r>
            <a:r>
              <a:rPr kumimoji="1" lang="en-GB" sz="1400" b="0" i="1" u="none" strike="noStrike" kern="1200" cap="none" spc="0" normalizeH="0" baseline="0" noProof="0" dirty="0">
                <a:ln>
                  <a:noFill/>
                </a:ln>
                <a:solidFill>
                  <a:srgbClr val="000000"/>
                </a:solidFill>
                <a:effectLst/>
                <a:uLnTx/>
                <a:uFillTx/>
                <a:latin typeface="Arial"/>
                <a:ea typeface="+mn-ea"/>
                <a:cs typeface="+mn-cs"/>
              </a:rPr>
              <a:t>BRAF</a:t>
            </a:r>
            <a:r>
              <a:rPr kumimoji="1" lang="en-GB" sz="1400" b="0" i="0" u="none" strike="noStrike" kern="1200" cap="none" spc="0" normalizeH="0" baseline="0" noProof="0" dirty="0">
                <a:ln>
                  <a:noFill/>
                </a:ln>
                <a:solidFill>
                  <a:srgbClr val="000000"/>
                </a:solidFill>
                <a:effectLst/>
                <a:uLnTx/>
                <a:uFillTx/>
                <a:latin typeface="Arial"/>
                <a:ea typeface="+mn-ea"/>
                <a:cs typeface="+mn-cs"/>
              </a:rPr>
              <a:t> </a:t>
            </a:r>
            <a:endParaRPr kumimoji="1" lang="ru-RU"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r>
              <a:rPr kumimoji="1" lang="ru-RU" sz="1400" b="0" i="0" u="none" strike="noStrike" kern="1200" cap="none" spc="0" normalizeH="0" baseline="0" noProof="0" dirty="0">
                <a:ln>
                  <a:noFill/>
                </a:ln>
                <a:solidFill>
                  <a:srgbClr val="000000"/>
                </a:solidFill>
                <a:effectLst/>
                <a:uLnTx/>
                <a:uFillTx/>
                <a:latin typeface="Arial"/>
                <a:ea typeface="+mn-ea"/>
                <a:cs typeface="+mn-cs"/>
              </a:rPr>
              <a:t>мутации </a:t>
            </a:r>
            <a:r>
              <a:rPr kumimoji="1" lang="en-GB" sz="1400" b="0" i="1" u="none" strike="noStrike" kern="1200" cap="none" spc="0" normalizeH="0" baseline="0" noProof="0" dirty="0">
                <a:ln>
                  <a:noFill/>
                </a:ln>
                <a:solidFill>
                  <a:srgbClr val="000000"/>
                </a:solidFill>
                <a:effectLst/>
                <a:uLnTx/>
                <a:uFillTx/>
                <a:latin typeface="Arial"/>
                <a:ea typeface="+mn-ea"/>
                <a:cs typeface="+mn-cs"/>
              </a:rPr>
              <a:t>EGFR</a:t>
            </a:r>
            <a:r>
              <a:rPr kumimoji="1" lang="en-GB" sz="1400" b="0" i="0" u="none" strike="noStrike" kern="1200" cap="none" spc="0" normalizeH="0" baseline="0" noProof="0" dirty="0">
                <a:ln>
                  <a:noFill/>
                </a:ln>
                <a:solidFill>
                  <a:srgbClr val="000000"/>
                </a:solidFill>
                <a:effectLst/>
                <a:uLnTx/>
                <a:uFillTx/>
                <a:latin typeface="Arial"/>
                <a:ea typeface="+mn-ea"/>
                <a:cs typeface="+mn-cs"/>
              </a:rPr>
              <a:t> </a:t>
            </a:r>
            <a:endParaRPr kumimoji="1" lang="ru-RU"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r>
              <a:rPr kumimoji="1" lang="ru-RU" sz="1400" b="1" i="0" u="none" strike="noStrike" kern="1200" cap="none" spc="0" normalizeH="0" baseline="0" noProof="0" dirty="0">
                <a:ln>
                  <a:noFill/>
                </a:ln>
                <a:solidFill>
                  <a:srgbClr val="000000"/>
                </a:solidFill>
                <a:effectLst/>
                <a:uLnTx/>
                <a:uFillTx/>
                <a:latin typeface="Arial"/>
                <a:ea typeface="+mn-ea"/>
                <a:cs typeface="+mn-cs"/>
              </a:rPr>
              <a:t>мутации </a:t>
            </a:r>
            <a:r>
              <a:rPr kumimoji="1" lang="en-GB" sz="1400" b="1" i="1" u="none" strike="noStrike" kern="1200" cap="none" spc="0" normalizeH="0" baseline="0" noProof="0" dirty="0">
                <a:ln>
                  <a:noFill/>
                </a:ln>
                <a:solidFill>
                  <a:srgbClr val="000000"/>
                </a:solidFill>
                <a:effectLst/>
                <a:uLnTx/>
                <a:uFillTx/>
                <a:latin typeface="Arial"/>
                <a:ea typeface="+mn-ea"/>
                <a:cs typeface="+mn-cs"/>
              </a:rPr>
              <a:t>ERBB2 (HER2)</a:t>
            </a:r>
            <a:r>
              <a:rPr kumimoji="1" lang="en-GB" sz="1400" b="0" i="0" u="none" strike="noStrike" kern="1200" cap="none" spc="0" normalizeH="0" baseline="0" noProof="0" dirty="0">
                <a:ln>
                  <a:noFill/>
                </a:ln>
                <a:solidFill>
                  <a:srgbClr val="000000"/>
                </a:solidFill>
                <a:effectLst/>
                <a:uLnTx/>
                <a:uFillTx/>
                <a:latin typeface="Arial"/>
                <a:ea typeface="+mn-ea"/>
                <a:cs typeface="+mn-cs"/>
              </a:rPr>
              <a:t> </a:t>
            </a:r>
            <a:endParaRPr kumimoji="1" lang="ru-RU"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r>
              <a:rPr kumimoji="1" lang="ru-RU" sz="1400" b="0" i="0" u="none" strike="noStrike" kern="1200" cap="none" spc="0" normalizeH="0" baseline="0" noProof="0" dirty="0">
                <a:ln>
                  <a:noFill/>
                </a:ln>
                <a:solidFill>
                  <a:srgbClr val="000000"/>
                </a:solidFill>
                <a:effectLst/>
                <a:uLnTx/>
                <a:uFillTx/>
                <a:latin typeface="Arial"/>
                <a:ea typeface="+mn-ea"/>
                <a:cs typeface="+mn-cs"/>
              </a:rPr>
              <a:t>мутации </a:t>
            </a:r>
            <a:r>
              <a:rPr kumimoji="1" lang="en-GB" sz="1400" b="0" i="1" u="none" strike="noStrike" kern="1200" cap="none" spc="0" normalizeH="0" baseline="0" noProof="0" dirty="0">
                <a:ln>
                  <a:noFill/>
                </a:ln>
                <a:solidFill>
                  <a:srgbClr val="000000"/>
                </a:solidFill>
                <a:effectLst/>
                <a:uLnTx/>
                <a:uFillTx/>
                <a:latin typeface="Arial"/>
                <a:ea typeface="+mn-ea"/>
                <a:cs typeface="+mn-cs"/>
              </a:rPr>
              <a:t>KRAS</a:t>
            </a:r>
            <a:endParaRPr kumimoji="1" lang="ru-RU"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endParaRPr kumimoji="1" lang="ru-RU"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endParaRPr kumimoji="1" lang="ru-RU" sz="1400" dirty="0">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endParaRPr kumimoji="1" lang="ru-RU" sz="1400" b="0" i="0" u="none" strike="noStrike" kern="1200" cap="none" spc="0" normalizeH="0" baseline="0" noProof="0" dirty="0">
              <a:ln>
                <a:noFill/>
              </a:ln>
              <a:solidFill>
                <a:srgbClr val="000000"/>
              </a:solidFill>
              <a:effectLst/>
              <a:uLnTx/>
              <a:uFillTx/>
              <a:latin typeface="Arial"/>
              <a:ea typeface="+mn-ea"/>
              <a:cs typeface="+mn-cs"/>
            </a:endParaRPr>
          </a:p>
          <a:p>
            <a:pPr marL="285750" lvl="0" indent="-285750" defTabSz="914400">
              <a:buClr>
                <a:srgbClr val="68D2DF"/>
              </a:buClr>
              <a:buFont typeface="Arial" panose="020B0604020202020204" pitchFamily="34" charset="0"/>
              <a:buChar char="•"/>
              <a:defRPr/>
            </a:pPr>
            <a:r>
              <a:rPr kumimoji="1" lang="ru-RU" sz="1400" dirty="0">
                <a:solidFill>
                  <a:srgbClr val="000000"/>
                </a:solidFill>
              </a:rPr>
              <a:t>мутации с утратой 14 экзона </a:t>
            </a:r>
            <a:r>
              <a:rPr kumimoji="1" lang="en-GB" sz="1400" i="1" dirty="0">
                <a:solidFill>
                  <a:srgbClr val="000000"/>
                </a:solidFill>
              </a:rPr>
              <a:t>MET</a:t>
            </a:r>
            <a:r>
              <a:rPr kumimoji="1" lang="en-GB" sz="1400" dirty="0">
                <a:solidFill>
                  <a:srgbClr val="000000"/>
                </a:solidFill>
              </a:rPr>
              <a:t>ex14 </a:t>
            </a:r>
            <a:endParaRPr kumimoji="1" lang="ru-RU" sz="1400" dirty="0">
              <a:solidFill>
                <a:srgbClr val="000000"/>
              </a:solidFill>
            </a:endParaRPr>
          </a:p>
          <a:p>
            <a:pPr marL="285750" lvl="0" indent="-285750" defTabSz="914400">
              <a:buClr>
                <a:srgbClr val="68D2DF"/>
              </a:buClr>
              <a:buFont typeface="Arial" panose="020B0604020202020204" pitchFamily="34" charset="0"/>
              <a:buChar char="•"/>
              <a:defRPr/>
            </a:pPr>
            <a:r>
              <a:rPr kumimoji="1" lang="ru-RU" sz="1400" dirty="0">
                <a:solidFill>
                  <a:srgbClr val="000000"/>
                </a:solidFill>
              </a:rPr>
              <a:t>слияние генов </a:t>
            </a:r>
            <a:r>
              <a:rPr kumimoji="1" lang="en-GB" sz="1400" i="1" dirty="0">
                <a:solidFill>
                  <a:srgbClr val="000000"/>
                </a:solidFill>
              </a:rPr>
              <a:t>NTRK1/2/3</a:t>
            </a:r>
            <a:r>
              <a:rPr kumimoji="1" lang="en-GB" sz="1400" dirty="0">
                <a:solidFill>
                  <a:srgbClr val="000000"/>
                </a:solidFill>
              </a:rPr>
              <a:t> </a:t>
            </a:r>
            <a:endParaRPr kumimoji="1" lang="ru-RU" sz="1400" dirty="0">
              <a:solidFill>
                <a:srgbClr val="000000"/>
              </a:solidFill>
            </a:endParaRPr>
          </a:p>
          <a:p>
            <a:pPr marL="285750" lvl="0" indent="-285750" defTabSz="914400">
              <a:buClr>
                <a:srgbClr val="68D2DF"/>
              </a:buClr>
              <a:buFont typeface="Arial" panose="020B0604020202020204" pitchFamily="34" charset="0"/>
              <a:buChar char="•"/>
              <a:defRPr/>
            </a:pPr>
            <a:r>
              <a:rPr kumimoji="1" lang="ru-RU" sz="1400" dirty="0">
                <a:solidFill>
                  <a:srgbClr val="000000"/>
                </a:solidFill>
              </a:rPr>
              <a:t>транслокации </a:t>
            </a:r>
            <a:r>
              <a:rPr kumimoji="1" lang="en-GB" sz="1400" i="1" dirty="0">
                <a:solidFill>
                  <a:srgbClr val="000000"/>
                </a:solidFill>
              </a:rPr>
              <a:t>RET</a:t>
            </a:r>
            <a:endParaRPr lang="ru-RU" sz="1400" dirty="0">
              <a:solidFill>
                <a:srgbClr val="000000"/>
              </a:solidFill>
            </a:endParaRPr>
          </a:p>
          <a:p>
            <a:pPr marL="285750" lvl="0" indent="-285750" defTabSz="914400">
              <a:buClr>
                <a:srgbClr val="68D2DF"/>
              </a:buClr>
              <a:buFont typeface="Arial" panose="020B0604020202020204" pitchFamily="34" charset="0"/>
              <a:buChar char="•"/>
              <a:defRPr/>
            </a:pPr>
            <a:r>
              <a:rPr kumimoji="1" lang="ru-RU" sz="1400" dirty="0">
                <a:solidFill>
                  <a:srgbClr val="000000"/>
                </a:solidFill>
              </a:rPr>
              <a:t>транслокации </a:t>
            </a:r>
            <a:r>
              <a:rPr kumimoji="1" lang="en-GB" sz="1400" i="1" dirty="0">
                <a:solidFill>
                  <a:srgbClr val="000000"/>
                </a:solidFill>
              </a:rPr>
              <a:t>ROS1</a:t>
            </a:r>
            <a:endParaRPr lang="en-GB" sz="1400" dirty="0"/>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endParaRPr kumimoji="1" lang="ru-RU" sz="1400" dirty="0">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endParaRPr kumimoji="1" lang="ru-RU" sz="1400" dirty="0">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
                <a:srgbClr val="68D2DF"/>
              </a:buClr>
              <a:buSzTx/>
              <a:buFont typeface="Arial" panose="020B0604020202020204" pitchFamily="34" charset="0"/>
              <a:buChar char="•"/>
              <a:tabLst/>
              <a:defRPr/>
            </a:pPr>
            <a:endParaRPr kumimoji="1" lang="ru-RU" sz="1400" dirty="0">
              <a:solidFill>
                <a:srgbClr val="000000"/>
              </a:solidFill>
              <a:latin typeface="Arial"/>
            </a:endParaRPr>
          </a:p>
        </p:txBody>
      </p:sp>
    </p:spTree>
    <p:extLst>
      <p:ext uri="{BB962C8B-B14F-4D97-AF65-F5344CB8AC3E}">
        <p14:creationId xmlns:p14="http://schemas.microsoft.com/office/powerpoint/2010/main" val="11825187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FF6629-F939-466E-A821-F98E987E7B95}"/>
              </a:ext>
            </a:extLst>
          </p:cNvPr>
          <p:cNvSpPr>
            <a:spLocks noGrp="1"/>
          </p:cNvSpPr>
          <p:nvPr>
            <p:ph type="title"/>
          </p:nvPr>
        </p:nvSpPr>
        <p:spPr>
          <a:xfrm>
            <a:off x="237062" y="62719"/>
            <a:ext cx="8765651" cy="504000"/>
          </a:xfrm>
        </p:spPr>
        <p:txBody>
          <a:bodyPr rtlCol="0"/>
          <a:lstStyle/>
          <a:p>
            <a:pPr rtl="0"/>
            <a:r>
              <a:rPr lang="ru" dirty="0"/>
              <a:t>Рекомендации по определению статуса </a:t>
            </a:r>
            <a:r>
              <a:rPr lang="ru" i="1" dirty="0"/>
              <a:t>HER2</a:t>
            </a:r>
            <a:r>
              <a:rPr lang="ru" dirty="0"/>
              <a:t> </a:t>
            </a:r>
            <a:r>
              <a:rPr lang="en-US" dirty="0"/>
              <a:t/>
            </a:r>
            <a:br>
              <a:rPr lang="en-US" dirty="0"/>
            </a:br>
            <a:r>
              <a:rPr lang="ru" dirty="0"/>
              <a:t>при распространенном НМРЛ</a:t>
            </a:r>
          </a:p>
        </p:txBody>
      </p:sp>
      <p:sp>
        <p:nvSpPr>
          <p:cNvPr id="3" name="Text Placeholder 2">
            <a:extLst>
              <a:ext uri="{FF2B5EF4-FFF2-40B4-BE49-F238E27FC236}">
                <a16:creationId xmlns:a16="http://schemas.microsoft.com/office/drawing/2014/main" xmlns="" id="{3E5115A2-8E59-4353-88E2-F6709F9015E1}"/>
              </a:ext>
            </a:extLst>
          </p:cNvPr>
          <p:cNvSpPr>
            <a:spLocks noGrp="1"/>
          </p:cNvSpPr>
          <p:nvPr>
            <p:ph type="body" sz="quarter" idx="4294967295"/>
          </p:nvPr>
        </p:nvSpPr>
        <p:spPr>
          <a:xfrm>
            <a:off x="125883" y="4681107"/>
            <a:ext cx="8502445" cy="393700"/>
          </a:xfrm>
          <a:prstGeom prst="rect">
            <a:avLst/>
          </a:prstGeom>
        </p:spPr>
        <p:txBody>
          <a:bodyPr rtlCol="0">
            <a:noAutofit/>
          </a:bodyPr>
          <a:lstStyle/>
          <a:p>
            <a:pPr marL="0" indent="0">
              <a:lnSpc>
                <a:spcPct val="110000"/>
              </a:lnSpc>
              <a:spcBef>
                <a:spcPts val="0"/>
              </a:spcBef>
              <a:buNone/>
            </a:pPr>
            <a:r>
              <a:rPr lang="ru" sz="600" b="1" dirty="0"/>
              <a:t>1. </a:t>
            </a:r>
            <a:r>
              <a:rPr lang="ru" sz="600" dirty="0"/>
              <a:t>Lindeman NI, et al. </a:t>
            </a:r>
            <a:r>
              <a:rPr lang="ru" sz="600" i="1" dirty="0"/>
              <a:t>J Thoracic Oncol. </a:t>
            </a:r>
            <a:r>
              <a:rPr lang="ru" sz="600" dirty="0"/>
              <a:t>2018;13(3):323-358. </a:t>
            </a:r>
            <a:r>
              <a:rPr lang="ru" sz="600" b="1" dirty="0"/>
              <a:t>2</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NCCN Guidelines Version 1.2023 Non-Small Cell Lung Cancer. © </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Национальная сеть многопрофильных онкологических учреждений США, Инк. </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hlinkClick r:id="rId3"/>
              </a:rPr>
              <a:t>https://www.nccn.org/guidelines/guidelines-detail?category=1&amp;id=1450</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дата </a:t>
            </a:r>
            <a:r>
              <a:rPr lang="ru-RU" sz="600" dirty="0">
                <a:solidFill>
                  <a:srgbClr val="000000"/>
                </a:solidFill>
              </a:rPr>
              <a:t>обращения</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07.02.23)</a:t>
            </a:r>
            <a:r>
              <a:rPr lang="ru" sz="600" dirty="0"/>
              <a:t>. </a:t>
            </a:r>
            <a:r>
              <a:rPr lang="ru" sz="600" b="1" dirty="0"/>
              <a:t>3. </a:t>
            </a:r>
            <a:r>
              <a:rPr lang="en-GB" sz="600" dirty="0"/>
              <a:t>L.E. Hendriks, et al. Annals of Oncology, 2023,https://doi.org/10.1016/j.annonc.2022.12.009.</a:t>
            </a:r>
            <a:r>
              <a:rPr lang="ru" sz="600" dirty="0"/>
              <a:t> </a:t>
            </a:r>
            <a:r>
              <a:rPr lang="ru" sz="600" b="1" dirty="0"/>
              <a:t>4. </a:t>
            </a:r>
            <a:r>
              <a:rPr lang="ru-RU" sz="600" dirty="0"/>
              <a:t>Клинические рекомендации АОР и </a:t>
            </a:r>
            <a:r>
              <a:rPr lang="en-GB" sz="600" dirty="0"/>
              <a:t>RUSSCO </a:t>
            </a:r>
            <a:r>
              <a:rPr lang="ru-RU" sz="600" dirty="0"/>
              <a:t>«Злокачественное новообразование бронхов и легкого» 2021</a:t>
            </a:r>
            <a:r>
              <a:rPr lang="en-GB" sz="600" dirty="0"/>
              <a:t> https://oncology-association.ru/wp-content/uploads/2021/02/rak-legkogo-2021.pdf (</a:t>
            </a:r>
            <a:r>
              <a:rPr lang="ru-RU" sz="600" dirty="0"/>
              <a:t>дата доступа: 07.02.23) </a:t>
            </a:r>
            <a:r>
              <a:rPr lang="ru-RU" sz="600" b="1" dirty="0"/>
              <a:t>5.</a:t>
            </a:r>
            <a:r>
              <a:rPr lang="ru-RU" sz="600" dirty="0"/>
              <a:t> Лактионов, К. К., Артамонова, Е. В., </a:t>
            </a:r>
            <a:r>
              <a:rPr lang="ru-RU" sz="600" dirty="0" err="1"/>
              <a:t>Бредер</a:t>
            </a:r>
            <a:r>
              <a:rPr lang="ru-RU" sz="600" dirty="0"/>
              <a:t>, В. В., Горбунова, В. А., Демидова, И. А., Деньгина, Н. В., ... &amp; Черных, М. В. (2022). Практические рекомендации по лекарственному лечению </a:t>
            </a:r>
            <a:r>
              <a:rPr lang="ru-RU" sz="600" dirty="0" err="1"/>
              <a:t>немелкоклеточного</a:t>
            </a:r>
            <a:r>
              <a:rPr lang="ru-RU" sz="600" dirty="0"/>
              <a:t> рака легкого. Злокачественные опухоли, 12(3s2-1), 41-59.</a:t>
            </a:r>
          </a:p>
        </p:txBody>
      </p:sp>
      <p:grpSp>
        <p:nvGrpSpPr>
          <p:cNvPr id="9" name="Group 8">
            <a:extLst>
              <a:ext uri="{FF2B5EF4-FFF2-40B4-BE49-F238E27FC236}">
                <a16:creationId xmlns:a16="http://schemas.microsoft.com/office/drawing/2014/main" xmlns="" id="{D1E5650E-7984-49C8-874D-0475576B1684}"/>
              </a:ext>
            </a:extLst>
          </p:cNvPr>
          <p:cNvGrpSpPr/>
          <p:nvPr/>
        </p:nvGrpSpPr>
        <p:grpSpPr>
          <a:xfrm>
            <a:off x="607885" y="946266"/>
            <a:ext cx="7827662" cy="1759662"/>
            <a:chOff x="990854" y="916965"/>
            <a:chExt cx="10436883" cy="2741521"/>
          </a:xfrm>
        </p:grpSpPr>
        <p:sp>
          <p:nvSpPr>
            <p:cNvPr id="10" name="Freeform: Shape 9">
              <a:extLst>
                <a:ext uri="{FF2B5EF4-FFF2-40B4-BE49-F238E27FC236}">
                  <a16:creationId xmlns:a16="http://schemas.microsoft.com/office/drawing/2014/main" xmlns="" id="{6393F6A8-5BF0-4845-95B2-FE3048012902}"/>
                </a:ext>
              </a:extLst>
            </p:cNvPr>
            <p:cNvSpPr/>
            <p:nvPr/>
          </p:nvSpPr>
          <p:spPr>
            <a:xfrm>
              <a:off x="990854" y="916965"/>
              <a:ext cx="3181976" cy="576000"/>
            </a:xfrm>
            <a:custGeom>
              <a:avLst/>
              <a:gdLst>
                <a:gd name="connsiteX0" fmla="*/ 0 w 3181976"/>
                <a:gd name="connsiteY0" fmla="*/ 0 h 576000"/>
                <a:gd name="connsiteX1" fmla="*/ 3181976 w 3181976"/>
                <a:gd name="connsiteY1" fmla="*/ 0 h 576000"/>
                <a:gd name="connsiteX2" fmla="*/ 3181976 w 3181976"/>
                <a:gd name="connsiteY2" fmla="*/ 576000 h 576000"/>
                <a:gd name="connsiteX3" fmla="*/ 0 w 3181976"/>
                <a:gd name="connsiteY3" fmla="*/ 576000 h 576000"/>
                <a:gd name="connsiteX4" fmla="*/ 0 w 3181976"/>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576000">
                  <a:moveTo>
                    <a:pt x="0" y="0"/>
                  </a:moveTo>
                  <a:lnTo>
                    <a:pt x="3181976" y="0"/>
                  </a:lnTo>
                  <a:lnTo>
                    <a:pt x="3181976" y="576000"/>
                  </a:lnTo>
                  <a:lnTo>
                    <a:pt x="0" y="576000"/>
                  </a:lnTo>
                  <a:lnTo>
                    <a:pt x="0" y="0"/>
                  </a:lnTo>
                  <a:close/>
                </a:path>
              </a:pathLst>
            </a:custGeom>
            <a:solidFill>
              <a:schemeClr val="tx2"/>
            </a:solidFill>
            <a:ln>
              <a:solidFill>
                <a:schemeClr val="tx2"/>
              </a:solidFill>
            </a:ln>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6680" tIns="60960" rIns="106680" bIns="60960" numCol="1" spcCol="1270" rtlCol="0" anchor="ctr" anchorCtr="0">
              <a:noAutofit/>
            </a:bodyPr>
            <a:lstStyle/>
            <a:p>
              <a:pPr algn="ctr" defTabSz="666750">
                <a:lnSpc>
                  <a:spcPct val="90000"/>
                </a:lnSpc>
                <a:spcBef>
                  <a:spcPct val="0"/>
                </a:spcBef>
                <a:spcAft>
                  <a:spcPct val="35000"/>
                </a:spcAft>
                <a:defRPr/>
              </a:pPr>
              <a:r>
                <a:rPr lang="ru" sz="1500" b="1" dirty="0">
                  <a:solidFill>
                    <a:srgbClr val="FFFFFF"/>
                  </a:solidFill>
                  <a:latin typeface="Arial"/>
                </a:rPr>
                <a:t>CAP/IASLC/AMP</a:t>
              </a:r>
            </a:p>
          </p:txBody>
        </p:sp>
        <p:sp>
          <p:nvSpPr>
            <p:cNvPr id="11" name="Freeform: Shape 10">
              <a:extLst>
                <a:ext uri="{FF2B5EF4-FFF2-40B4-BE49-F238E27FC236}">
                  <a16:creationId xmlns:a16="http://schemas.microsoft.com/office/drawing/2014/main" xmlns="" id="{013DA27B-16C1-419C-A4E9-E8E78D5FDE51}"/>
                </a:ext>
              </a:extLst>
            </p:cNvPr>
            <p:cNvSpPr/>
            <p:nvPr/>
          </p:nvSpPr>
          <p:spPr>
            <a:xfrm>
              <a:off x="990854" y="1492966"/>
              <a:ext cx="3181976" cy="2165520"/>
            </a:xfrm>
            <a:custGeom>
              <a:avLst/>
              <a:gdLst>
                <a:gd name="connsiteX0" fmla="*/ 0 w 3181976"/>
                <a:gd name="connsiteY0" fmla="*/ 0 h 3273412"/>
                <a:gd name="connsiteX1" fmla="*/ 3181976 w 3181976"/>
                <a:gd name="connsiteY1" fmla="*/ 0 h 3273412"/>
                <a:gd name="connsiteX2" fmla="*/ 3181976 w 3181976"/>
                <a:gd name="connsiteY2" fmla="*/ 3273412 h 3273412"/>
                <a:gd name="connsiteX3" fmla="*/ 0 w 3181976"/>
                <a:gd name="connsiteY3" fmla="*/ 3273412 h 3273412"/>
                <a:gd name="connsiteX4" fmla="*/ 0 w 3181976"/>
                <a:gd name="connsiteY4" fmla="*/ 0 h 32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3273412">
                  <a:moveTo>
                    <a:pt x="0" y="0"/>
                  </a:moveTo>
                  <a:lnTo>
                    <a:pt x="3181976" y="0"/>
                  </a:lnTo>
                  <a:lnTo>
                    <a:pt x="3181976" y="3273412"/>
                  </a:lnTo>
                  <a:lnTo>
                    <a:pt x="0" y="3273412"/>
                  </a:lnTo>
                  <a:lnTo>
                    <a:pt x="0" y="0"/>
                  </a:lnTo>
                  <a:close/>
                </a:path>
              </a:pathLst>
            </a:cu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rtlCol="0" anchor="t" anchorCtr="0">
              <a:noAutofit/>
            </a:bodyPr>
            <a:lstStyle/>
            <a:p>
              <a:pPr marL="128588" lvl="1" defTabSz="666750">
                <a:spcBef>
                  <a:spcPct val="0"/>
                </a:spcBef>
                <a:defRPr/>
              </a:pPr>
              <a:r>
                <a:rPr lang="ru" sz="1050" dirty="0">
                  <a:solidFill>
                    <a:srgbClr val="000000">
                      <a:hueOff val="0"/>
                      <a:satOff val="0"/>
                      <a:lumOff val="0"/>
                      <a:alphaOff val="0"/>
                    </a:srgbClr>
                  </a:solidFill>
                  <a:latin typeface="Arial"/>
                </a:rPr>
                <a:t>В руководстве CAP/IASLC/AMP рекомендуется включать определение наличия мутации </a:t>
              </a:r>
              <a:r>
                <a:rPr lang="ru" sz="1050" i="1" dirty="0">
                  <a:solidFill>
                    <a:srgbClr val="000000">
                      <a:hueOff val="0"/>
                      <a:satOff val="0"/>
                      <a:lumOff val="0"/>
                      <a:alphaOff val="0"/>
                    </a:srgbClr>
                  </a:solidFill>
                  <a:latin typeface="Arial"/>
                </a:rPr>
                <a:t>HER2</a:t>
              </a:r>
              <a:r>
                <a:rPr lang="ru" sz="1050" dirty="0">
                  <a:solidFill>
                    <a:srgbClr val="000000">
                      <a:hueOff val="0"/>
                      <a:satOff val="0"/>
                      <a:lumOff val="0"/>
                      <a:alphaOff val="0"/>
                    </a:srgbClr>
                  </a:solidFill>
                  <a:latin typeface="Arial"/>
                </a:rPr>
                <a:t> в любую расширенную или комплексную панель, предлагаемую пациентам с распространенным раком легк</a:t>
              </a:r>
              <a:r>
                <a:rPr lang="ru-RU" sz="1050" dirty="0">
                  <a:solidFill>
                    <a:srgbClr val="000000">
                      <a:hueOff val="0"/>
                      <a:satOff val="0"/>
                      <a:lumOff val="0"/>
                      <a:alphaOff val="0"/>
                    </a:srgbClr>
                  </a:solidFill>
                  <a:latin typeface="Arial"/>
                </a:rPr>
                <a:t>ого</a:t>
              </a:r>
              <a:r>
                <a:rPr lang="ru" sz="1050" baseline="30000" dirty="0">
                  <a:solidFill>
                    <a:srgbClr val="000000">
                      <a:hueOff val="0"/>
                      <a:satOff val="0"/>
                      <a:lumOff val="0"/>
                      <a:alphaOff val="0"/>
                    </a:srgbClr>
                  </a:solidFill>
                  <a:latin typeface="Arial"/>
                </a:rPr>
                <a:t>1 </a:t>
              </a:r>
              <a:endParaRPr lang="en-US" sz="1050" dirty="0">
                <a:solidFill>
                  <a:srgbClr val="000000">
                    <a:hueOff val="0"/>
                    <a:satOff val="0"/>
                    <a:lumOff val="0"/>
                    <a:alphaOff val="0"/>
                  </a:srgbClr>
                </a:solidFill>
                <a:latin typeface="Arial"/>
              </a:endParaRPr>
            </a:p>
          </p:txBody>
        </p:sp>
        <p:sp>
          <p:nvSpPr>
            <p:cNvPr id="12" name="Freeform: Shape 11">
              <a:extLst>
                <a:ext uri="{FF2B5EF4-FFF2-40B4-BE49-F238E27FC236}">
                  <a16:creationId xmlns:a16="http://schemas.microsoft.com/office/drawing/2014/main" xmlns="" id="{B3CDA20B-50A0-4987-889B-61B8D330D50D}"/>
                </a:ext>
              </a:extLst>
            </p:cNvPr>
            <p:cNvSpPr/>
            <p:nvPr/>
          </p:nvSpPr>
          <p:spPr>
            <a:xfrm>
              <a:off x="4618308" y="916965"/>
              <a:ext cx="3181976" cy="576000"/>
            </a:xfrm>
            <a:custGeom>
              <a:avLst/>
              <a:gdLst>
                <a:gd name="connsiteX0" fmla="*/ 0 w 3181976"/>
                <a:gd name="connsiteY0" fmla="*/ 0 h 576000"/>
                <a:gd name="connsiteX1" fmla="*/ 3181976 w 3181976"/>
                <a:gd name="connsiteY1" fmla="*/ 0 h 576000"/>
                <a:gd name="connsiteX2" fmla="*/ 3181976 w 3181976"/>
                <a:gd name="connsiteY2" fmla="*/ 576000 h 576000"/>
                <a:gd name="connsiteX3" fmla="*/ 0 w 3181976"/>
                <a:gd name="connsiteY3" fmla="*/ 576000 h 576000"/>
                <a:gd name="connsiteX4" fmla="*/ 0 w 3181976"/>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576000">
                  <a:moveTo>
                    <a:pt x="0" y="0"/>
                  </a:moveTo>
                  <a:lnTo>
                    <a:pt x="3181976" y="0"/>
                  </a:lnTo>
                  <a:lnTo>
                    <a:pt x="3181976" y="576000"/>
                  </a:lnTo>
                  <a:lnTo>
                    <a:pt x="0" y="576000"/>
                  </a:lnTo>
                  <a:lnTo>
                    <a:pt x="0" y="0"/>
                  </a:lnTo>
                  <a:close/>
                </a:path>
              </a:pathLst>
            </a:custGeom>
            <a:solidFill>
              <a:schemeClr val="accent3">
                <a:lumMod val="75000"/>
              </a:schemeClr>
            </a:solidFill>
            <a:ln>
              <a:solidFill>
                <a:schemeClr val="accent3">
                  <a:lumMod val="75000"/>
                </a:schemeClr>
              </a:solidFill>
            </a:ln>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6680" tIns="60960" rIns="106680" bIns="60960" numCol="1" spcCol="1270" rtlCol="0" anchor="ctr" anchorCtr="0">
              <a:noAutofit/>
            </a:bodyPr>
            <a:lstStyle/>
            <a:p>
              <a:pPr algn="ctr" defTabSz="666750">
                <a:lnSpc>
                  <a:spcPct val="90000"/>
                </a:lnSpc>
                <a:spcBef>
                  <a:spcPct val="0"/>
                </a:spcBef>
                <a:spcAft>
                  <a:spcPct val="35000"/>
                </a:spcAft>
                <a:defRPr/>
              </a:pPr>
              <a:r>
                <a:rPr lang="ru" sz="1500" b="1">
                  <a:solidFill>
                    <a:srgbClr val="FFFFFF"/>
                  </a:solidFill>
                  <a:latin typeface="Arial"/>
                </a:rPr>
                <a:t>NCCN</a:t>
              </a:r>
            </a:p>
          </p:txBody>
        </p:sp>
        <p:sp>
          <p:nvSpPr>
            <p:cNvPr id="13" name="Freeform: Shape 12">
              <a:extLst>
                <a:ext uri="{FF2B5EF4-FFF2-40B4-BE49-F238E27FC236}">
                  <a16:creationId xmlns:a16="http://schemas.microsoft.com/office/drawing/2014/main" xmlns="" id="{A4C915A5-F3CF-4727-86FF-37B007E1E82D}"/>
                </a:ext>
              </a:extLst>
            </p:cNvPr>
            <p:cNvSpPr/>
            <p:nvPr/>
          </p:nvSpPr>
          <p:spPr>
            <a:xfrm>
              <a:off x="4618308" y="1492965"/>
              <a:ext cx="3181976" cy="2165521"/>
            </a:xfrm>
            <a:custGeom>
              <a:avLst/>
              <a:gdLst>
                <a:gd name="connsiteX0" fmla="*/ 0 w 3181976"/>
                <a:gd name="connsiteY0" fmla="*/ 0 h 3273412"/>
                <a:gd name="connsiteX1" fmla="*/ 3181976 w 3181976"/>
                <a:gd name="connsiteY1" fmla="*/ 0 h 3273412"/>
                <a:gd name="connsiteX2" fmla="*/ 3181976 w 3181976"/>
                <a:gd name="connsiteY2" fmla="*/ 3273412 h 3273412"/>
                <a:gd name="connsiteX3" fmla="*/ 0 w 3181976"/>
                <a:gd name="connsiteY3" fmla="*/ 3273412 h 3273412"/>
                <a:gd name="connsiteX4" fmla="*/ 0 w 3181976"/>
                <a:gd name="connsiteY4" fmla="*/ 0 h 32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3273412">
                  <a:moveTo>
                    <a:pt x="0" y="0"/>
                  </a:moveTo>
                  <a:lnTo>
                    <a:pt x="3181976" y="0"/>
                  </a:lnTo>
                  <a:lnTo>
                    <a:pt x="3181976" y="3273412"/>
                  </a:lnTo>
                  <a:lnTo>
                    <a:pt x="0" y="3273412"/>
                  </a:lnTo>
                  <a:lnTo>
                    <a:pt x="0" y="0"/>
                  </a:lnTo>
                  <a:close/>
                </a:path>
              </a:pathLst>
            </a:cu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rtlCol="0" anchor="t" anchorCtr="0">
              <a:noAutofit/>
            </a:bodyPr>
            <a:lstStyle/>
            <a:p>
              <a:pPr marL="171450" lvl="1" defTabSz="666750">
                <a:spcBef>
                  <a:spcPct val="0"/>
                </a:spcBef>
                <a:defRPr/>
              </a:pPr>
              <a:r>
                <a:rPr lang="ru" sz="1050" dirty="0">
                  <a:solidFill>
                    <a:srgbClr val="000000">
                      <a:hueOff val="0"/>
                      <a:satOff val="0"/>
                      <a:lumOff val="0"/>
                      <a:alphaOff val="0"/>
                    </a:srgbClr>
                  </a:solidFill>
                  <a:latin typeface="Arial"/>
                </a:rPr>
                <a:t>В дополнение к рутинному анализу биомаркеров, руководство NCCN рекомендует более широкое молекулярное профилирование для выявления новых биомаркеров, таких как мутации </a:t>
              </a:r>
              <a:r>
                <a:rPr lang="ru" sz="1050" i="1" dirty="0">
                  <a:solidFill>
                    <a:srgbClr val="000000">
                      <a:hueOff val="0"/>
                      <a:satOff val="0"/>
                      <a:lumOff val="0"/>
                      <a:alphaOff val="0"/>
                    </a:srgbClr>
                  </a:solidFill>
                  <a:latin typeface="Arial"/>
                </a:rPr>
                <a:t>HER2 </a:t>
              </a:r>
              <a:r>
                <a:rPr lang="ru" sz="1050" baseline="30000" dirty="0">
                  <a:solidFill>
                    <a:srgbClr val="000000">
                      <a:hueOff val="0"/>
                      <a:satOff val="0"/>
                      <a:lumOff val="0"/>
                      <a:alphaOff val="0"/>
                    </a:srgbClr>
                  </a:solidFill>
                  <a:latin typeface="Arial"/>
                </a:rPr>
                <a:t>2</a:t>
              </a:r>
              <a:r>
                <a:rPr lang="ru" sz="1050" dirty="0">
                  <a:solidFill>
                    <a:srgbClr val="000000">
                      <a:hueOff val="0"/>
                      <a:satOff val="0"/>
                      <a:lumOff val="0"/>
                      <a:alphaOff val="0"/>
                    </a:srgbClr>
                  </a:solidFill>
                  <a:latin typeface="Arial"/>
                </a:rPr>
                <a:t> </a:t>
              </a:r>
              <a:r>
                <a:rPr lang="en-US" sz="1050" dirty="0">
                  <a:solidFill>
                    <a:srgbClr val="000000">
                      <a:hueOff val="0"/>
                      <a:satOff val="0"/>
                      <a:lumOff val="0"/>
                      <a:alphaOff val="0"/>
                    </a:srgbClr>
                  </a:solidFill>
                  <a:latin typeface="Arial"/>
                </a:rPr>
                <a:t/>
              </a:r>
              <a:br>
                <a:rPr lang="en-US" sz="1050" dirty="0">
                  <a:solidFill>
                    <a:srgbClr val="000000">
                      <a:hueOff val="0"/>
                      <a:satOff val="0"/>
                      <a:lumOff val="0"/>
                      <a:alphaOff val="0"/>
                    </a:srgbClr>
                  </a:solidFill>
                  <a:latin typeface="Arial"/>
                </a:rPr>
              </a:br>
              <a:endParaRPr lang="en-US" sz="1050" dirty="0">
                <a:solidFill>
                  <a:srgbClr val="000000">
                    <a:hueOff val="0"/>
                    <a:satOff val="0"/>
                    <a:lumOff val="0"/>
                    <a:alphaOff val="0"/>
                  </a:srgbClr>
                </a:solidFill>
                <a:latin typeface="Arial"/>
              </a:endParaRPr>
            </a:p>
          </p:txBody>
        </p:sp>
        <p:sp>
          <p:nvSpPr>
            <p:cNvPr id="14" name="Freeform: Shape 13">
              <a:extLst>
                <a:ext uri="{FF2B5EF4-FFF2-40B4-BE49-F238E27FC236}">
                  <a16:creationId xmlns:a16="http://schemas.microsoft.com/office/drawing/2014/main" xmlns="" id="{CCB0F49F-828D-4047-9E23-B31D509025EA}"/>
                </a:ext>
              </a:extLst>
            </p:cNvPr>
            <p:cNvSpPr/>
            <p:nvPr/>
          </p:nvSpPr>
          <p:spPr>
            <a:xfrm>
              <a:off x="8245761" y="916965"/>
              <a:ext cx="3181976" cy="576000"/>
            </a:xfrm>
            <a:custGeom>
              <a:avLst/>
              <a:gdLst>
                <a:gd name="connsiteX0" fmla="*/ 0 w 3181976"/>
                <a:gd name="connsiteY0" fmla="*/ 0 h 576000"/>
                <a:gd name="connsiteX1" fmla="*/ 3181976 w 3181976"/>
                <a:gd name="connsiteY1" fmla="*/ 0 h 576000"/>
                <a:gd name="connsiteX2" fmla="*/ 3181976 w 3181976"/>
                <a:gd name="connsiteY2" fmla="*/ 576000 h 576000"/>
                <a:gd name="connsiteX3" fmla="*/ 0 w 3181976"/>
                <a:gd name="connsiteY3" fmla="*/ 576000 h 576000"/>
                <a:gd name="connsiteX4" fmla="*/ 0 w 3181976"/>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576000">
                  <a:moveTo>
                    <a:pt x="0" y="0"/>
                  </a:moveTo>
                  <a:lnTo>
                    <a:pt x="3181976" y="0"/>
                  </a:lnTo>
                  <a:lnTo>
                    <a:pt x="3181976" y="576000"/>
                  </a:lnTo>
                  <a:lnTo>
                    <a:pt x="0" y="576000"/>
                  </a:lnTo>
                  <a:lnTo>
                    <a:pt x="0" y="0"/>
                  </a:lnTo>
                  <a:close/>
                </a:path>
              </a:pathLst>
            </a:custGeom>
            <a:solidFill>
              <a:schemeClr val="accent4">
                <a:lumMod val="75000"/>
              </a:schemeClr>
            </a:solidFill>
            <a:ln>
              <a:solidFill>
                <a:schemeClr val="accent4">
                  <a:lumMod val="75000"/>
                </a:schemeClr>
              </a:solid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6680" tIns="60960" rIns="106680" bIns="60960" numCol="1" spcCol="1270" rtlCol="0" anchor="ctr" anchorCtr="0">
              <a:noAutofit/>
            </a:bodyPr>
            <a:lstStyle/>
            <a:p>
              <a:pPr algn="ctr" defTabSz="666750">
                <a:lnSpc>
                  <a:spcPct val="90000"/>
                </a:lnSpc>
                <a:spcBef>
                  <a:spcPct val="0"/>
                </a:spcBef>
                <a:spcAft>
                  <a:spcPct val="35000"/>
                </a:spcAft>
                <a:defRPr/>
              </a:pPr>
              <a:r>
                <a:rPr lang="ru" sz="1500" b="1" dirty="0">
                  <a:solidFill>
                    <a:srgbClr val="FFFFFF"/>
                  </a:solidFill>
                  <a:latin typeface="Arial"/>
                </a:rPr>
                <a:t>ESMO</a:t>
              </a:r>
            </a:p>
          </p:txBody>
        </p:sp>
        <p:sp>
          <p:nvSpPr>
            <p:cNvPr id="15" name="Freeform: Shape 14">
              <a:extLst>
                <a:ext uri="{FF2B5EF4-FFF2-40B4-BE49-F238E27FC236}">
                  <a16:creationId xmlns:a16="http://schemas.microsoft.com/office/drawing/2014/main" xmlns="" id="{01A85B08-2CBB-4302-A1A4-964E58F7C3F8}"/>
                </a:ext>
              </a:extLst>
            </p:cNvPr>
            <p:cNvSpPr/>
            <p:nvPr/>
          </p:nvSpPr>
          <p:spPr>
            <a:xfrm>
              <a:off x="8245761" y="1492965"/>
              <a:ext cx="3181976" cy="2165521"/>
            </a:xfrm>
            <a:custGeom>
              <a:avLst/>
              <a:gdLst>
                <a:gd name="connsiteX0" fmla="*/ 0 w 3181976"/>
                <a:gd name="connsiteY0" fmla="*/ 0 h 3273412"/>
                <a:gd name="connsiteX1" fmla="*/ 3181976 w 3181976"/>
                <a:gd name="connsiteY1" fmla="*/ 0 h 3273412"/>
                <a:gd name="connsiteX2" fmla="*/ 3181976 w 3181976"/>
                <a:gd name="connsiteY2" fmla="*/ 3273412 h 3273412"/>
                <a:gd name="connsiteX3" fmla="*/ 0 w 3181976"/>
                <a:gd name="connsiteY3" fmla="*/ 3273412 h 3273412"/>
                <a:gd name="connsiteX4" fmla="*/ 0 w 3181976"/>
                <a:gd name="connsiteY4" fmla="*/ 0 h 32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3273412">
                  <a:moveTo>
                    <a:pt x="0" y="0"/>
                  </a:moveTo>
                  <a:lnTo>
                    <a:pt x="3181976" y="0"/>
                  </a:lnTo>
                  <a:lnTo>
                    <a:pt x="3181976" y="3273412"/>
                  </a:lnTo>
                  <a:lnTo>
                    <a:pt x="0" y="3273412"/>
                  </a:lnTo>
                  <a:lnTo>
                    <a:pt x="0" y="0"/>
                  </a:lnTo>
                  <a:close/>
                </a:path>
              </a:pathLst>
            </a:cu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rtlCol="0" anchor="t" anchorCtr="0">
              <a:noAutofit/>
            </a:bodyPr>
            <a:lstStyle/>
            <a:p>
              <a:pPr defTabSz="342875">
                <a:spcBef>
                  <a:spcPts val="450"/>
                </a:spcBef>
                <a:buClr>
                  <a:srgbClr val="68D2DF"/>
                </a:buClr>
                <a:defRPr/>
              </a:pPr>
              <a:r>
                <a:rPr lang="ru" sz="1050" dirty="0">
                  <a:solidFill>
                    <a:srgbClr val="000000">
                      <a:hueOff val="0"/>
                      <a:satOff val="0"/>
                      <a:lumOff val="0"/>
                      <a:alphaOff val="0"/>
                    </a:srgbClr>
                  </a:solidFill>
                  <a:latin typeface="Arial"/>
                </a:rPr>
                <a:t>ESMO рекомендует рутинное определение мутаций </a:t>
              </a:r>
              <a:r>
                <a:rPr lang="ru" sz="1050" i="1" dirty="0">
                  <a:solidFill>
                    <a:srgbClr val="000000">
                      <a:hueOff val="0"/>
                      <a:satOff val="0"/>
                      <a:lumOff val="0"/>
                      <a:alphaOff val="0"/>
                    </a:srgbClr>
                  </a:solidFill>
                  <a:latin typeface="Arial"/>
                </a:rPr>
                <a:t>EGFR, ALK, ROS1</a:t>
              </a:r>
              <a:r>
                <a:rPr lang="ru" sz="1050" dirty="0">
                  <a:solidFill>
                    <a:srgbClr val="000000">
                      <a:hueOff val="0"/>
                      <a:satOff val="0"/>
                      <a:lumOff val="0"/>
                      <a:alphaOff val="0"/>
                    </a:srgbClr>
                  </a:solidFill>
                  <a:latin typeface="Arial"/>
                </a:rPr>
                <a:t> и </a:t>
              </a:r>
              <a:r>
                <a:rPr lang="ru" sz="1050" i="1" dirty="0">
                  <a:solidFill>
                    <a:srgbClr val="000000">
                      <a:hueOff val="0"/>
                      <a:satOff val="0"/>
                      <a:lumOff val="0"/>
                      <a:alphaOff val="0"/>
                    </a:srgbClr>
                  </a:solidFill>
                  <a:latin typeface="Arial"/>
                </a:rPr>
                <a:t>BRAF</a:t>
              </a:r>
              <a:r>
                <a:rPr lang="ru" sz="1050" dirty="0">
                  <a:solidFill>
                    <a:srgbClr val="000000">
                      <a:hueOff val="0"/>
                      <a:satOff val="0"/>
                      <a:lumOff val="0"/>
                      <a:alphaOff val="0"/>
                    </a:srgbClr>
                  </a:solidFill>
                  <a:latin typeface="Arial"/>
                </a:rPr>
                <a:t>, </a:t>
              </a:r>
              <a:r>
                <a:rPr lang="ru-RU" sz="1050" dirty="0">
                  <a:solidFill>
                    <a:srgbClr val="000000">
                      <a:hueOff val="0"/>
                      <a:satOff val="0"/>
                      <a:lumOff val="0"/>
                      <a:alphaOff val="0"/>
                    </a:srgbClr>
                  </a:solidFill>
                  <a:latin typeface="Arial"/>
                </a:rPr>
                <a:t>а также </a:t>
              </a:r>
              <a:r>
                <a:rPr lang="ru-RU" sz="1050" dirty="0">
                  <a:solidFill>
                    <a:srgbClr val="000000"/>
                  </a:solidFill>
                  <a:latin typeface="Arial"/>
                </a:rPr>
                <a:t>мутации с утратой экзона 14 </a:t>
              </a:r>
              <a:r>
                <a:rPr lang="en-GB" sz="1050" i="1" dirty="0">
                  <a:solidFill>
                    <a:srgbClr val="000000"/>
                  </a:solidFill>
                  <a:latin typeface="Arial"/>
                </a:rPr>
                <a:t>MET</a:t>
              </a:r>
              <a:r>
                <a:rPr lang="ru-RU" sz="1050" i="1" dirty="0">
                  <a:solidFill>
                    <a:srgbClr val="000000"/>
                  </a:solidFill>
                  <a:latin typeface="Arial"/>
                </a:rPr>
                <a:t>, </a:t>
              </a:r>
              <a:r>
                <a:rPr lang="ru-RU" sz="1050" dirty="0">
                  <a:solidFill>
                    <a:srgbClr val="000000"/>
                  </a:solidFill>
                  <a:latin typeface="Arial"/>
                </a:rPr>
                <a:t>амплификации </a:t>
              </a:r>
              <a:r>
                <a:rPr lang="en-GB" sz="1050" i="1" dirty="0">
                  <a:solidFill>
                    <a:srgbClr val="000000"/>
                  </a:solidFill>
                  <a:latin typeface="Arial"/>
                </a:rPr>
                <a:t>MET</a:t>
              </a:r>
              <a:r>
                <a:rPr lang="ru-RU" sz="1050" i="1" dirty="0">
                  <a:solidFill>
                    <a:srgbClr val="000000"/>
                  </a:solidFill>
                  <a:latin typeface="Arial"/>
                </a:rPr>
                <a:t>, </a:t>
              </a:r>
              <a:r>
                <a:rPr lang="ru-RU" sz="1050" dirty="0">
                  <a:solidFill>
                    <a:srgbClr val="000000"/>
                  </a:solidFill>
                  <a:latin typeface="Arial"/>
                </a:rPr>
                <a:t>транслокации </a:t>
              </a:r>
              <a:r>
                <a:rPr lang="en-GB" sz="1050" i="1" dirty="0">
                  <a:solidFill>
                    <a:srgbClr val="000000"/>
                  </a:solidFill>
                  <a:latin typeface="Arial"/>
                </a:rPr>
                <a:t>RET</a:t>
              </a:r>
              <a:r>
                <a:rPr lang="ru-RU" sz="1050" i="1" dirty="0">
                  <a:solidFill>
                    <a:srgbClr val="000000"/>
                  </a:solidFill>
                  <a:latin typeface="Arial"/>
                </a:rPr>
                <a:t>, </a:t>
              </a:r>
              <a:r>
                <a:rPr lang="ru-RU" sz="1050" dirty="0">
                  <a:solidFill>
                    <a:srgbClr val="000000"/>
                  </a:solidFill>
                  <a:latin typeface="Arial"/>
                </a:rPr>
                <a:t>мутации </a:t>
              </a:r>
              <a:r>
                <a:rPr lang="en-GB" sz="1050" i="1" dirty="0">
                  <a:solidFill>
                    <a:srgbClr val="000000"/>
                  </a:solidFill>
                  <a:latin typeface="Arial"/>
                </a:rPr>
                <a:t>KRAS</a:t>
              </a:r>
              <a:r>
                <a:rPr lang="en-GB" sz="1050" dirty="0">
                  <a:solidFill>
                    <a:srgbClr val="000000"/>
                  </a:solidFill>
                  <a:latin typeface="Arial"/>
                </a:rPr>
                <a:t> G12C</a:t>
              </a:r>
              <a:r>
                <a:rPr lang="ru-RU" sz="1050" dirty="0">
                  <a:solidFill>
                    <a:srgbClr val="000000"/>
                  </a:solidFill>
                  <a:latin typeface="Arial"/>
                </a:rPr>
                <a:t>, мутации </a:t>
              </a:r>
              <a:r>
                <a:rPr lang="en-GB" sz="1050" i="1" dirty="0">
                  <a:solidFill>
                    <a:srgbClr val="000000"/>
                  </a:solidFill>
                  <a:latin typeface="Arial"/>
                </a:rPr>
                <a:t>HER2</a:t>
              </a:r>
              <a:r>
                <a:rPr lang="en-GB" sz="1050" dirty="0">
                  <a:solidFill>
                    <a:srgbClr val="000000"/>
                  </a:solidFill>
                  <a:latin typeface="Arial"/>
                </a:rPr>
                <a:t> </a:t>
              </a:r>
              <a:r>
                <a:rPr lang="ru" sz="1050" baseline="30000" dirty="0">
                  <a:solidFill>
                    <a:srgbClr val="000000">
                      <a:hueOff val="0"/>
                      <a:satOff val="0"/>
                      <a:lumOff val="0"/>
                      <a:alphaOff val="0"/>
                    </a:srgbClr>
                  </a:solidFill>
                  <a:latin typeface="Arial"/>
                </a:rPr>
                <a:t>3</a:t>
              </a:r>
              <a:endParaRPr lang="en-US" sz="1050" baseline="30000" dirty="0">
                <a:solidFill>
                  <a:srgbClr val="000000">
                    <a:hueOff val="0"/>
                    <a:satOff val="0"/>
                    <a:lumOff val="0"/>
                    <a:alphaOff val="0"/>
                  </a:srgbClr>
                </a:solidFill>
                <a:latin typeface="Arial"/>
              </a:endParaRPr>
            </a:p>
          </p:txBody>
        </p:sp>
      </p:grpSp>
      <p:sp>
        <p:nvSpPr>
          <p:cNvPr id="16" name="Freeform: Shape 15">
            <a:extLst>
              <a:ext uri="{FF2B5EF4-FFF2-40B4-BE49-F238E27FC236}">
                <a16:creationId xmlns:a16="http://schemas.microsoft.com/office/drawing/2014/main" xmlns="" id="{8A84DAAC-6ACE-46A7-A6D1-16E25C8934CD}"/>
              </a:ext>
            </a:extLst>
          </p:cNvPr>
          <p:cNvSpPr/>
          <p:nvPr/>
        </p:nvSpPr>
        <p:spPr>
          <a:xfrm>
            <a:off x="607884" y="2819973"/>
            <a:ext cx="3771481" cy="357296"/>
          </a:xfrm>
          <a:custGeom>
            <a:avLst/>
            <a:gdLst>
              <a:gd name="connsiteX0" fmla="*/ 0 w 3181976"/>
              <a:gd name="connsiteY0" fmla="*/ 0 h 576000"/>
              <a:gd name="connsiteX1" fmla="*/ 3181976 w 3181976"/>
              <a:gd name="connsiteY1" fmla="*/ 0 h 576000"/>
              <a:gd name="connsiteX2" fmla="*/ 3181976 w 3181976"/>
              <a:gd name="connsiteY2" fmla="*/ 576000 h 576000"/>
              <a:gd name="connsiteX3" fmla="*/ 0 w 3181976"/>
              <a:gd name="connsiteY3" fmla="*/ 576000 h 576000"/>
              <a:gd name="connsiteX4" fmla="*/ 0 w 3181976"/>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576000">
                <a:moveTo>
                  <a:pt x="0" y="0"/>
                </a:moveTo>
                <a:lnTo>
                  <a:pt x="3181976" y="0"/>
                </a:lnTo>
                <a:lnTo>
                  <a:pt x="3181976" y="576000"/>
                </a:lnTo>
                <a:lnTo>
                  <a:pt x="0" y="576000"/>
                </a:lnTo>
                <a:lnTo>
                  <a:pt x="0" y="0"/>
                </a:lnTo>
                <a:close/>
              </a:path>
            </a:pathLst>
          </a:custGeom>
          <a:solidFill>
            <a:schemeClr val="accent2"/>
          </a:solidFill>
          <a:ln>
            <a:solidFill>
              <a:schemeClr val="accent2"/>
            </a:solid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6680" tIns="60960" rIns="106680" bIns="60960" numCol="1" spcCol="1270" rtlCol="0" anchor="ctr" anchorCtr="0">
            <a:noAutofit/>
          </a:bodyPr>
          <a:lstStyle/>
          <a:p>
            <a:pPr algn="ctr" defTabSz="666750">
              <a:lnSpc>
                <a:spcPct val="90000"/>
              </a:lnSpc>
              <a:spcBef>
                <a:spcPct val="0"/>
              </a:spcBef>
              <a:spcAft>
                <a:spcPct val="35000"/>
              </a:spcAft>
              <a:defRPr/>
            </a:pPr>
            <a:r>
              <a:rPr lang="en-US" sz="1500" b="1" dirty="0">
                <a:solidFill>
                  <a:srgbClr val="FFFFFF"/>
                </a:solidFill>
                <a:latin typeface="Arial"/>
              </a:rPr>
              <a:t> </a:t>
            </a:r>
            <a:r>
              <a:rPr lang="ru-RU" sz="1500" b="1" dirty="0">
                <a:solidFill>
                  <a:srgbClr val="FFFFFF"/>
                </a:solidFill>
                <a:latin typeface="Arial"/>
              </a:rPr>
              <a:t>АОР/</a:t>
            </a:r>
            <a:r>
              <a:rPr lang="en-GB" sz="1500" b="1" dirty="0">
                <a:solidFill>
                  <a:srgbClr val="FFFFFF"/>
                </a:solidFill>
                <a:latin typeface="Arial"/>
              </a:rPr>
              <a:t>RUSSCO</a:t>
            </a:r>
            <a:endParaRPr lang="ru" sz="1500" b="1" dirty="0">
              <a:solidFill>
                <a:srgbClr val="FFFFFF"/>
              </a:solidFill>
              <a:latin typeface="Arial"/>
            </a:endParaRPr>
          </a:p>
        </p:txBody>
      </p:sp>
      <p:sp>
        <p:nvSpPr>
          <p:cNvPr id="17" name="Freeform: Shape 16">
            <a:extLst>
              <a:ext uri="{FF2B5EF4-FFF2-40B4-BE49-F238E27FC236}">
                <a16:creationId xmlns:a16="http://schemas.microsoft.com/office/drawing/2014/main" xmlns="" id="{F11D433C-6C86-42A8-BDC0-DB5C70640084}"/>
              </a:ext>
            </a:extLst>
          </p:cNvPr>
          <p:cNvSpPr/>
          <p:nvPr/>
        </p:nvSpPr>
        <p:spPr>
          <a:xfrm>
            <a:off x="605625" y="3177269"/>
            <a:ext cx="3771481" cy="1350692"/>
          </a:xfrm>
          <a:custGeom>
            <a:avLst/>
            <a:gdLst>
              <a:gd name="connsiteX0" fmla="*/ 0 w 3181976"/>
              <a:gd name="connsiteY0" fmla="*/ 0 h 3273412"/>
              <a:gd name="connsiteX1" fmla="*/ 3181976 w 3181976"/>
              <a:gd name="connsiteY1" fmla="*/ 0 h 3273412"/>
              <a:gd name="connsiteX2" fmla="*/ 3181976 w 3181976"/>
              <a:gd name="connsiteY2" fmla="*/ 3273412 h 3273412"/>
              <a:gd name="connsiteX3" fmla="*/ 0 w 3181976"/>
              <a:gd name="connsiteY3" fmla="*/ 3273412 h 3273412"/>
              <a:gd name="connsiteX4" fmla="*/ 0 w 3181976"/>
              <a:gd name="connsiteY4" fmla="*/ 0 h 32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3273412">
                <a:moveTo>
                  <a:pt x="0" y="0"/>
                </a:moveTo>
                <a:lnTo>
                  <a:pt x="3181976" y="0"/>
                </a:lnTo>
                <a:lnTo>
                  <a:pt x="3181976" y="3273412"/>
                </a:lnTo>
                <a:lnTo>
                  <a:pt x="0" y="3273412"/>
                </a:lnTo>
                <a:lnTo>
                  <a:pt x="0" y="0"/>
                </a:lnTo>
                <a:close/>
              </a:path>
            </a:pathLst>
          </a:custGeom>
          <a:solidFill>
            <a:schemeClr val="accent2">
              <a:lumMod val="10000"/>
              <a:lumOff val="90000"/>
              <a:alpha val="90000"/>
            </a:schemeClr>
          </a:solidFill>
          <a:ln>
            <a:solidFill>
              <a:schemeClr val="accent2">
                <a:lumMod val="10000"/>
                <a:lumOff val="90000"/>
                <a:alpha val="90000"/>
              </a:schemeClr>
            </a:solid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rtlCol="0" anchor="t" anchorCtr="0">
            <a:noAutofit/>
          </a:bodyPr>
          <a:lstStyle/>
          <a:p>
            <a:pPr defTabSz="685800">
              <a:defRPr/>
            </a:pPr>
            <a:r>
              <a:rPr lang="ru-RU" sz="1050" dirty="0">
                <a:solidFill>
                  <a:srgbClr val="222222"/>
                </a:solidFill>
                <a:latin typeface="PTSerif-Regular"/>
              </a:rPr>
              <a:t>Может быть рекомендовано определение амплификаций гена </a:t>
            </a:r>
            <a:r>
              <a:rPr lang="ru-RU" sz="1050" i="1" dirty="0">
                <a:solidFill>
                  <a:srgbClr val="333333"/>
                </a:solidFill>
                <a:latin typeface="PTSerif-Italic"/>
              </a:rPr>
              <a:t>MET</a:t>
            </a:r>
            <a:r>
              <a:rPr lang="ru-RU" sz="1050" dirty="0">
                <a:solidFill>
                  <a:srgbClr val="222222"/>
                </a:solidFill>
                <a:latin typeface="PTSerif-Regular"/>
              </a:rPr>
              <a:t>, мутации</a:t>
            </a:r>
            <a:r>
              <a:rPr lang="en-US" sz="1050" dirty="0">
                <a:solidFill>
                  <a:srgbClr val="222222"/>
                </a:solidFill>
                <a:latin typeface="PTSerif-Regular"/>
              </a:rPr>
              <a:t> </a:t>
            </a:r>
            <a:r>
              <a:rPr lang="ru-RU" sz="1050" dirty="0">
                <a:solidFill>
                  <a:srgbClr val="222222"/>
                </a:solidFill>
                <a:latin typeface="PTSerif-Regular"/>
              </a:rPr>
              <a:t>пропуска 14-го </a:t>
            </a:r>
            <a:r>
              <a:rPr lang="ru-RU" sz="1050" dirty="0" err="1">
                <a:solidFill>
                  <a:srgbClr val="222222"/>
                </a:solidFill>
                <a:latin typeface="PTSerif-Regular"/>
              </a:rPr>
              <a:t>экзона</a:t>
            </a:r>
            <a:r>
              <a:rPr lang="ru-RU" sz="1050" dirty="0">
                <a:solidFill>
                  <a:srgbClr val="222222"/>
                </a:solidFill>
                <a:latin typeface="PTSerif-Regular"/>
              </a:rPr>
              <a:t> гена </a:t>
            </a:r>
            <a:r>
              <a:rPr lang="ru-RU" sz="1050" i="1" dirty="0">
                <a:solidFill>
                  <a:srgbClr val="333333"/>
                </a:solidFill>
                <a:latin typeface="PTSerif-Italic"/>
              </a:rPr>
              <a:t>MET</a:t>
            </a:r>
            <a:r>
              <a:rPr lang="ru-RU" sz="1050" dirty="0">
                <a:solidFill>
                  <a:srgbClr val="222222"/>
                </a:solidFill>
                <a:latin typeface="PTSerif-Regular"/>
              </a:rPr>
              <a:t>, </a:t>
            </a:r>
            <a:r>
              <a:rPr lang="ru-RU" sz="1050" b="1" dirty="0">
                <a:solidFill>
                  <a:srgbClr val="222222"/>
                </a:solidFill>
                <a:latin typeface="PTSerif-Regular"/>
              </a:rPr>
              <a:t>мутаций гена </a:t>
            </a:r>
            <a:r>
              <a:rPr lang="ru-RU" sz="1050" b="1" i="1" dirty="0">
                <a:solidFill>
                  <a:srgbClr val="333333"/>
                </a:solidFill>
                <a:latin typeface="PTSerif-Italic"/>
              </a:rPr>
              <a:t>ERBB2</a:t>
            </a:r>
            <a:r>
              <a:rPr lang="ru-RU" sz="1050" dirty="0">
                <a:solidFill>
                  <a:srgbClr val="222222"/>
                </a:solidFill>
                <a:latin typeface="PTSerif-Regular"/>
              </a:rPr>
              <a:t>, перестройки </a:t>
            </a:r>
            <a:r>
              <a:rPr lang="ru-RU" sz="1050" i="1" dirty="0">
                <a:solidFill>
                  <a:srgbClr val="333333"/>
                </a:solidFill>
                <a:latin typeface="PTSerif-Italic"/>
              </a:rPr>
              <a:t>RET</a:t>
            </a:r>
            <a:r>
              <a:rPr lang="ru-RU" sz="1050" dirty="0">
                <a:solidFill>
                  <a:srgbClr val="222222"/>
                </a:solidFill>
                <a:latin typeface="PTSerif-Regular"/>
              </a:rPr>
              <a:t>, а также анализа</a:t>
            </a:r>
            <a:r>
              <a:rPr lang="en-US" sz="1050" dirty="0">
                <a:solidFill>
                  <a:srgbClr val="222222"/>
                </a:solidFill>
                <a:latin typeface="PTSerif-Regular"/>
              </a:rPr>
              <a:t> </a:t>
            </a:r>
            <a:r>
              <a:rPr lang="ru-RU" sz="1050" dirty="0">
                <a:solidFill>
                  <a:srgbClr val="222222"/>
                </a:solidFill>
                <a:latin typeface="PTSerif-Regular"/>
              </a:rPr>
              <a:t>мутационной нагрузки для назначения экспериментальной терапии в рамках</a:t>
            </a:r>
            <a:r>
              <a:rPr lang="en-US" sz="1050" dirty="0">
                <a:solidFill>
                  <a:srgbClr val="222222"/>
                </a:solidFill>
                <a:latin typeface="PTSerif-Regular"/>
              </a:rPr>
              <a:t> </a:t>
            </a:r>
            <a:r>
              <a:rPr lang="ru-RU" sz="1050" dirty="0">
                <a:solidFill>
                  <a:srgbClr val="222222"/>
                </a:solidFill>
                <a:latin typeface="PTSerif-Regular"/>
              </a:rPr>
              <a:t>клинических исследований </a:t>
            </a:r>
            <a:r>
              <a:rPr lang="ru-RU" sz="1050" baseline="30000" dirty="0">
                <a:solidFill>
                  <a:srgbClr val="222222"/>
                </a:solidFill>
                <a:latin typeface="PTSerif-Regular"/>
              </a:rPr>
              <a:t>4</a:t>
            </a:r>
            <a:endParaRPr lang="en-US" sz="900" baseline="30000" dirty="0">
              <a:solidFill>
                <a:srgbClr val="000000">
                  <a:hueOff val="0"/>
                  <a:satOff val="0"/>
                  <a:lumOff val="0"/>
                  <a:alphaOff val="0"/>
                </a:srgbClr>
              </a:solidFill>
              <a:latin typeface="Arial"/>
            </a:endParaRPr>
          </a:p>
        </p:txBody>
      </p:sp>
      <p:sp>
        <p:nvSpPr>
          <p:cNvPr id="23" name="Freeform: Shape 15">
            <a:extLst>
              <a:ext uri="{FF2B5EF4-FFF2-40B4-BE49-F238E27FC236}">
                <a16:creationId xmlns:a16="http://schemas.microsoft.com/office/drawing/2014/main" xmlns="" id="{B6898358-6054-47C8-A36B-4BFB70E9A546}"/>
              </a:ext>
            </a:extLst>
          </p:cNvPr>
          <p:cNvSpPr/>
          <p:nvPr/>
        </p:nvSpPr>
        <p:spPr>
          <a:xfrm>
            <a:off x="4572001" y="2819893"/>
            <a:ext cx="3863546" cy="357296"/>
          </a:xfrm>
          <a:custGeom>
            <a:avLst/>
            <a:gdLst>
              <a:gd name="connsiteX0" fmla="*/ 0 w 3181976"/>
              <a:gd name="connsiteY0" fmla="*/ 0 h 576000"/>
              <a:gd name="connsiteX1" fmla="*/ 3181976 w 3181976"/>
              <a:gd name="connsiteY1" fmla="*/ 0 h 576000"/>
              <a:gd name="connsiteX2" fmla="*/ 3181976 w 3181976"/>
              <a:gd name="connsiteY2" fmla="*/ 576000 h 576000"/>
              <a:gd name="connsiteX3" fmla="*/ 0 w 3181976"/>
              <a:gd name="connsiteY3" fmla="*/ 576000 h 576000"/>
              <a:gd name="connsiteX4" fmla="*/ 0 w 3181976"/>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576000">
                <a:moveTo>
                  <a:pt x="0" y="0"/>
                </a:moveTo>
                <a:lnTo>
                  <a:pt x="3181976" y="0"/>
                </a:lnTo>
                <a:lnTo>
                  <a:pt x="3181976" y="576000"/>
                </a:lnTo>
                <a:lnTo>
                  <a:pt x="0" y="576000"/>
                </a:lnTo>
                <a:lnTo>
                  <a:pt x="0" y="0"/>
                </a:lnTo>
                <a:close/>
              </a:path>
            </a:pathLst>
          </a:custGeom>
          <a:solidFill>
            <a:schemeClr val="bg2"/>
          </a:solidFill>
          <a:ln>
            <a:solidFill>
              <a:schemeClr val="bg2"/>
            </a:solidFill>
          </a:ln>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6680" tIns="60960" rIns="106680" bIns="60960" numCol="1" spcCol="1270" rtlCol="0" anchor="ctr" anchorCtr="0">
            <a:noAutofit/>
          </a:bodyPr>
          <a:lstStyle/>
          <a:p>
            <a:pPr algn="ctr" defTabSz="666750">
              <a:lnSpc>
                <a:spcPct val="90000"/>
              </a:lnSpc>
              <a:spcBef>
                <a:spcPct val="0"/>
              </a:spcBef>
              <a:spcAft>
                <a:spcPct val="35000"/>
              </a:spcAft>
              <a:defRPr/>
            </a:pPr>
            <a:r>
              <a:rPr lang="en-US" sz="1500" b="1" dirty="0">
                <a:solidFill>
                  <a:srgbClr val="FFFFFF"/>
                </a:solidFill>
                <a:latin typeface="Arial"/>
              </a:rPr>
              <a:t>RUSSCO</a:t>
            </a:r>
            <a:endParaRPr lang="ru" sz="1500" b="1" dirty="0">
              <a:solidFill>
                <a:srgbClr val="FFFFFF"/>
              </a:solidFill>
              <a:latin typeface="Arial"/>
            </a:endParaRPr>
          </a:p>
        </p:txBody>
      </p:sp>
      <p:sp>
        <p:nvSpPr>
          <p:cNvPr id="24" name="Freeform: Shape 16">
            <a:extLst>
              <a:ext uri="{FF2B5EF4-FFF2-40B4-BE49-F238E27FC236}">
                <a16:creationId xmlns:a16="http://schemas.microsoft.com/office/drawing/2014/main" xmlns="" id="{63358771-7EDB-4B41-856D-2585E85997BB}"/>
              </a:ext>
            </a:extLst>
          </p:cNvPr>
          <p:cNvSpPr/>
          <p:nvPr/>
        </p:nvSpPr>
        <p:spPr>
          <a:xfrm>
            <a:off x="4569741" y="3177190"/>
            <a:ext cx="3863546" cy="1350692"/>
          </a:xfrm>
          <a:custGeom>
            <a:avLst/>
            <a:gdLst>
              <a:gd name="connsiteX0" fmla="*/ 0 w 3181976"/>
              <a:gd name="connsiteY0" fmla="*/ 0 h 3273412"/>
              <a:gd name="connsiteX1" fmla="*/ 3181976 w 3181976"/>
              <a:gd name="connsiteY1" fmla="*/ 0 h 3273412"/>
              <a:gd name="connsiteX2" fmla="*/ 3181976 w 3181976"/>
              <a:gd name="connsiteY2" fmla="*/ 3273412 h 3273412"/>
              <a:gd name="connsiteX3" fmla="*/ 0 w 3181976"/>
              <a:gd name="connsiteY3" fmla="*/ 3273412 h 3273412"/>
              <a:gd name="connsiteX4" fmla="*/ 0 w 3181976"/>
              <a:gd name="connsiteY4" fmla="*/ 0 h 327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976" h="3273412">
                <a:moveTo>
                  <a:pt x="0" y="0"/>
                </a:moveTo>
                <a:lnTo>
                  <a:pt x="3181976" y="0"/>
                </a:lnTo>
                <a:lnTo>
                  <a:pt x="3181976" y="3273412"/>
                </a:lnTo>
                <a:lnTo>
                  <a:pt x="0" y="3273412"/>
                </a:lnTo>
                <a:lnTo>
                  <a:pt x="0" y="0"/>
                </a:lnTo>
                <a:close/>
              </a:path>
            </a:pathLst>
          </a:custGeom>
          <a:solidFill>
            <a:schemeClr val="bg2">
              <a:lumMod val="20000"/>
              <a:lumOff val="80000"/>
              <a:alpha val="90000"/>
            </a:schemeClr>
          </a:solidFill>
          <a:ln>
            <a:solidFill>
              <a:schemeClr val="accent2">
                <a:lumMod val="10000"/>
                <a:lumOff val="90000"/>
                <a:alpha val="90000"/>
              </a:schemeClr>
            </a:solidFill>
          </a:ln>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rtlCol="0" anchor="t" anchorCtr="0">
            <a:noAutofit/>
          </a:bodyPr>
          <a:lstStyle/>
          <a:p>
            <a:pPr defTabSz="685800">
              <a:defRPr/>
            </a:pPr>
            <a:r>
              <a:rPr lang="ru-RU" sz="1050" dirty="0">
                <a:solidFill>
                  <a:srgbClr val="222222"/>
                </a:solidFill>
                <a:latin typeface="PTSerif-Regular"/>
              </a:rPr>
              <a:t>Рекомендовано выполнение молекулярно-генетического исследования и определение </a:t>
            </a:r>
            <a:r>
              <a:rPr lang="ru-RU" sz="1050" dirty="0" err="1">
                <a:solidFill>
                  <a:srgbClr val="222222"/>
                </a:solidFill>
                <a:latin typeface="PTSerif-Regular"/>
              </a:rPr>
              <a:t>биомаркеров</a:t>
            </a:r>
            <a:r>
              <a:rPr lang="ru-RU" sz="1050" dirty="0">
                <a:solidFill>
                  <a:srgbClr val="222222"/>
                </a:solidFill>
                <a:latin typeface="PTSerif-Regular"/>
              </a:rPr>
              <a:t> в опухоли:</a:t>
            </a:r>
          </a:p>
          <a:p>
            <a:pPr defTabSz="685800">
              <a:defRPr/>
            </a:pPr>
            <a:r>
              <a:rPr lang="ru-RU" sz="1050" dirty="0">
                <a:solidFill>
                  <a:srgbClr val="222222"/>
                </a:solidFill>
                <a:latin typeface="PTSerif-Regular"/>
              </a:rPr>
              <a:t>«обязательный объем» (активирующие мутации </a:t>
            </a:r>
            <a:r>
              <a:rPr lang="ru-RU" sz="1050" i="1" dirty="0">
                <a:solidFill>
                  <a:srgbClr val="222222"/>
                </a:solidFill>
                <a:latin typeface="PTSerif-Regular"/>
              </a:rPr>
              <a:t>EGFR</a:t>
            </a:r>
            <a:r>
              <a:rPr lang="ru-RU" sz="1050" dirty="0">
                <a:solidFill>
                  <a:srgbClr val="222222"/>
                </a:solidFill>
                <a:latin typeface="PTSerif-Regular"/>
              </a:rPr>
              <a:t>, транслокации </a:t>
            </a:r>
            <a:r>
              <a:rPr lang="ru-RU" sz="1050" i="1" dirty="0">
                <a:solidFill>
                  <a:srgbClr val="222222"/>
                </a:solidFill>
                <a:latin typeface="PTSerif-Regular"/>
              </a:rPr>
              <a:t>ALK</a:t>
            </a:r>
            <a:r>
              <a:rPr lang="ru-RU" sz="1050" dirty="0">
                <a:solidFill>
                  <a:srgbClr val="222222"/>
                </a:solidFill>
                <a:latin typeface="PTSerif-Regular"/>
              </a:rPr>
              <a:t>, транслокации </a:t>
            </a:r>
            <a:r>
              <a:rPr lang="ru-RU" sz="1050" i="1" dirty="0">
                <a:solidFill>
                  <a:srgbClr val="222222"/>
                </a:solidFill>
                <a:latin typeface="PTSerif-Regular"/>
              </a:rPr>
              <a:t>ROS1</a:t>
            </a:r>
            <a:r>
              <a:rPr lang="ru-RU" sz="1050" dirty="0">
                <a:solidFill>
                  <a:srgbClr val="222222"/>
                </a:solidFill>
                <a:latin typeface="PTSerif-Regular"/>
              </a:rPr>
              <a:t>) и «возможный объем» (мутации </a:t>
            </a:r>
            <a:r>
              <a:rPr lang="ru-RU" sz="1050" i="1" dirty="0">
                <a:solidFill>
                  <a:srgbClr val="222222"/>
                </a:solidFill>
                <a:latin typeface="PTSerif-Regular"/>
              </a:rPr>
              <a:t>BRAF</a:t>
            </a:r>
            <a:r>
              <a:rPr lang="ru-RU" sz="1050" dirty="0">
                <a:solidFill>
                  <a:srgbClr val="222222"/>
                </a:solidFill>
                <a:latin typeface="PTSerif-Regular"/>
              </a:rPr>
              <a:t> V600E, </a:t>
            </a:r>
            <a:r>
              <a:rPr lang="ru-RU" sz="1050" i="1" dirty="0">
                <a:solidFill>
                  <a:srgbClr val="222222"/>
                </a:solidFill>
                <a:latin typeface="PTSerif-Regular"/>
              </a:rPr>
              <a:t>RET</a:t>
            </a:r>
            <a:r>
              <a:rPr lang="ru-RU" sz="1050" dirty="0">
                <a:solidFill>
                  <a:srgbClr val="222222"/>
                </a:solidFill>
                <a:latin typeface="PTSerif-Regular"/>
              </a:rPr>
              <a:t>, </a:t>
            </a:r>
            <a:r>
              <a:rPr lang="ru-RU" sz="1050" i="1" dirty="0">
                <a:solidFill>
                  <a:srgbClr val="222222"/>
                </a:solidFill>
                <a:latin typeface="PTSerif-Regular"/>
              </a:rPr>
              <a:t>c-MET</a:t>
            </a:r>
            <a:r>
              <a:rPr lang="ru-RU" sz="1050" dirty="0">
                <a:solidFill>
                  <a:srgbClr val="222222"/>
                </a:solidFill>
                <a:latin typeface="PTSerif-Regular"/>
              </a:rPr>
              <a:t>, </a:t>
            </a:r>
            <a:r>
              <a:rPr lang="ru-RU" sz="1050" i="1" dirty="0">
                <a:solidFill>
                  <a:srgbClr val="222222"/>
                </a:solidFill>
                <a:latin typeface="PTSerif-Regular"/>
              </a:rPr>
              <a:t>KRAS</a:t>
            </a:r>
            <a:r>
              <a:rPr lang="ru-RU" sz="1050" dirty="0">
                <a:solidFill>
                  <a:srgbClr val="222222"/>
                </a:solidFill>
                <a:latin typeface="PTSerif-Regular"/>
              </a:rPr>
              <a:t>, </a:t>
            </a:r>
            <a:r>
              <a:rPr lang="ru-RU" sz="1050" i="1" dirty="0">
                <a:solidFill>
                  <a:srgbClr val="222222"/>
                </a:solidFill>
                <a:latin typeface="PTSerif-Regular"/>
              </a:rPr>
              <a:t>HER2</a:t>
            </a:r>
            <a:r>
              <a:rPr lang="ru-RU" sz="1050" dirty="0">
                <a:solidFill>
                  <a:srgbClr val="222222"/>
                </a:solidFill>
                <a:latin typeface="PTSerif-Regular"/>
              </a:rPr>
              <a:t>,</a:t>
            </a:r>
          </a:p>
          <a:p>
            <a:pPr defTabSz="685800">
              <a:defRPr/>
            </a:pPr>
            <a:r>
              <a:rPr lang="ru-RU" sz="1050" dirty="0">
                <a:solidFill>
                  <a:srgbClr val="222222"/>
                </a:solidFill>
                <a:latin typeface="PTSerif-Regular"/>
              </a:rPr>
              <a:t>экспрессии PD-L1, вставки (</a:t>
            </a:r>
            <a:r>
              <a:rPr lang="ru-RU" sz="1050" dirty="0" err="1">
                <a:solidFill>
                  <a:srgbClr val="222222"/>
                </a:solidFill>
                <a:latin typeface="PTSerif-Regular"/>
              </a:rPr>
              <a:t>инсерции</a:t>
            </a:r>
            <a:r>
              <a:rPr lang="ru-RU" sz="1050" dirty="0">
                <a:solidFill>
                  <a:srgbClr val="222222"/>
                </a:solidFill>
                <a:latin typeface="PTSerif-Regular"/>
              </a:rPr>
              <a:t>) в 20 экзоне гена </a:t>
            </a:r>
            <a:r>
              <a:rPr lang="ru-RU" sz="1050" i="1" dirty="0">
                <a:solidFill>
                  <a:srgbClr val="222222"/>
                </a:solidFill>
                <a:latin typeface="PTSerif-Regular"/>
              </a:rPr>
              <a:t>EGF</a:t>
            </a:r>
            <a:r>
              <a:rPr lang="ru-RU" sz="1050" dirty="0">
                <a:solidFill>
                  <a:srgbClr val="222222"/>
                </a:solidFill>
                <a:latin typeface="PTSerif-Regular"/>
              </a:rPr>
              <a:t>R) </a:t>
            </a:r>
            <a:r>
              <a:rPr lang="ru-RU" sz="1050" baseline="30000" dirty="0">
                <a:solidFill>
                  <a:srgbClr val="222222"/>
                </a:solidFill>
                <a:latin typeface="PTSerif-Regular"/>
              </a:rPr>
              <a:t>5</a:t>
            </a:r>
            <a:endParaRPr lang="en-US" sz="900" baseline="30000" dirty="0">
              <a:solidFill>
                <a:srgbClr val="000000">
                  <a:hueOff val="0"/>
                  <a:satOff val="0"/>
                  <a:lumOff val="0"/>
                  <a:alphaOff val="0"/>
                </a:srgbClr>
              </a:solidFill>
              <a:latin typeface="Arial"/>
            </a:endParaRPr>
          </a:p>
        </p:txBody>
      </p:sp>
      <p:sp>
        <p:nvSpPr>
          <p:cNvPr id="25" name="TextBox 24">
            <a:extLst>
              <a:ext uri="{FF2B5EF4-FFF2-40B4-BE49-F238E27FC236}">
                <a16:creationId xmlns:a16="http://schemas.microsoft.com/office/drawing/2014/main" xmlns="" id="{AC319DA8-F662-435A-86E4-DEF5BEA5FE95}"/>
              </a:ext>
            </a:extLst>
          </p:cNvPr>
          <p:cNvSpPr txBox="1"/>
          <p:nvPr/>
        </p:nvSpPr>
        <p:spPr>
          <a:xfrm>
            <a:off x="676463" y="4325180"/>
            <a:ext cx="3812367" cy="173124"/>
          </a:xfrm>
          <a:prstGeom prst="rect">
            <a:avLst/>
          </a:prstGeom>
          <a:noFill/>
        </p:spPr>
        <p:txBody>
          <a:bodyPr wrap="square" rtlCol="0">
            <a:spAutoFit/>
          </a:bodyPr>
          <a:lstStyle/>
          <a:p>
            <a:pPr defTabSz="685800"/>
            <a:r>
              <a:rPr lang="ru-RU" sz="525" dirty="0">
                <a:solidFill>
                  <a:srgbClr val="000000"/>
                </a:solidFill>
                <a:latin typeface="Arial"/>
              </a:rPr>
              <a:t>НМРЛ – </a:t>
            </a:r>
            <a:r>
              <a:rPr lang="ru-RU" sz="525" dirty="0" err="1">
                <a:solidFill>
                  <a:srgbClr val="000000"/>
                </a:solidFill>
                <a:latin typeface="Arial"/>
              </a:rPr>
              <a:t>немелкоклеточный</a:t>
            </a:r>
            <a:r>
              <a:rPr lang="ru-RU" sz="525" dirty="0">
                <a:solidFill>
                  <a:srgbClr val="000000"/>
                </a:solidFill>
                <a:latin typeface="Arial"/>
              </a:rPr>
              <a:t> рак легкого, </a:t>
            </a:r>
            <a:r>
              <a:rPr lang="en" sz="525" i="1" dirty="0">
                <a:solidFill>
                  <a:srgbClr val="000000"/>
                </a:solidFill>
                <a:latin typeface="Arial"/>
                <a:ea typeface="+mn-lt"/>
                <a:cs typeface="Arial"/>
              </a:rPr>
              <a:t>HER2</a:t>
            </a:r>
            <a:r>
              <a:rPr lang="en" sz="525" dirty="0">
                <a:solidFill>
                  <a:srgbClr val="000000"/>
                </a:solidFill>
                <a:latin typeface="Arial"/>
                <a:ea typeface="+mn-lt"/>
                <a:cs typeface="Arial"/>
              </a:rPr>
              <a:t> — рецептор эпидермального фактора роста человека 2-го типа</a:t>
            </a:r>
            <a:endParaRPr lang="en-GB" sz="525" dirty="0">
              <a:solidFill>
                <a:srgbClr val="000000"/>
              </a:solidFill>
              <a:latin typeface="Arial"/>
            </a:endParaRPr>
          </a:p>
        </p:txBody>
      </p:sp>
    </p:spTree>
    <p:extLst>
      <p:ext uri="{BB962C8B-B14F-4D97-AF65-F5344CB8AC3E}">
        <p14:creationId xmlns:p14="http://schemas.microsoft.com/office/powerpoint/2010/main" val="13523608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1A34A3E8-AE63-48F8-5F2E-15CD440295ED}"/>
              </a:ext>
            </a:extLst>
          </p:cNvPr>
          <p:cNvSpPr>
            <a:spLocks noGrp="1"/>
          </p:cNvSpPr>
          <p:nvPr>
            <p:ph type="title"/>
          </p:nvPr>
        </p:nvSpPr>
        <p:spPr/>
        <p:txBody>
          <a:bodyPr>
            <a:noAutofit/>
          </a:bodyPr>
          <a:lstStyle/>
          <a:p>
            <a:r>
              <a:rPr lang="ru-RU" sz="2000" dirty="0"/>
              <a:t>Клинические рекомендации содержат ограниченную информацию по лечению НМРЛ с гиперэкспрессией или амплификацией </a:t>
            </a:r>
            <a:r>
              <a:rPr lang="ru-RU" sz="2000" i="1" dirty="0"/>
              <a:t>HER2</a:t>
            </a:r>
          </a:p>
        </p:txBody>
      </p:sp>
      <p:sp>
        <p:nvSpPr>
          <p:cNvPr id="3" name="Text Placeholder 2">
            <a:extLst>
              <a:ext uri="{FF2B5EF4-FFF2-40B4-BE49-F238E27FC236}">
                <a16:creationId xmlns:a16="http://schemas.microsoft.com/office/drawing/2014/main" xmlns="" id="{169AFADB-6EDD-A132-474D-E216B1A935E4}"/>
              </a:ext>
            </a:extLst>
          </p:cNvPr>
          <p:cNvSpPr txBox="1">
            <a:spLocks/>
          </p:cNvSpPr>
          <p:nvPr/>
        </p:nvSpPr>
        <p:spPr>
          <a:xfrm>
            <a:off x="214656" y="4682613"/>
            <a:ext cx="8035800" cy="389648"/>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ru" sz="600" b="1" dirty="0">
                <a:solidFill>
                  <a:srgbClr val="000000"/>
                </a:solidFill>
              </a:rPr>
              <a:t>1.</a:t>
            </a:r>
            <a:r>
              <a:rPr lang="ru" sz="600" dirty="0">
                <a:solidFill>
                  <a:srgbClr val="000000"/>
                </a:solidFill>
              </a:rPr>
              <a:t> </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NCCN Guidelines Version 1.2023 Non-Small Cell Lung Cancer. © </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Национальная сеть многопрофильных онкологических учреждений США, Инк. </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hlinkClick r:id="rId2"/>
              </a:rPr>
              <a:t>https://www.nccn.org/guidelines/guidelines-detail?category=1&amp;id=1450</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дата </a:t>
            </a:r>
            <a:r>
              <a:rPr lang="ru-RU" sz="600" dirty="0">
                <a:solidFill>
                  <a:srgbClr val="000000"/>
                </a:solidFill>
              </a:rPr>
              <a:t>обращения</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07.02.23) </a:t>
            </a:r>
            <a:r>
              <a:rPr lang="ru" sz="600" b="1" dirty="0">
                <a:solidFill>
                  <a:srgbClr val="000000"/>
                </a:solidFill>
              </a:rPr>
              <a:t>2.</a:t>
            </a:r>
            <a:r>
              <a:rPr lang="ru" sz="600" dirty="0">
                <a:solidFill>
                  <a:srgbClr val="000000"/>
                </a:solidFill>
              </a:rPr>
              <a:t> Planchard D, et al. </a:t>
            </a:r>
            <a:r>
              <a:rPr lang="ru" sz="600" i="1" dirty="0">
                <a:solidFill>
                  <a:srgbClr val="000000"/>
                </a:solidFill>
              </a:rPr>
              <a:t>Ann Oncol</a:t>
            </a:r>
            <a:r>
              <a:rPr lang="ru" sz="600" dirty="0">
                <a:solidFill>
                  <a:srgbClr val="000000"/>
                </a:solidFill>
              </a:rPr>
              <a:t>. 2018;29(suppl 4):iv192-iv237. </a:t>
            </a:r>
            <a:r>
              <a:rPr lang="ru" sz="600" b="1" dirty="0">
                <a:solidFill>
                  <a:srgbClr val="000000"/>
                </a:solidFill>
              </a:rPr>
              <a:t>3.</a:t>
            </a:r>
            <a:r>
              <a:rPr lang="ru" sz="600" dirty="0">
                <a:solidFill>
                  <a:srgbClr val="000000"/>
                </a:solidFill>
              </a:rPr>
              <a:t> Wu Y-L, et al. </a:t>
            </a:r>
            <a:r>
              <a:rPr lang="ru" sz="600" i="1" dirty="0">
                <a:solidFill>
                  <a:srgbClr val="000000"/>
                </a:solidFill>
              </a:rPr>
              <a:t>Ann Oncol</a:t>
            </a:r>
            <a:r>
              <a:rPr lang="ru" sz="600" dirty="0">
                <a:solidFill>
                  <a:srgbClr val="000000"/>
                </a:solidFill>
              </a:rPr>
              <a:t>. 2019;30(2):171-210. </a:t>
            </a:r>
            <a:r>
              <a:rPr lang="ru" sz="600" b="1" dirty="0">
                <a:solidFill>
                  <a:srgbClr val="000000"/>
                </a:solidFill>
              </a:rPr>
              <a:t>4.</a:t>
            </a:r>
            <a:r>
              <a:rPr lang="ru" sz="600" dirty="0">
                <a:solidFill>
                  <a:srgbClr val="000000"/>
                </a:solidFill>
              </a:rPr>
              <a:t> Akamatsu H, et al. </a:t>
            </a:r>
            <a:r>
              <a:rPr lang="ru" sz="600" i="1" dirty="0">
                <a:solidFill>
                  <a:srgbClr val="000000"/>
                </a:solidFill>
              </a:rPr>
              <a:t>Int J Clin Oncol</a:t>
            </a:r>
            <a:r>
              <a:rPr lang="ru" sz="600" dirty="0">
                <a:solidFill>
                  <a:srgbClr val="000000"/>
                </a:solidFill>
              </a:rPr>
              <a:t>. 2019;24(7):731-770. </a:t>
            </a:r>
            <a:r>
              <a:rPr lang="ru" sz="600" b="1" dirty="0">
                <a:solidFill>
                  <a:srgbClr val="000000"/>
                </a:solidFill>
              </a:rPr>
              <a:t>5.</a:t>
            </a:r>
            <a:r>
              <a:rPr lang="ru" sz="600" dirty="0">
                <a:solidFill>
                  <a:srgbClr val="000000"/>
                </a:solidFill>
              </a:rPr>
              <a:t> Mazières J, et al</a:t>
            </a:r>
            <a:r>
              <a:rPr lang="ru" sz="600" i="1" dirty="0">
                <a:solidFill>
                  <a:srgbClr val="000000"/>
                </a:solidFill>
              </a:rPr>
              <a:t>. J Clin Oncol</a:t>
            </a:r>
            <a:r>
              <a:rPr lang="ru" sz="600" dirty="0">
                <a:solidFill>
                  <a:srgbClr val="000000"/>
                </a:solidFill>
              </a:rPr>
              <a:t>. 2013;31(16):1997-2003.</a:t>
            </a:r>
            <a:r>
              <a:rPr lang="ru" sz="600" b="1" dirty="0">
                <a:solidFill>
                  <a:srgbClr val="000000"/>
                </a:solidFill>
              </a:rPr>
              <a:t> 6. </a:t>
            </a:r>
            <a:r>
              <a:rPr lang="ru" sz="600" dirty="0">
                <a:solidFill>
                  <a:srgbClr val="000000"/>
                </a:solidFill>
              </a:rPr>
              <a:t>Buttitta F, et al. </a:t>
            </a:r>
            <a:r>
              <a:rPr lang="ru" sz="600" i="1" dirty="0">
                <a:solidFill>
                  <a:srgbClr val="000000"/>
                </a:solidFill>
              </a:rPr>
              <a:t>Int J Cancer</a:t>
            </a:r>
            <a:r>
              <a:rPr lang="ru" sz="600" dirty="0">
                <a:solidFill>
                  <a:srgbClr val="000000"/>
                </a:solidFill>
              </a:rPr>
              <a:t>. 2006;119(11):2586-2591. </a:t>
            </a:r>
            <a:r>
              <a:rPr lang="ru" sz="600" b="1" dirty="0">
                <a:solidFill>
                  <a:srgbClr val="000000"/>
                </a:solidFill>
              </a:rPr>
              <a:t>7. </a:t>
            </a:r>
            <a:r>
              <a:rPr lang="ru" sz="600" dirty="0">
                <a:solidFill>
                  <a:srgbClr val="000000"/>
                </a:solidFill>
              </a:rPr>
              <a:t>Pellegrini C, et al. </a:t>
            </a:r>
            <a:r>
              <a:rPr lang="ru" sz="600" i="1" dirty="0">
                <a:solidFill>
                  <a:srgbClr val="000000"/>
                </a:solidFill>
              </a:rPr>
              <a:t>Clin Cancer R</a:t>
            </a:r>
            <a:r>
              <a:rPr lang="ru" sz="600" dirty="0">
                <a:solidFill>
                  <a:srgbClr val="000000"/>
                </a:solidFill>
              </a:rPr>
              <a:t>es. 2003;9(10 pt 1):3645-3652. </a:t>
            </a:r>
            <a:r>
              <a:rPr lang="ru" sz="600" b="1" dirty="0">
                <a:solidFill>
                  <a:srgbClr val="000000"/>
                </a:solidFill>
              </a:rPr>
              <a:t>8. </a:t>
            </a:r>
            <a:r>
              <a:rPr lang="ru" sz="600" dirty="0">
                <a:solidFill>
                  <a:srgbClr val="000000"/>
                </a:solidFill>
              </a:rPr>
              <a:t>Stephens P, et al. </a:t>
            </a:r>
            <a:r>
              <a:rPr lang="ru" sz="600" i="1" dirty="0">
                <a:solidFill>
                  <a:srgbClr val="000000"/>
                </a:solidFill>
              </a:rPr>
              <a:t>Nature</a:t>
            </a:r>
            <a:r>
              <a:rPr lang="ru" sz="600" dirty="0">
                <a:solidFill>
                  <a:srgbClr val="000000"/>
                </a:solidFill>
              </a:rPr>
              <a:t>. 2004;431(7008):525-526. </a:t>
            </a:r>
            <a:r>
              <a:rPr lang="ru" sz="600" b="1" dirty="0">
                <a:solidFill>
                  <a:srgbClr val="000000"/>
                </a:solidFill>
              </a:rPr>
              <a:t>9. </a:t>
            </a:r>
            <a:r>
              <a:rPr lang="ru" sz="600" dirty="0">
                <a:solidFill>
                  <a:srgbClr val="000000"/>
                </a:solidFill>
              </a:rPr>
              <a:t>Heinmöller P, et al. </a:t>
            </a:r>
            <a:r>
              <a:rPr lang="ru" sz="600" i="1" dirty="0">
                <a:solidFill>
                  <a:srgbClr val="000000"/>
                </a:solidFill>
              </a:rPr>
              <a:t>Clin Cancer Res</a:t>
            </a:r>
            <a:r>
              <a:rPr lang="ru" sz="600" dirty="0">
                <a:solidFill>
                  <a:srgbClr val="000000"/>
                </a:solidFill>
              </a:rPr>
              <a:t>. 2003;9(14):5238-5243. </a:t>
            </a:r>
            <a:r>
              <a:rPr lang="ru" sz="600" b="1" dirty="0">
                <a:solidFill>
                  <a:srgbClr val="000000"/>
                </a:solidFill>
              </a:rPr>
              <a:t>10. </a:t>
            </a:r>
            <a:r>
              <a:rPr lang="ru" sz="600" dirty="0">
                <a:solidFill>
                  <a:srgbClr val="000000"/>
                </a:solidFill>
              </a:rPr>
              <a:t>Brabender J, et al. </a:t>
            </a:r>
            <a:r>
              <a:rPr lang="ru" sz="600" i="1" dirty="0">
                <a:solidFill>
                  <a:srgbClr val="000000"/>
                </a:solidFill>
              </a:rPr>
              <a:t>Clin Cancer Res</a:t>
            </a:r>
            <a:r>
              <a:rPr lang="ru" sz="600" dirty="0">
                <a:solidFill>
                  <a:srgbClr val="000000"/>
                </a:solidFill>
              </a:rPr>
              <a:t>. 2001;7(7):1850-1855. </a:t>
            </a:r>
            <a:endParaRPr lang="en-US" sz="600" dirty="0">
              <a:solidFill>
                <a:srgbClr val="000000"/>
              </a:solidFill>
            </a:endParaRPr>
          </a:p>
        </p:txBody>
      </p:sp>
      <p:sp>
        <p:nvSpPr>
          <p:cNvPr id="4" name="Text Placeholder 3">
            <a:extLst>
              <a:ext uri="{FF2B5EF4-FFF2-40B4-BE49-F238E27FC236}">
                <a16:creationId xmlns:a16="http://schemas.microsoft.com/office/drawing/2014/main" xmlns="" id="{4EDF8234-EFD1-CA5B-F6E1-49A1679A8599}"/>
              </a:ext>
            </a:extLst>
          </p:cNvPr>
          <p:cNvSpPr txBox="1">
            <a:spLocks/>
          </p:cNvSpPr>
          <p:nvPr/>
        </p:nvSpPr>
        <p:spPr>
          <a:xfrm>
            <a:off x="302346" y="1216913"/>
            <a:ext cx="8310712" cy="1403747"/>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0"/>
              </a:spcBef>
              <a:spcAft>
                <a:spcPts val="450"/>
              </a:spcAft>
              <a:buClr>
                <a:srgbClr val="9CD3E3"/>
              </a:buClr>
              <a:defRPr/>
            </a:pPr>
            <a:r>
              <a:rPr lang="ru-RU" sz="1350" dirty="0">
                <a:solidFill>
                  <a:srgbClr val="000000"/>
                </a:solidFill>
                <a:latin typeface="Arial"/>
              </a:rPr>
              <a:t>В</a:t>
            </a:r>
            <a:r>
              <a:rPr lang="ru" sz="1350" dirty="0">
                <a:solidFill>
                  <a:srgbClr val="000000"/>
                </a:solidFill>
                <a:latin typeface="Arial"/>
              </a:rPr>
              <a:t> действующих клинических рекомендациях NCCN, ESMO, JLCS и др. не представлены специфические методы лечения пациентов с распространенным НМРЛ с гиперэкспрессией HER2 или амплификацией гена </a:t>
            </a:r>
            <a:r>
              <a:rPr lang="ru" sz="1350" i="1" dirty="0">
                <a:solidFill>
                  <a:srgbClr val="000000"/>
                </a:solidFill>
                <a:latin typeface="Arial"/>
              </a:rPr>
              <a:t>HER2</a:t>
            </a:r>
            <a:endParaRPr lang="ru-RU" sz="1350" dirty="0">
              <a:solidFill>
                <a:srgbClr val="000000"/>
              </a:solidFill>
              <a:latin typeface="Arial"/>
            </a:endParaRPr>
          </a:p>
          <a:p>
            <a:pPr marL="171450" indent="-171450" defTabSz="685800">
              <a:spcBef>
                <a:spcPts val="750"/>
              </a:spcBef>
              <a:defRPr/>
            </a:pPr>
            <a:r>
              <a:rPr lang="ru" sz="1350" dirty="0">
                <a:solidFill>
                  <a:schemeClr val="accent1"/>
                </a:solidFill>
                <a:latin typeface="Arial"/>
              </a:rPr>
              <a:t>Действующие руководства IASLC NCCN и ESMO не содержат рекомендаций по определению гиперэкспрессии или амплификации гена </a:t>
            </a:r>
            <a:r>
              <a:rPr lang="ru" sz="1350" i="1" dirty="0">
                <a:solidFill>
                  <a:schemeClr val="accent1"/>
                </a:solidFill>
                <a:latin typeface="Arial"/>
              </a:rPr>
              <a:t>HER2</a:t>
            </a:r>
            <a:r>
              <a:rPr lang="ru" sz="1350" dirty="0">
                <a:solidFill>
                  <a:schemeClr val="accent1"/>
                </a:solidFill>
                <a:latin typeface="Arial"/>
              </a:rPr>
              <a:t> у пациентов с распространенным НМРЛ</a:t>
            </a:r>
            <a:endParaRPr lang="en-US" sz="1350" dirty="0">
              <a:solidFill>
                <a:schemeClr val="accent1"/>
              </a:solidFill>
              <a:latin typeface="Arial"/>
            </a:endParaRPr>
          </a:p>
          <a:p>
            <a:pPr marL="171450" indent="-171450" defTabSz="685800">
              <a:spcBef>
                <a:spcPts val="750"/>
              </a:spcBef>
              <a:buClr>
                <a:srgbClr val="9CD3E3"/>
              </a:buClr>
              <a:defRPr/>
            </a:pPr>
            <a:endParaRPr lang="en-US" sz="1350" dirty="0">
              <a:solidFill>
                <a:srgbClr val="000000"/>
              </a:solidFill>
              <a:latin typeface="Arial"/>
            </a:endParaRPr>
          </a:p>
        </p:txBody>
      </p:sp>
      <p:sp>
        <p:nvSpPr>
          <p:cNvPr id="5" name="Rectangle 6">
            <a:extLst>
              <a:ext uri="{FF2B5EF4-FFF2-40B4-BE49-F238E27FC236}">
                <a16:creationId xmlns:a16="http://schemas.microsoft.com/office/drawing/2014/main" xmlns="" id="{D4AC77F9-D182-3FB4-4C6E-55038F0ED33E}"/>
              </a:ext>
            </a:extLst>
          </p:cNvPr>
          <p:cNvSpPr/>
          <p:nvPr/>
        </p:nvSpPr>
        <p:spPr>
          <a:xfrm>
            <a:off x="267542" y="3224713"/>
            <a:ext cx="7961706" cy="553998"/>
          </a:xfrm>
          <a:prstGeom prst="rect">
            <a:avLst/>
          </a:prstGeom>
        </p:spPr>
        <p:txBody>
          <a:bodyPr wrap="square" rtlCol="0">
            <a:spAutoFit/>
          </a:bodyPr>
          <a:lstStyle/>
          <a:p>
            <a:pPr algn="ctr" defTabSz="685800">
              <a:defRPr/>
            </a:pPr>
            <a:r>
              <a:rPr lang="ru" sz="1500" b="1" kern="0" dirty="0">
                <a:solidFill>
                  <a:schemeClr val="accent1"/>
                </a:solidFill>
              </a:rPr>
              <a:t>Лечение аналогично таковому для распространенного НМРЛ </a:t>
            </a:r>
          </a:p>
          <a:p>
            <a:pPr algn="ctr" defTabSz="685800">
              <a:defRPr/>
            </a:pPr>
            <a:r>
              <a:rPr lang="ru" sz="1500" b="1" kern="0" dirty="0">
                <a:solidFill>
                  <a:schemeClr val="accent1"/>
                </a:solidFill>
              </a:rPr>
              <a:t>без клинически значимых биомаркеров</a:t>
            </a:r>
          </a:p>
        </p:txBody>
      </p:sp>
      <p:cxnSp>
        <p:nvCxnSpPr>
          <p:cNvPr id="6" name="Straight Connector 8">
            <a:extLst>
              <a:ext uri="{FF2B5EF4-FFF2-40B4-BE49-F238E27FC236}">
                <a16:creationId xmlns:a16="http://schemas.microsoft.com/office/drawing/2014/main" xmlns="" id="{6E542C38-578C-DDDE-586E-6802C3130E10}"/>
              </a:ext>
            </a:extLst>
          </p:cNvPr>
          <p:cNvCxnSpPr/>
          <p:nvPr/>
        </p:nvCxnSpPr>
        <p:spPr>
          <a:xfrm>
            <a:off x="1942747" y="2857526"/>
            <a:ext cx="4396740" cy="0"/>
          </a:xfrm>
          <a:prstGeom prst="line">
            <a:avLst/>
          </a:prstGeom>
          <a:noFill/>
          <a:ln w="28575" cap="flat" cmpd="sng" algn="ctr">
            <a:solidFill>
              <a:srgbClr val="0071CB"/>
            </a:solidFill>
            <a:prstDash val="solid"/>
            <a:miter lim="800000"/>
            <a:headEnd type="none" w="med" len="med"/>
            <a:tailEnd type="none" w="med" len="med"/>
          </a:ln>
          <a:effectLst/>
        </p:spPr>
      </p:cxnSp>
      <p:cxnSp>
        <p:nvCxnSpPr>
          <p:cNvPr id="7" name="Straight Arrow Connector 10">
            <a:extLst>
              <a:ext uri="{FF2B5EF4-FFF2-40B4-BE49-F238E27FC236}">
                <a16:creationId xmlns:a16="http://schemas.microsoft.com/office/drawing/2014/main" xmlns="" id="{41954B6B-AE53-8F3C-5926-328FAB55118D}"/>
              </a:ext>
            </a:extLst>
          </p:cNvPr>
          <p:cNvCxnSpPr>
            <a:cxnSpLocks/>
          </p:cNvCxnSpPr>
          <p:nvPr/>
        </p:nvCxnSpPr>
        <p:spPr>
          <a:xfrm>
            <a:off x="4232556" y="2857526"/>
            <a:ext cx="1" cy="205740"/>
          </a:xfrm>
          <a:prstGeom prst="straightConnector1">
            <a:avLst/>
          </a:prstGeom>
          <a:noFill/>
          <a:ln w="28575" cap="flat" cmpd="sng" algn="ctr">
            <a:solidFill>
              <a:srgbClr val="0071CB"/>
            </a:solidFill>
            <a:prstDash val="solid"/>
            <a:miter lim="800000"/>
            <a:headEnd type="none" w="med" len="med"/>
            <a:tailEnd type="triangle"/>
          </a:ln>
          <a:effectLst/>
        </p:spPr>
      </p:cxnSp>
      <p:sp>
        <p:nvSpPr>
          <p:cNvPr id="8" name="TextBox 7">
            <a:extLst>
              <a:ext uri="{FF2B5EF4-FFF2-40B4-BE49-F238E27FC236}">
                <a16:creationId xmlns:a16="http://schemas.microsoft.com/office/drawing/2014/main" xmlns="" id="{F1DF04AA-AAF3-45AD-AD7D-E44A0D5AA44D}"/>
              </a:ext>
            </a:extLst>
          </p:cNvPr>
          <p:cNvSpPr txBox="1"/>
          <p:nvPr/>
        </p:nvSpPr>
        <p:spPr>
          <a:xfrm>
            <a:off x="302346" y="4312773"/>
            <a:ext cx="3053330" cy="225426"/>
          </a:xfrm>
          <a:prstGeom prst="rect">
            <a:avLst/>
          </a:prstGeom>
          <a:noFill/>
          <a:ln>
            <a:solidFill>
              <a:schemeClr val="bg1"/>
            </a:solidFill>
          </a:ln>
        </p:spPr>
        <p:txBody>
          <a:bodyPr wrap="none" rtlCol="0">
            <a:noAutofit/>
          </a:bodyPr>
          <a:lstStyle/>
          <a:p>
            <a:pPr algn="l">
              <a:lnSpc>
                <a:spcPct val="90000"/>
              </a:lnSpc>
              <a:spcAft>
                <a:spcPts val="600"/>
              </a:spcAft>
            </a:pPr>
            <a:r>
              <a:rPr lang="ru-RU" sz="700" dirty="0"/>
              <a:t>НМРЛ – </a:t>
            </a:r>
            <a:r>
              <a:rPr lang="ru-RU" sz="700" i="1" dirty="0" err="1"/>
              <a:t>немелкоклеточный</a:t>
            </a:r>
            <a:r>
              <a:rPr lang="ru-RU" sz="700" dirty="0"/>
              <a:t> рак легкого</a:t>
            </a:r>
            <a:endParaRPr lang="ru-RU" sz="700" dirty="0">
              <a:latin typeface="Arial"/>
            </a:endParaRPr>
          </a:p>
        </p:txBody>
      </p:sp>
    </p:spTree>
    <p:extLst>
      <p:ext uri="{BB962C8B-B14F-4D97-AF65-F5344CB8AC3E}">
        <p14:creationId xmlns:p14="http://schemas.microsoft.com/office/powerpoint/2010/main" val="1348549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r>
              <a:rPr lang="ru-RU" dirty="0"/>
              <a:t>Различные механизмы активации </a:t>
            </a:r>
            <a:r>
              <a:rPr lang="ru-RU" i="1" dirty="0"/>
              <a:t>HER2</a:t>
            </a:r>
            <a:r>
              <a:rPr lang="ru-RU" dirty="0"/>
              <a:t> при НМРЛ</a:t>
            </a:r>
          </a:p>
        </p:txBody>
      </p:sp>
      <p:pic>
        <p:nvPicPr>
          <p:cNvPr id="3" name="Picture 2">
            <a:extLst>
              <a:ext uri="{FF2B5EF4-FFF2-40B4-BE49-F238E27FC236}">
                <a16:creationId xmlns:a16="http://schemas.microsoft.com/office/drawing/2014/main" xmlns="" id="{613FF69C-3D8B-0E9D-4226-4283199AAF14}"/>
              </a:ext>
            </a:extLst>
          </p:cNvPr>
          <p:cNvPicPr>
            <a:picLocks noChangeAspect="1" noChangeArrowheads="1"/>
          </p:cNvPicPr>
          <p:nvPr/>
        </p:nvPicPr>
        <p:blipFill>
          <a:blip r:embed="rId3" cstate="print"/>
          <a:srcRect/>
          <a:stretch>
            <a:fillRect/>
          </a:stretch>
        </p:blipFill>
        <p:spPr bwMode="auto">
          <a:xfrm>
            <a:off x="5906509" y="984730"/>
            <a:ext cx="2278856" cy="1728788"/>
          </a:xfrm>
          <a:prstGeom prst="rect">
            <a:avLst/>
          </a:prstGeom>
          <a:noFill/>
          <a:ln w="9525">
            <a:noFill/>
            <a:miter lim="800000"/>
            <a:headEnd/>
            <a:tailEnd/>
          </a:ln>
        </p:spPr>
      </p:pic>
      <p:pic>
        <p:nvPicPr>
          <p:cNvPr id="7" name="Picture 3">
            <a:extLst>
              <a:ext uri="{FF2B5EF4-FFF2-40B4-BE49-F238E27FC236}">
                <a16:creationId xmlns:a16="http://schemas.microsoft.com/office/drawing/2014/main" xmlns="" id="{FA876433-2ABC-2E0D-5774-29B05BD3B65B}"/>
              </a:ext>
            </a:extLst>
          </p:cNvPr>
          <p:cNvPicPr>
            <a:picLocks noChangeAspect="1" noChangeArrowheads="1"/>
          </p:cNvPicPr>
          <p:nvPr/>
        </p:nvPicPr>
        <p:blipFill>
          <a:blip r:embed="rId4" cstate="print"/>
          <a:srcRect/>
          <a:stretch>
            <a:fillRect/>
          </a:stretch>
        </p:blipFill>
        <p:spPr bwMode="auto">
          <a:xfrm>
            <a:off x="5676589" y="3019093"/>
            <a:ext cx="2621756" cy="1250156"/>
          </a:xfrm>
          <a:prstGeom prst="rect">
            <a:avLst/>
          </a:prstGeom>
          <a:noFill/>
          <a:ln w="9525">
            <a:noFill/>
            <a:miter lim="800000"/>
            <a:headEnd/>
            <a:tailEnd/>
          </a:ln>
        </p:spPr>
      </p:pic>
      <p:sp>
        <p:nvSpPr>
          <p:cNvPr id="8" name="Text Placeholder 2">
            <a:extLst>
              <a:ext uri="{FF2B5EF4-FFF2-40B4-BE49-F238E27FC236}">
                <a16:creationId xmlns:a16="http://schemas.microsoft.com/office/drawing/2014/main" xmlns="" id="{6135EFDA-DD5A-3349-1745-C8CF1C3EB535}"/>
              </a:ext>
            </a:extLst>
          </p:cNvPr>
          <p:cNvSpPr txBox="1">
            <a:spLocks/>
          </p:cNvSpPr>
          <p:nvPr/>
        </p:nvSpPr>
        <p:spPr>
          <a:xfrm>
            <a:off x="248922" y="742926"/>
            <a:ext cx="4941177" cy="3442097"/>
          </a:xfrm>
          <a:prstGeom prst="rect">
            <a:avLst/>
          </a:prstGeom>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indent="-214313" defTabSz="685800">
              <a:lnSpc>
                <a:spcPct val="95000"/>
              </a:lnSpc>
              <a:spcBef>
                <a:spcPts val="0"/>
              </a:spcBef>
              <a:spcAft>
                <a:spcPts val="450"/>
              </a:spcAft>
              <a:buClr>
                <a:srgbClr val="9CD3E3">
                  <a:lumMod val="75000"/>
                </a:srgbClr>
              </a:buClr>
              <a:defRPr/>
            </a:pPr>
            <a:r>
              <a:rPr lang="ru-RU" sz="1350" dirty="0">
                <a:solidFill>
                  <a:srgbClr val="000000"/>
                </a:solidFill>
                <a:latin typeface="Arial"/>
              </a:rPr>
              <a:t>М</a:t>
            </a:r>
            <a:r>
              <a:rPr lang="ru" sz="1350" dirty="0">
                <a:solidFill>
                  <a:srgbClr val="000000"/>
                </a:solidFill>
                <a:latin typeface="Arial"/>
              </a:rPr>
              <a:t>еханизмы активации </a:t>
            </a:r>
            <a:r>
              <a:rPr lang="ru" sz="1350" i="1" dirty="0">
                <a:solidFill>
                  <a:srgbClr val="000000"/>
                </a:solidFill>
                <a:latin typeface="Arial"/>
              </a:rPr>
              <a:t>HER2</a:t>
            </a:r>
            <a:r>
              <a:rPr lang="ru" sz="1350" dirty="0">
                <a:solidFill>
                  <a:srgbClr val="000000"/>
                </a:solidFill>
                <a:latin typeface="Arial"/>
              </a:rPr>
              <a:t> при НМРЛ включают</a:t>
            </a:r>
            <a:r>
              <a:rPr lang="ru" sz="1350" baseline="30000" dirty="0">
                <a:solidFill>
                  <a:srgbClr val="000000"/>
                </a:solidFill>
                <a:latin typeface="Arial"/>
              </a:rPr>
              <a:t>2</a:t>
            </a:r>
            <a:r>
              <a:rPr lang="ru" sz="1350" dirty="0">
                <a:solidFill>
                  <a:srgbClr val="000000"/>
                </a:solidFill>
                <a:latin typeface="Arial"/>
              </a:rPr>
              <a:t>: </a:t>
            </a:r>
          </a:p>
          <a:p>
            <a:pPr marL="514350" lvl="1" indent="-171450" defTabSz="685800">
              <a:lnSpc>
                <a:spcPct val="95000"/>
              </a:lnSpc>
              <a:spcBef>
                <a:spcPts val="0"/>
              </a:spcBef>
              <a:spcAft>
                <a:spcPts val="450"/>
              </a:spcAft>
              <a:buClr>
                <a:srgbClr val="9CD3E3">
                  <a:lumMod val="75000"/>
                </a:srgbClr>
              </a:buClr>
              <a:buFont typeface="Arial" panose="020B0604020202020204" pitchFamily="34" charset="0"/>
              <a:buChar char="–"/>
              <a:defRPr/>
            </a:pPr>
            <a:r>
              <a:rPr lang="ru" sz="1200" dirty="0">
                <a:solidFill>
                  <a:srgbClr val="000000"/>
                </a:solidFill>
                <a:latin typeface="Arial"/>
              </a:rPr>
              <a:t>Мутации в гене</a:t>
            </a:r>
            <a:r>
              <a:rPr lang="ru" sz="1200" i="1" dirty="0">
                <a:solidFill>
                  <a:srgbClr val="000000"/>
                </a:solidFill>
                <a:latin typeface="Arial"/>
              </a:rPr>
              <a:t> HER2</a:t>
            </a:r>
            <a:r>
              <a:rPr lang="ru" sz="1200" baseline="30000" dirty="0">
                <a:solidFill>
                  <a:srgbClr val="000000"/>
                </a:solidFill>
                <a:latin typeface="Arial"/>
              </a:rPr>
              <a:t>2-5</a:t>
            </a:r>
          </a:p>
          <a:p>
            <a:pPr marL="514350" lvl="1" indent="-171450" defTabSz="685800">
              <a:lnSpc>
                <a:spcPct val="95000"/>
              </a:lnSpc>
              <a:spcBef>
                <a:spcPts val="0"/>
              </a:spcBef>
              <a:spcAft>
                <a:spcPts val="450"/>
              </a:spcAft>
              <a:buClr>
                <a:srgbClr val="9CD3E3">
                  <a:lumMod val="75000"/>
                </a:srgbClr>
              </a:buClr>
              <a:buFont typeface="Arial" panose="020B0604020202020204" pitchFamily="34" charset="0"/>
              <a:buChar char="–"/>
              <a:defRPr/>
            </a:pPr>
            <a:r>
              <a:rPr lang="ru" sz="1200" dirty="0">
                <a:solidFill>
                  <a:srgbClr val="000000"/>
                </a:solidFill>
                <a:latin typeface="Arial"/>
              </a:rPr>
              <a:t>Амплификаци</a:t>
            </a:r>
            <a:r>
              <a:rPr lang="ru-RU" sz="1200" dirty="0">
                <a:solidFill>
                  <a:srgbClr val="000000"/>
                </a:solidFill>
                <a:latin typeface="Arial"/>
              </a:rPr>
              <a:t>ю</a:t>
            </a:r>
            <a:r>
              <a:rPr lang="ru" sz="1200" dirty="0">
                <a:solidFill>
                  <a:srgbClr val="000000"/>
                </a:solidFill>
                <a:latin typeface="Arial"/>
              </a:rPr>
              <a:t> гена </a:t>
            </a:r>
            <a:r>
              <a:rPr lang="ru" sz="1200" i="1" dirty="0">
                <a:solidFill>
                  <a:srgbClr val="000000"/>
                </a:solidFill>
                <a:latin typeface="Arial"/>
              </a:rPr>
              <a:t>HER2</a:t>
            </a:r>
            <a:r>
              <a:rPr lang="ru" sz="1200" baseline="30000" dirty="0">
                <a:solidFill>
                  <a:srgbClr val="000000"/>
                </a:solidFill>
                <a:latin typeface="Arial"/>
              </a:rPr>
              <a:t>2,6-8</a:t>
            </a:r>
          </a:p>
          <a:p>
            <a:pPr marL="514350" lvl="1" indent="-171450" defTabSz="685800">
              <a:lnSpc>
                <a:spcPct val="95000"/>
              </a:lnSpc>
              <a:spcBef>
                <a:spcPts val="0"/>
              </a:spcBef>
              <a:spcAft>
                <a:spcPts val="450"/>
              </a:spcAft>
              <a:buClr>
                <a:srgbClr val="9CD3E3">
                  <a:lumMod val="75000"/>
                </a:srgbClr>
              </a:buClr>
              <a:buFont typeface="Arial" panose="020B0604020202020204" pitchFamily="34" charset="0"/>
              <a:buChar char="–"/>
              <a:defRPr/>
            </a:pPr>
            <a:r>
              <a:rPr lang="ru" sz="1200" dirty="0">
                <a:solidFill>
                  <a:srgbClr val="000000"/>
                </a:solidFill>
                <a:latin typeface="Arial"/>
              </a:rPr>
              <a:t>Гиперэкспрессию белка HER2</a:t>
            </a:r>
            <a:r>
              <a:rPr lang="ru" sz="1200" baseline="30000" dirty="0">
                <a:solidFill>
                  <a:srgbClr val="000000"/>
                </a:solidFill>
                <a:latin typeface="Arial"/>
              </a:rPr>
              <a:t>2,9,10,a</a:t>
            </a:r>
            <a:endParaRPr lang="en-US" sz="1200" dirty="0">
              <a:solidFill>
                <a:srgbClr val="000000"/>
              </a:solidFill>
              <a:latin typeface="Arial"/>
            </a:endParaRPr>
          </a:p>
          <a:p>
            <a:pPr marL="204788" indent="-204788" defTabSz="685800">
              <a:lnSpc>
                <a:spcPct val="95000"/>
              </a:lnSpc>
              <a:spcAft>
                <a:spcPts val="450"/>
              </a:spcAft>
              <a:buClr>
                <a:srgbClr val="9CD3E3">
                  <a:lumMod val="75000"/>
                </a:srgbClr>
              </a:buClr>
              <a:defRPr/>
            </a:pPr>
            <a:r>
              <a:rPr lang="ru-RU" sz="1350" dirty="0">
                <a:solidFill>
                  <a:srgbClr val="000000"/>
                </a:solidFill>
                <a:latin typeface="Arial" panose="020B0604020202020204"/>
              </a:rPr>
              <a:t>Как мутации, так и амплификация </a:t>
            </a:r>
            <a:r>
              <a:rPr lang="en-US" sz="1350" i="1" dirty="0">
                <a:solidFill>
                  <a:srgbClr val="000000"/>
                </a:solidFill>
                <a:latin typeface="Arial" panose="020B0604020202020204"/>
              </a:rPr>
              <a:t>HER</a:t>
            </a:r>
            <a:r>
              <a:rPr lang="ru-RU" sz="1350" i="1" dirty="0">
                <a:solidFill>
                  <a:srgbClr val="000000"/>
                </a:solidFill>
                <a:latin typeface="Arial" panose="020B0604020202020204"/>
              </a:rPr>
              <a:t>2 </a:t>
            </a:r>
            <a:r>
              <a:rPr lang="en-US" sz="1350" dirty="0">
                <a:solidFill>
                  <a:srgbClr val="000000"/>
                </a:solidFill>
                <a:latin typeface="Arial" panose="020B0604020202020204"/>
              </a:rPr>
              <a:t> </a:t>
            </a:r>
            <a:r>
              <a:rPr lang="ru-RU" sz="1350" dirty="0">
                <a:solidFill>
                  <a:srgbClr val="000000"/>
                </a:solidFill>
                <a:latin typeface="Arial" panose="020B0604020202020204"/>
              </a:rPr>
              <a:t>могут быть механизмом резистентности к анти-</a:t>
            </a:r>
            <a:r>
              <a:rPr lang="en-US" sz="1350" dirty="0">
                <a:solidFill>
                  <a:srgbClr val="000000"/>
                </a:solidFill>
                <a:latin typeface="Arial" panose="020B0604020202020204"/>
              </a:rPr>
              <a:t>EGFR</a:t>
            </a:r>
            <a:r>
              <a:rPr lang="ru-RU" sz="1350" dirty="0">
                <a:solidFill>
                  <a:srgbClr val="000000"/>
                </a:solidFill>
                <a:latin typeface="Arial" panose="020B0604020202020204"/>
              </a:rPr>
              <a:t> терапии</a:t>
            </a:r>
            <a:endParaRPr lang="ru" sz="1350" dirty="0">
              <a:solidFill>
                <a:srgbClr val="000000"/>
              </a:solidFill>
              <a:latin typeface="Arial"/>
            </a:endParaRPr>
          </a:p>
          <a:p>
            <a:pPr marL="204788" indent="-204788" defTabSz="685800">
              <a:lnSpc>
                <a:spcPct val="95000"/>
              </a:lnSpc>
              <a:spcAft>
                <a:spcPts val="450"/>
              </a:spcAft>
              <a:buClr>
                <a:srgbClr val="9CD3E3">
                  <a:lumMod val="75000"/>
                </a:srgbClr>
              </a:buClr>
              <a:defRPr/>
            </a:pPr>
            <a:r>
              <a:rPr lang="ru" sz="1350" dirty="0">
                <a:solidFill>
                  <a:srgbClr val="000000"/>
                </a:solidFill>
                <a:latin typeface="Arial"/>
              </a:rPr>
              <a:t>Как правило, мутации </a:t>
            </a:r>
            <a:r>
              <a:rPr lang="ru" sz="1350" i="1" dirty="0">
                <a:solidFill>
                  <a:srgbClr val="000000"/>
                </a:solidFill>
                <a:latin typeface="Arial"/>
              </a:rPr>
              <a:t>HER2</a:t>
            </a:r>
            <a:r>
              <a:rPr lang="ru" sz="1350" dirty="0">
                <a:solidFill>
                  <a:srgbClr val="000000"/>
                </a:solidFill>
                <a:latin typeface="Arial"/>
              </a:rPr>
              <a:t> не сочетаются с амплификацией</a:t>
            </a:r>
            <a:r>
              <a:rPr lang="en-US" sz="1350" dirty="0">
                <a:solidFill>
                  <a:srgbClr val="000000"/>
                </a:solidFill>
                <a:latin typeface="Arial"/>
              </a:rPr>
              <a:t> </a:t>
            </a:r>
            <a:r>
              <a:rPr lang="ru" sz="1350" i="1" dirty="0">
                <a:solidFill>
                  <a:srgbClr val="000000"/>
                </a:solidFill>
                <a:latin typeface="Arial"/>
              </a:rPr>
              <a:t>HER2</a:t>
            </a:r>
            <a:r>
              <a:rPr lang="ru" sz="1350" dirty="0">
                <a:solidFill>
                  <a:srgbClr val="000000"/>
                </a:solidFill>
                <a:latin typeface="Arial"/>
              </a:rPr>
              <a:t> или гиперэкспрессией белка </a:t>
            </a:r>
            <a:r>
              <a:rPr lang="ru" sz="1350" i="1" dirty="0">
                <a:solidFill>
                  <a:srgbClr val="000000"/>
                </a:solidFill>
                <a:latin typeface="Arial"/>
              </a:rPr>
              <a:t>HER2</a:t>
            </a:r>
            <a:r>
              <a:rPr lang="ru" sz="1350" baseline="30000" dirty="0">
                <a:solidFill>
                  <a:srgbClr val="000000"/>
                </a:solidFill>
                <a:latin typeface="Arial"/>
              </a:rPr>
              <a:t>11,12</a:t>
            </a:r>
          </a:p>
          <a:p>
            <a:pPr marL="204788" indent="-204788">
              <a:lnSpc>
                <a:spcPct val="95000"/>
              </a:lnSpc>
              <a:spcAft>
                <a:spcPts val="450"/>
              </a:spcAft>
              <a:buClr>
                <a:srgbClr val="9CD3E3">
                  <a:lumMod val="75000"/>
                </a:srgbClr>
              </a:buClr>
              <a:defRPr/>
            </a:pPr>
            <a:r>
              <a:rPr lang="ru" sz="1350" dirty="0">
                <a:solidFill>
                  <a:srgbClr val="000000"/>
                </a:solidFill>
                <a:latin typeface="Arial" panose="020B0604020202020204"/>
              </a:rPr>
              <a:t>Мутации </a:t>
            </a:r>
            <a:r>
              <a:rPr lang="ru" sz="1350" i="1" dirty="0">
                <a:solidFill>
                  <a:srgbClr val="000000"/>
                </a:solidFill>
                <a:latin typeface="Arial" panose="020B0604020202020204"/>
              </a:rPr>
              <a:t>HER2</a:t>
            </a:r>
            <a:r>
              <a:rPr lang="ru" sz="1350" dirty="0">
                <a:solidFill>
                  <a:srgbClr val="000000"/>
                </a:solidFill>
                <a:latin typeface="Arial" panose="020B0604020202020204"/>
              </a:rPr>
              <a:t>, </a:t>
            </a:r>
            <a:r>
              <a:rPr lang="ru-RU" sz="1350" dirty="0">
                <a:solidFill>
                  <a:srgbClr val="000000"/>
                </a:solidFill>
                <a:latin typeface="Arial" panose="020B0604020202020204"/>
              </a:rPr>
              <a:t>как правило, </a:t>
            </a:r>
            <a:r>
              <a:rPr lang="ru" sz="1350" dirty="0">
                <a:solidFill>
                  <a:srgbClr val="000000"/>
                </a:solidFill>
                <a:latin typeface="Arial" panose="020B0604020202020204"/>
              </a:rPr>
              <a:t>являются взаимоисключающими с другими активными онкогенными факторами (такими как мутации EGFR, KRAS, транслокация </a:t>
            </a:r>
            <a:r>
              <a:rPr lang="ru" sz="1350" i="1" dirty="0">
                <a:solidFill>
                  <a:srgbClr val="000000"/>
                </a:solidFill>
                <a:latin typeface="Arial"/>
              </a:rPr>
              <a:t>ALK</a:t>
            </a:r>
            <a:r>
              <a:rPr lang="ru" sz="1350" dirty="0">
                <a:solidFill>
                  <a:srgbClr val="000000"/>
                </a:solidFill>
                <a:latin typeface="Arial"/>
              </a:rPr>
              <a:t>)</a:t>
            </a:r>
            <a:endParaRPr lang="en-US" sz="1350" i="1" dirty="0">
              <a:solidFill>
                <a:srgbClr val="000000"/>
              </a:solidFill>
              <a:latin typeface="Arial"/>
            </a:endParaRPr>
          </a:p>
        </p:txBody>
      </p:sp>
      <p:sp>
        <p:nvSpPr>
          <p:cNvPr id="9" name="Прямоугольник 8">
            <a:extLst>
              <a:ext uri="{FF2B5EF4-FFF2-40B4-BE49-F238E27FC236}">
                <a16:creationId xmlns:a16="http://schemas.microsoft.com/office/drawing/2014/main" xmlns="" id="{F712CDE0-D463-BE5D-8BA7-FCC7CDE62322}"/>
              </a:ext>
            </a:extLst>
          </p:cNvPr>
          <p:cNvSpPr/>
          <p:nvPr/>
        </p:nvSpPr>
        <p:spPr>
          <a:xfrm>
            <a:off x="6335503" y="2573892"/>
            <a:ext cx="432434" cy="103875"/>
          </a:xfrm>
          <a:prstGeom prst="rect">
            <a:avLst/>
          </a:prstGeom>
          <a:noFill/>
        </p:spPr>
        <p:txBody>
          <a:bodyPr wrap="square" lIns="0" tIns="0" rIns="0" bIns="0" rtlCol="0">
            <a:spAutoFit/>
          </a:bodyPr>
          <a:lstStyle/>
          <a:p>
            <a:pPr defTabSz="685800">
              <a:buClr>
                <a:srgbClr val="0069B8"/>
              </a:buClr>
              <a:defRPr/>
            </a:pPr>
            <a:r>
              <a:rPr lang="ru" sz="675" b="1" kern="0">
                <a:solidFill>
                  <a:srgbClr val="4E3E7A"/>
                </a:solidFill>
              </a:rPr>
              <a:t>Ядро</a:t>
            </a:r>
            <a:endParaRPr lang="ru-RU" sz="675" b="1" kern="0" dirty="0">
              <a:solidFill>
                <a:srgbClr val="4E3E7A"/>
              </a:solidFill>
            </a:endParaRPr>
          </a:p>
        </p:txBody>
      </p:sp>
      <p:sp>
        <p:nvSpPr>
          <p:cNvPr id="10" name="Прямоугольник 9">
            <a:extLst>
              <a:ext uri="{FF2B5EF4-FFF2-40B4-BE49-F238E27FC236}">
                <a16:creationId xmlns:a16="http://schemas.microsoft.com/office/drawing/2014/main" xmlns="" id="{8D4930F6-A52D-4744-D6CC-4B2319573165}"/>
              </a:ext>
            </a:extLst>
          </p:cNvPr>
          <p:cNvSpPr/>
          <p:nvPr/>
        </p:nvSpPr>
        <p:spPr>
          <a:xfrm>
            <a:off x="5946883" y="2076686"/>
            <a:ext cx="600074" cy="126958"/>
          </a:xfrm>
          <a:prstGeom prst="rect">
            <a:avLst/>
          </a:prstGeom>
          <a:noFill/>
        </p:spPr>
        <p:txBody>
          <a:bodyPr wrap="square" lIns="0" tIns="0" rIns="0" bIns="0" rtlCol="0">
            <a:spAutoFit/>
          </a:bodyPr>
          <a:lstStyle/>
          <a:p>
            <a:pPr defTabSz="685800">
              <a:buClr>
                <a:srgbClr val="0069B8"/>
              </a:buClr>
              <a:defRPr/>
            </a:pPr>
            <a:r>
              <a:rPr lang="ru" sz="825" b="1" kern="0" dirty="0">
                <a:solidFill>
                  <a:srgbClr val="4E3E7A"/>
                </a:solidFill>
              </a:rPr>
              <a:t>Ген</a:t>
            </a:r>
            <a:r>
              <a:rPr lang="ru" sz="825" b="1" i="1" kern="0" dirty="0">
                <a:solidFill>
                  <a:srgbClr val="4E3E7A"/>
                </a:solidFill>
              </a:rPr>
              <a:t> HER2</a:t>
            </a:r>
            <a:endParaRPr lang="ru-RU" sz="825" b="1" i="1" kern="0" dirty="0">
              <a:solidFill>
                <a:srgbClr val="4E3E7A"/>
              </a:solidFill>
            </a:endParaRPr>
          </a:p>
        </p:txBody>
      </p:sp>
      <p:sp>
        <p:nvSpPr>
          <p:cNvPr id="11" name="Прямоугольник 10">
            <a:extLst>
              <a:ext uri="{FF2B5EF4-FFF2-40B4-BE49-F238E27FC236}">
                <a16:creationId xmlns:a16="http://schemas.microsoft.com/office/drawing/2014/main" xmlns="" id="{02C5C4F4-7D22-13CA-DB95-A42389E7439A}"/>
              </a:ext>
            </a:extLst>
          </p:cNvPr>
          <p:cNvSpPr/>
          <p:nvPr/>
        </p:nvSpPr>
        <p:spPr>
          <a:xfrm>
            <a:off x="7129888" y="1236581"/>
            <a:ext cx="754379" cy="126958"/>
          </a:xfrm>
          <a:prstGeom prst="rect">
            <a:avLst/>
          </a:prstGeom>
          <a:noFill/>
        </p:spPr>
        <p:txBody>
          <a:bodyPr wrap="square" lIns="0" tIns="0" rIns="0" bIns="0" rtlCol="0">
            <a:spAutoFit/>
          </a:bodyPr>
          <a:lstStyle/>
          <a:p>
            <a:pPr defTabSz="685800">
              <a:buClr>
                <a:srgbClr val="0069B8"/>
              </a:buClr>
              <a:defRPr/>
            </a:pPr>
            <a:r>
              <a:rPr lang="ru" sz="825" b="1" kern="0">
                <a:solidFill>
                  <a:srgbClr val="4E3E7A"/>
                </a:solidFill>
              </a:rPr>
              <a:t>Мутация гена</a:t>
            </a:r>
            <a:endParaRPr lang="ru-RU" sz="825" b="1" kern="0" dirty="0">
              <a:solidFill>
                <a:srgbClr val="4E3E7A"/>
              </a:solidFill>
            </a:endParaRPr>
          </a:p>
        </p:txBody>
      </p:sp>
      <p:sp>
        <p:nvSpPr>
          <p:cNvPr id="12" name="Прямоугольник 11">
            <a:extLst>
              <a:ext uri="{FF2B5EF4-FFF2-40B4-BE49-F238E27FC236}">
                <a16:creationId xmlns:a16="http://schemas.microsoft.com/office/drawing/2014/main" xmlns="" id="{38992B76-C6DC-5156-3177-DF405EA86269}"/>
              </a:ext>
            </a:extLst>
          </p:cNvPr>
          <p:cNvSpPr/>
          <p:nvPr/>
        </p:nvSpPr>
        <p:spPr>
          <a:xfrm>
            <a:off x="6238824" y="3410187"/>
            <a:ext cx="662464" cy="184666"/>
          </a:xfrm>
          <a:prstGeom prst="rect">
            <a:avLst/>
          </a:prstGeom>
          <a:noFill/>
        </p:spPr>
        <p:txBody>
          <a:bodyPr wrap="square" lIns="0" tIns="0" rIns="0" bIns="0" rtlCol="0">
            <a:spAutoFit/>
          </a:bodyPr>
          <a:lstStyle/>
          <a:p>
            <a:pPr defTabSz="685800">
              <a:buClr>
                <a:srgbClr val="0069B8"/>
              </a:buClr>
              <a:defRPr/>
            </a:pPr>
            <a:r>
              <a:rPr lang="ru" sz="600" b="1" kern="0" dirty="0">
                <a:solidFill>
                  <a:srgbClr val="4E3E7A"/>
                </a:solidFill>
              </a:rPr>
              <a:t>Амплификация гена </a:t>
            </a:r>
            <a:r>
              <a:rPr lang="ru" sz="600" b="1" i="1" kern="0" dirty="0">
                <a:solidFill>
                  <a:srgbClr val="4E3E7A"/>
                </a:solidFill>
              </a:rPr>
              <a:t>HER2</a:t>
            </a:r>
          </a:p>
        </p:txBody>
      </p:sp>
      <p:sp>
        <p:nvSpPr>
          <p:cNvPr id="13" name="Прямоугольник 12">
            <a:extLst>
              <a:ext uri="{FF2B5EF4-FFF2-40B4-BE49-F238E27FC236}">
                <a16:creationId xmlns:a16="http://schemas.microsoft.com/office/drawing/2014/main" xmlns="" id="{BA9708D2-E1DD-1C87-15CB-ACE3ECA3C927}"/>
              </a:ext>
            </a:extLst>
          </p:cNvPr>
          <p:cNvSpPr/>
          <p:nvPr/>
        </p:nvSpPr>
        <p:spPr>
          <a:xfrm>
            <a:off x="7109409" y="3391137"/>
            <a:ext cx="1140619" cy="92333"/>
          </a:xfrm>
          <a:prstGeom prst="rect">
            <a:avLst/>
          </a:prstGeom>
          <a:noFill/>
        </p:spPr>
        <p:txBody>
          <a:bodyPr wrap="square" lIns="0" tIns="0" rIns="0" bIns="0" rtlCol="0">
            <a:spAutoFit/>
          </a:bodyPr>
          <a:lstStyle/>
          <a:p>
            <a:pPr defTabSz="685800">
              <a:buClr>
                <a:srgbClr val="0069B8"/>
              </a:buClr>
              <a:defRPr/>
            </a:pPr>
            <a:r>
              <a:rPr lang="ru" sz="600" b="1" kern="0" dirty="0">
                <a:solidFill>
                  <a:srgbClr val="4E3E7A"/>
                </a:solidFill>
              </a:rPr>
              <a:t>Гиперэкспрессия белка HER2</a:t>
            </a:r>
            <a:endParaRPr lang="ru-RU" sz="600" kern="0" dirty="0">
              <a:solidFill>
                <a:srgbClr val="4E3E7A"/>
              </a:solidFill>
            </a:endParaRPr>
          </a:p>
        </p:txBody>
      </p:sp>
      <p:sp>
        <p:nvSpPr>
          <p:cNvPr id="14" name="Прямоугольник 13">
            <a:extLst>
              <a:ext uri="{FF2B5EF4-FFF2-40B4-BE49-F238E27FC236}">
                <a16:creationId xmlns:a16="http://schemas.microsoft.com/office/drawing/2014/main" xmlns="" id="{6B4D538A-4D45-9219-E4AC-E3300F59D417}"/>
              </a:ext>
            </a:extLst>
          </p:cNvPr>
          <p:cNvSpPr/>
          <p:nvPr/>
        </p:nvSpPr>
        <p:spPr>
          <a:xfrm>
            <a:off x="7301814" y="4135992"/>
            <a:ext cx="662464" cy="92333"/>
          </a:xfrm>
          <a:prstGeom prst="rect">
            <a:avLst/>
          </a:prstGeom>
          <a:noFill/>
        </p:spPr>
        <p:txBody>
          <a:bodyPr wrap="square" lIns="0" tIns="0" rIns="0" bIns="0" rtlCol="0">
            <a:spAutoFit/>
          </a:bodyPr>
          <a:lstStyle/>
          <a:p>
            <a:pPr algn="ctr" defTabSz="685800">
              <a:buClr>
                <a:srgbClr val="0069B8"/>
              </a:buClr>
              <a:defRPr/>
            </a:pPr>
            <a:r>
              <a:rPr lang="ru" sz="600" b="1" kern="0">
                <a:solidFill>
                  <a:srgbClr val="4E3E7A"/>
                </a:solidFill>
              </a:rPr>
              <a:t>Анализ ИГХ</a:t>
            </a:r>
            <a:endParaRPr lang="ru-RU" sz="600" b="1" kern="0" dirty="0">
              <a:solidFill>
                <a:srgbClr val="4E3E7A"/>
              </a:solidFill>
            </a:endParaRPr>
          </a:p>
        </p:txBody>
      </p:sp>
      <p:sp>
        <p:nvSpPr>
          <p:cNvPr id="15" name="Прямоугольник 14">
            <a:extLst>
              <a:ext uri="{FF2B5EF4-FFF2-40B4-BE49-F238E27FC236}">
                <a16:creationId xmlns:a16="http://schemas.microsoft.com/office/drawing/2014/main" xmlns="" id="{0ABFEF43-C488-548E-56DC-B8F96B78B434}"/>
              </a:ext>
            </a:extLst>
          </p:cNvPr>
          <p:cNvSpPr/>
          <p:nvPr/>
        </p:nvSpPr>
        <p:spPr>
          <a:xfrm>
            <a:off x="5975934" y="4139802"/>
            <a:ext cx="662464" cy="92333"/>
          </a:xfrm>
          <a:prstGeom prst="rect">
            <a:avLst/>
          </a:prstGeom>
          <a:noFill/>
        </p:spPr>
        <p:txBody>
          <a:bodyPr wrap="square" lIns="0" tIns="0" rIns="0" bIns="0" rtlCol="0">
            <a:spAutoFit/>
          </a:bodyPr>
          <a:lstStyle/>
          <a:p>
            <a:pPr algn="ctr" defTabSz="685800">
              <a:buClr>
                <a:srgbClr val="0069B8"/>
              </a:buClr>
              <a:defRPr/>
            </a:pPr>
            <a:r>
              <a:rPr lang="ru" sz="600" b="1" kern="0">
                <a:solidFill>
                  <a:srgbClr val="4E3E7A"/>
                </a:solidFill>
              </a:rPr>
              <a:t>Анализ FISH</a:t>
            </a:r>
            <a:endParaRPr lang="ru-RU" sz="600" b="1" kern="0" dirty="0">
              <a:solidFill>
                <a:srgbClr val="4E3E7A"/>
              </a:solidFill>
            </a:endParaRPr>
          </a:p>
        </p:txBody>
      </p:sp>
      <p:sp>
        <p:nvSpPr>
          <p:cNvPr id="16" name="Text Placeholder 7">
            <a:extLst>
              <a:ext uri="{FF2B5EF4-FFF2-40B4-BE49-F238E27FC236}">
                <a16:creationId xmlns:a16="http://schemas.microsoft.com/office/drawing/2014/main" xmlns="" id="{A3E874FE-3FFA-6372-22E8-67BF22C841F7}"/>
              </a:ext>
            </a:extLst>
          </p:cNvPr>
          <p:cNvSpPr txBox="1">
            <a:spLocks/>
          </p:cNvSpPr>
          <p:nvPr/>
        </p:nvSpPr>
        <p:spPr>
          <a:xfrm>
            <a:off x="147817" y="4390423"/>
            <a:ext cx="8381206" cy="694188"/>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ru" sz="600" baseline="30000" dirty="0"/>
              <a:t>a</a:t>
            </a:r>
            <a:r>
              <a:rPr lang="ru" sz="600" dirty="0"/>
              <a:t>Определение гиперэкспрессии различается в отдельных исследованиях</a:t>
            </a:r>
            <a:r>
              <a:rPr lang="ru" sz="600" baseline="30000" dirty="0"/>
              <a:t>7,9,10</a:t>
            </a:r>
          </a:p>
          <a:p>
            <a:pPr marL="0" indent="0">
              <a:lnSpc>
                <a:spcPct val="120000"/>
              </a:lnSpc>
              <a:buNone/>
            </a:pPr>
            <a:r>
              <a:rPr lang="ru" sz="600" b="1" dirty="0"/>
              <a:t>1</a:t>
            </a:r>
            <a:r>
              <a:rPr lang="ru" sz="500" dirty="0"/>
              <a:t>.</a:t>
            </a:r>
            <a:r>
              <a:rPr lang="ru" sz="600" dirty="0"/>
              <a:t>Tsao AS, et al. </a:t>
            </a:r>
            <a:r>
              <a:rPr lang="ru" sz="600" i="1" dirty="0"/>
              <a:t>J Thorac Oncol</a:t>
            </a:r>
            <a:r>
              <a:rPr lang="ru" sz="600" dirty="0"/>
              <a:t>. 2016;11(5):613-638. 2. Mazière’s J, et al. </a:t>
            </a:r>
            <a:r>
              <a:rPr lang="ru" sz="600" i="1" dirty="0"/>
              <a:t>J Clin Oncol</a:t>
            </a:r>
            <a:r>
              <a:rPr lang="ru" sz="600" dirty="0"/>
              <a:t>. 2013;31(16):1997-2003. 3. Arcila ME, et al. </a:t>
            </a:r>
            <a:r>
              <a:rPr lang="ru" sz="600" i="1" dirty="0"/>
              <a:t>Clin Cancer Res</a:t>
            </a:r>
            <a:r>
              <a:rPr lang="ru" sz="600" dirty="0"/>
              <a:t>. 2012;18(18):4910-4918. 4. Shigematsu H, et al. </a:t>
            </a:r>
            <a:r>
              <a:rPr lang="ru" sz="600" i="1" dirty="0"/>
              <a:t>Cancer Res</a:t>
            </a:r>
            <a:r>
              <a:rPr lang="ru" sz="600" dirty="0"/>
              <a:t>. 2005;65(5):1642-1646. 5. Tomizawa K, et al. </a:t>
            </a:r>
            <a:r>
              <a:rPr lang="ru" sz="600" i="1" dirty="0"/>
              <a:t>Lung Cancer</a:t>
            </a:r>
            <a:r>
              <a:rPr lang="ru" sz="600" dirty="0"/>
              <a:t>. 2011;74(1):139-144. 6. Buttitta F, et al.</a:t>
            </a:r>
            <a:r>
              <a:rPr lang="ru" sz="600" i="1" dirty="0"/>
              <a:t> Int J Cancer</a:t>
            </a:r>
            <a:r>
              <a:rPr lang="ru" sz="600" dirty="0"/>
              <a:t>. 2006;119(11):2586-2591. 7. Pellegrini C, et al. </a:t>
            </a:r>
            <a:r>
              <a:rPr lang="ru" sz="600" i="1" dirty="0"/>
              <a:t>Clin Cancer Res</a:t>
            </a:r>
            <a:r>
              <a:rPr lang="ru" sz="600" dirty="0"/>
              <a:t>. 2003;9(10 Pt 1):3645-3652. 8. Stephens P, et al. </a:t>
            </a:r>
            <a:r>
              <a:rPr lang="ru" sz="600" i="1" dirty="0"/>
              <a:t>Nature</a:t>
            </a:r>
            <a:r>
              <a:rPr lang="ru" sz="600" dirty="0"/>
              <a:t>. 2004;431(7008):525-526. 9. Heinmöller P, et al. </a:t>
            </a:r>
            <a:r>
              <a:rPr lang="ru" sz="600" i="1" dirty="0"/>
              <a:t>Clin Cancer Res</a:t>
            </a:r>
            <a:r>
              <a:rPr lang="ru" sz="600" dirty="0"/>
              <a:t>. 2003;9(14):5238-5243. 10. Brabender J, et al. </a:t>
            </a:r>
            <a:r>
              <a:rPr lang="ru" sz="600" i="1" dirty="0"/>
              <a:t>Clin Cancer Res</a:t>
            </a:r>
            <a:r>
              <a:rPr lang="ru" sz="600" dirty="0"/>
              <a:t>. 2001;7(7):1850-1855. 11. Li BT et al. </a:t>
            </a:r>
            <a:r>
              <a:rPr lang="ru" sz="600" i="1" dirty="0"/>
              <a:t>J Thorac Oncol</a:t>
            </a:r>
            <a:r>
              <a:rPr lang="ru" sz="600" dirty="0"/>
              <a:t>. 2016;11(3):414-419. 12. Kim EK et al</a:t>
            </a:r>
            <a:r>
              <a:rPr lang="ru" sz="600" i="1" dirty="0"/>
              <a:t>. PLoS One</a:t>
            </a:r>
            <a:r>
              <a:rPr lang="ru" sz="600" dirty="0"/>
              <a:t>. 2017;12(2):e0171280. 13. Ko YS, et al. </a:t>
            </a:r>
            <a:r>
              <a:rPr lang="ru" sz="600" i="1" dirty="0"/>
              <a:t>Int J Biol Markers. </a:t>
            </a:r>
            <a:r>
              <a:rPr lang="ru" sz="600" dirty="0"/>
              <a:t>2018 33(1):49-54</a:t>
            </a:r>
            <a:r>
              <a:rPr lang="ru" sz="500" dirty="0"/>
              <a:t>. </a:t>
            </a:r>
            <a:endParaRPr lang="en-US" sz="600" dirty="0"/>
          </a:p>
        </p:txBody>
      </p:sp>
      <p:sp>
        <p:nvSpPr>
          <p:cNvPr id="17" name="TextBox 16">
            <a:extLst>
              <a:ext uri="{FF2B5EF4-FFF2-40B4-BE49-F238E27FC236}">
                <a16:creationId xmlns:a16="http://schemas.microsoft.com/office/drawing/2014/main" xmlns="" id="{EFE48073-C0C0-4283-9A81-7AA12999DE22}"/>
              </a:ext>
            </a:extLst>
          </p:cNvPr>
          <p:cNvSpPr txBox="1"/>
          <p:nvPr/>
        </p:nvSpPr>
        <p:spPr>
          <a:xfrm>
            <a:off x="5775149" y="4349311"/>
            <a:ext cx="3053330" cy="225426"/>
          </a:xfrm>
          <a:prstGeom prst="rect">
            <a:avLst/>
          </a:prstGeom>
          <a:noFill/>
          <a:ln>
            <a:solidFill>
              <a:schemeClr val="bg1"/>
            </a:solidFill>
          </a:ln>
        </p:spPr>
        <p:txBody>
          <a:bodyPr wrap="none" rtlCol="0">
            <a:noAutofit/>
          </a:bodyPr>
          <a:lstStyle/>
          <a:p>
            <a:pPr algn="l">
              <a:lnSpc>
                <a:spcPct val="90000"/>
              </a:lnSpc>
              <a:spcAft>
                <a:spcPts val="600"/>
              </a:spcAft>
            </a:pPr>
            <a:r>
              <a:rPr lang="ru-RU" sz="900" i="1" dirty="0"/>
              <a:t>НМРЛ – </a:t>
            </a:r>
            <a:r>
              <a:rPr lang="ru-RU" sz="900" i="1" dirty="0" err="1"/>
              <a:t>немелкоклеточный</a:t>
            </a:r>
            <a:r>
              <a:rPr lang="ru-RU" sz="900" i="1" dirty="0"/>
              <a:t> рак легкого</a:t>
            </a:r>
            <a:endParaRPr lang="ru-RU" sz="900" i="1" dirty="0">
              <a:latin typeface="Arial"/>
            </a:endParaRPr>
          </a:p>
        </p:txBody>
      </p:sp>
    </p:spTree>
    <p:extLst>
      <p:ext uri="{BB962C8B-B14F-4D97-AF65-F5344CB8AC3E}">
        <p14:creationId xmlns:p14="http://schemas.microsoft.com/office/powerpoint/2010/main" val="1625221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6061" t="15152" r="3220" b="44107"/>
          <a:stretch/>
        </p:blipFill>
        <p:spPr bwMode="auto">
          <a:xfrm>
            <a:off x="587484" y="140591"/>
            <a:ext cx="7800974" cy="4390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75667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4BB2395-09AA-4595-BDB1-AA2B18473219}"/>
              </a:ext>
            </a:extLst>
          </p:cNvPr>
          <p:cNvSpPr>
            <a:spLocks noGrp="1"/>
          </p:cNvSpPr>
          <p:nvPr>
            <p:ph type="title"/>
          </p:nvPr>
        </p:nvSpPr>
        <p:spPr/>
        <p:txBody>
          <a:bodyPr/>
          <a:lstStyle/>
          <a:p>
            <a:r>
              <a:rPr lang="ru-RU" dirty="0"/>
              <a:t>Геномные изменения </a:t>
            </a:r>
            <a:r>
              <a:rPr lang="ru-RU" i="1" dirty="0"/>
              <a:t>HER2 (ERBB2) </a:t>
            </a:r>
            <a:r>
              <a:rPr lang="ru-RU" dirty="0"/>
              <a:t>были обнаружены </a:t>
            </a:r>
            <a:br>
              <a:rPr lang="ru-RU" dirty="0"/>
            </a:br>
            <a:r>
              <a:rPr lang="ru-RU" dirty="0"/>
              <a:t>во многих типах опухолей</a:t>
            </a:r>
          </a:p>
        </p:txBody>
      </p:sp>
      <p:sp>
        <p:nvSpPr>
          <p:cNvPr id="3" name="Text Placeholder 10">
            <a:extLst>
              <a:ext uri="{FF2B5EF4-FFF2-40B4-BE49-F238E27FC236}">
                <a16:creationId xmlns:a16="http://schemas.microsoft.com/office/drawing/2014/main" xmlns="" id="{BD469175-52DE-4EA6-BE6F-4A43C17686B0}"/>
              </a:ext>
            </a:extLst>
          </p:cNvPr>
          <p:cNvSpPr txBox="1">
            <a:spLocks/>
          </p:cNvSpPr>
          <p:nvPr/>
        </p:nvSpPr>
        <p:spPr>
          <a:xfrm>
            <a:off x="5446033" y="1469278"/>
            <a:ext cx="3359103" cy="28575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lvl="1" indent="-171450" defTabSz="685800">
              <a:lnSpc>
                <a:spcPct val="120000"/>
              </a:lnSpc>
              <a:spcBef>
                <a:spcPts val="600"/>
              </a:spcBef>
              <a:buClr>
                <a:srgbClr val="7363AC"/>
              </a:buClr>
            </a:pPr>
            <a:r>
              <a:rPr lang="ru-RU" sz="1200" dirty="0">
                <a:solidFill>
                  <a:srgbClr val="000000"/>
                </a:solidFill>
                <a:latin typeface="Arial"/>
              </a:rPr>
              <a:t>Амплификация гена </a:t>
            </a:r>
            <a:r>
              <a:rPr lang="ru-RU" sz="1200" i="1" dirty="0">
                <a:solidFill>
                  <a:srgbClr val="000000"/>
                </a:solidFill>
                <a:latin typeface="Arial"/>
              </a:rPr>
              <a:t>HER2</a:t>
            </a:r>
            <a:r>
              <a:rPr lang="ru-RU" sz="1200" dirty="0">
                <a:solidFill>
                  <a:srgbClr val="000000"/>
                </a:solidFill>
                <a:latin typeface="Arial"/>
              </a:rPr>
              <a:t> </a:t>
            </a:r>
            <a:br>
              <a:rPr lang="ru-RU" sz="1200" dirty="0">
                <a:solidFill>
                  <a:srgbClr val="000000"/>
                </a:solidFill>
                <a:latin typeface="Arial"/>
              </a:rPr>
            </a:br>
            <a:r>
              <a:rPr lang="ru-RU" sz="1200" dirty="0">
                <a:solidFill>
                  <a:srgbClr val="000000"/>
                </a:solidFill>
                <a:latin typeface="Arial"/>
              </a:rPr>
              <a:t>и </a:t>
            </a:r>
            <a:r>
              <a:rPr lang="ru-RU" sz="1200" dirty="0" err="1">
                <a:solidFill>
                  <a:srgbClr val="000000"/>
                </a:solidFill>
                <a:latin typeface="Arial"/>
              </a:rPr>
              <a:t>гиперэкспрессия</a:t>
            </a:r>
            <a:r>
              <a:rPr lang="ru-RU" sz="1200" dirty="0">
                <a:solidFill>
                  <a:srgbClr val="000000"/>
                </a:solidFill>
                <a:latin typeface="Arial"/>
              </a:rPr>
              <a:t> белка HER2 наблюдаются при раке легкого</a:t>
            </a:r>
            <a:r>
              <a:rPr lang="en-GB" sz="1200" baseline="30000" dirty="0">
                <a:solidFill>
                  <a:srgbClr val="000000"/>
                </a:solidFill>
                <a:latin typeface="Arial"/>
              </a:rPr>
              <a:t>2</a:t>
            </a:r>
          </a:p>
          <a:p>
            <a:pPr marL="514350" lvl="1" indent="-171450" defTabSz="685800">
              <a:lnSpc>
                <a:spcPct val="120000"/>
              </a:lnSpc>
              <a:spcBef>
                <a:spcPts val="600"/>
              </a:spcBef>
              <a:buClr>
                <a:srgbClr val="7363AC"/>
              </a:buClr>
            </a:pPr>
            <a:r>
              <a:rPr lang="ru-RU" sz="1200" dirty="0">
                <a:solidFill>
                  <a:srgbClr val="000000"/>
                </a:solidFill>
                <a:latin typeface="Arial"/>
              </a:rPr>
              <a:t>Однако 2-4% случаев рака легкого также несут активирующие мутации </a:t>
            </a:r>
            <a:br>
              <a:rPr lang="ru-RU" sz="1200" dirty="0">
                <a:solidFill>
                  <a:srgbClr val="000000"/>
                </a:solidFill>
                <a:latin typeface="Arial"/>
              </a:rPr>
            </a:br>
            <a:r>
              <a:rPr lang="ru-RU" sz="1200" dirty="0">
                <a:solidFill>
                  <a:srgbClr val="000000"/>
                </a:solidFill>
                <a:latin typeface="Arial"/>
              </a:rPr>
              <a:t>в гене </a:t>
            </a:r>
            <a:r>
              <a:rPr lang="ru-RU" sz="1200" i="1" dirty="0">
                <a:solidFill>
                  <a:srgbClr val="000000"/>
                </a:solidFill>
                <a:latin typeface="Arial"/>
              </a:rPr>
              <a:t>HER2</a:t>
            </a:r>
            <a:r>
              <a:rPr lang="ru-RU" sz="1200" dirty="0">
                <a:solidFill>
                  <a:srgbClr val="000000"/>
                </a:solidFill>
                <a:latin typeface="Arial"/>
              </a:rPr>
              <a:t>, в частности вставки/делеции</a:t>
            </a:r>
            <a:r>
              <a:rPr lang="en-GB" sz="1200" baseline="30000" dirty="0">
                <a:solidFill>
                  <a:srgbClr val="000000"/>
                </a:solidFill>
                <a:latin typeface="Arial"/>
              </a:rPr>
              <a:t>3,4</a:t>
            </a:r>
          </a:p>
          <a:p>
            <a:pPr marL="514350" lvl="1" indent="-171450" defTabSz="685800">
              <a:lnSpc>
                <a:spcPct val="120000"/>
              </a:lnSpc>
              <a:spcBef>
                <a:spcPts val="600"/>
              </a:spcBef>
              <a:buClr>
                <a:srgbClr val="7363AC"/>
              </a:buClr>
            </a:pPr>
            <a:r>
              <a:rPr lang="ru-RU" sz="1200" dirty="0">
                <a:solidFill>
                  <a:srgbClr val="000000"/>
                </a:solidFill>
                <a:latin typeface="Arial"/>
              </a:rPr>
              <a:t>При раке легкого частота </a:t>
            </a:r>
            <a:r>
              <a:rPr lang="ru-RU" sz="1200" dirty="0" err="1">
                <a:solidFill>
                  <a:srgbClr val="000000"/>
                </a:solidFill>
                <a:latin typeface="Arial"/>
              </a:rPr>
              <a:t>гиперэкспрессии</a:t>
            </a:r>
            <a:r>
              <a:rPr lang="ru-RU" sz="1200" dirty="0">
                <a:solidFill>
                  <a:srgbClr val="000000"/>
                </a:solidFill>
                <a:latin typeface="Arial"/>
              </a:rPr>
              <a:t> HER2 колеблется </a:t>
            </a:r>
            <a:br>
              <a:rPr lang="ru-RU" sz="1200" dirty="0">
                <a:solidFill>
                  <a:srgbClr val="000000"/>
                </a:solidFill>
                <a:latin typeface="Arial"/>
              </a:rPr>
            </a:br>
            <a:r>
              <a:rPr lang="ru-RU" sz="1200" dirty="0">
                <a:solidFill>
                  <a:srgbClr val="000000"/>
                </a:solidFill>
                <a:latin typeface="Arial"/>
              </a:rPr>
              <a:t>от 2% до 35%</a:t>
            </a:r>
            <a:r>
              <a:rPr lang="en-GB" sz="1200" baseline="30000" dirty="0">
                <a:solidFill>
                  <a:srgbClr val="000000"/>
                </a:solidFill>
                <a:latin typeface="Arial"/>
              </a:rPr>
              <a:t>2,5,6</a:t>
            </a:r>
          </a:p>
        </p:txBody>
      </p:sp>
      <p:sp>
        <p:nvSpPr>
          <p:cNvPr id="4" name="TextBox 3">
            <a:extLst>
              <a:ext uri="{FF2B5EF4-FFF2-40B4-BE49-F238E27FC236}">
                <a16:creationId xmlns:a16="http://schemas.microsoft.com/office/drawing/2014/main" xmlns="" id="{74972DB1-42BB-437A-B4DB-7ECCA0C7F978}"/>
              </a:ext>
            </a:extLst>
          </p:cNvPr>
          <p:cNvSpPr txBox="1"/>
          <p:nvPr/>
        </p:nvSpPr>
        <p:spPr>
          <a:xfrm>
            <a:off x="2322006" y="3110462"/>
            <a:ext cx="175291" cy="369332"/>
          </a:xfrm>
          <a:prstGeom prst="rect">
            <a:avLst/>
          </a:prstGeom>
          <a:noFill/>
          <a:ln w="12700">
            <a:solidFill>
              <a:srgbClr val="FF0000"/>
            </a:solidFill>
          </a:ln>
        </p:spPr>
        <p:txBody>
          <a:bodyPr wrap="square" rtlCol="0">
            <a:spAutoFit/>
          </a:bodyPr>
          <a:lstStyle/>
          <a:p>
            <a:pPr defTabSz="457189"/>
            <a:endParaRPr lang="en-GB" dirty="0">
              <a:solidFill>
                <a:srgbClr val="000000"/>
              </a:solidFill>
              <a:latin typeface="Arial"/>
            </a:endParaRPr>
          </a:p>
        </p:txBody>
      </p:sp>
      <p:sp>
        <p:nvSpPr>
          <p:cNvPr id="5" name="Text Placeholder 5">
            <a:extLst>
              <a:ext uri="{FF2B5EF4-FFF2-40B4-BE49-F238E27FC236}">
                <a16:creationId xmlns:a16="http://schemas.microsoft.com/office/drawing/2014/main" xmlns="" id="{C5B6203D-7C45-4DE7-9864-055D7B9638EC}"/>
              </a:ext>
            </a:extLst>
          </p:cNvPr>
          <p:cNvSpPr txBox="1">
            <a:spLocks/>
          </p:cNvSpPr>
          <p:nvPr/>
        </p:nvSpPr>
        <p:spPr>
          <a:xfrm>
            <a:off x="893525" y="1031436"/>
            <a:ext cx="4762499" cy="454342"/>
          </a:xfrm>
          <a:prstGeom prst="rect">
            <a:avLst/>
          </a:prstGeom>
        </p:spPr>
        <p:txBody>
          <a:bodyPr lIns="0">
            <a:normAutofit/>
          </a:bodyPr>
          <a:lstStyle>
            <a:lvl1pPr marL="0" indent="0" algn="l" defTabSz="457200" rtl="0" eaLnBrk="1" latinLnBrk="0" hangingPunct="1">
              <a:spcBef>
                <a:spcPts val="300"/>
              </a:spcBef>
              <a:buFont typeface="Arial" panose="020B0604020202020204" pitchFamily="34" charset="0"/>
              <a:buNone/>
              <a:defRPr kumimoji="1" sz="2800" kern="1200">
                <a:solidFill>
                  <a:schemeClr val="tx2"/>
                </a:solidFill>
                <a:latin typeface="+mn-lt"/>
                <a:ea typeface="+mn-ea"/>
                <a:cs typeface="+mn-cs"/>
              </a:defRPr>
            </a:lvl1pPr>
            <a:lvl2pPr marL="228600" indent="-228600" algn="l" defTabSz="457200" rtl="0" eaLnBrk="1" latinLnBrk="0" hangingPunct="1">
              <a:spcBef>
                <a:spcPts val="300"/>
              </a:spcBef>
              <a:buClr>
                <a:schemeClr val="accent3"/>
              </a:buClr>
              <a:buFont typeface="Arial" panose="020B0604020202020204" pitchFamily="34" charset="0"/>
              <a:buChar char="•"/>
              <a:defRPr kumimoji="1" sz="2400" kern="1200">
                <a:solidFill>
                  <a:schemeClr val="tx2"/>
                </a:solidFill>
                <a:latin typeface="+mn-lt"/>
                <a:ea typeface="+mn-ea"/>
                <a:cs typeface="+mn-cs"/>
              </a:defRPr>
            </a:lvl2pPr>
            <a:lvl3pPr marL="457200" indent="-228600" algn="l" defTabSz="457200" rtl="0" eaLnBrk="1" latinLnBrk="0" hangingPunct="1">
              <a:spcBef>
                <a:spcPts val="300"/>
              </a:spcBef>
              <a:buClr>
                <a:schemeClr val="accent3"/>
              </a:buClr>
              <a:buFont typeface="Arial" panose="020B0604020202020204" pitchFamily="34" charset="0"/>
              <a:buChar char="–"/>
              <a:defRPr kumimoji="1" sz="2000" kern="1200">
                <a:solidFill>
                  <a:schemeClr val="tx2"/>
                </a:solidFill>
                <a:latin typeface="+mn-lt"/>
                <a:ea typeface="+mn-ea"/>
                <a:cs typeface="+mn-cs"/>
              </a:defRPr>
            </a:lvl3pPr>
            <a:lvl4pPr marL="685800" indent="-228600" algn="l" defTabSz="457200" rtl="0" eaLnBrk="1" latinLnBrk="0" hangingPunct="1">
              <a:spcBef>
                <a:spcPts val="300"/>
              </a:spcBef>
              <a:buClr>
                <a:schemeClr val="accent3"/>
              </a:buClr>
              <a:buFont typeface="Arial" panose="020B0604020202020204" pitchFamily="34" charset="0"/>
              <a:buChar char="•"/>
              <a:defRPr kumimoji="1" sz="1800" kern="1200">
                <a:solidFill>
                  <a:schemeClr val="tx2"/>
                </a:solidFill>
                <a:latin typeface="+mn-lt"/>
                <a:ea typeface="+mn-ea"/>
                <a:cs typeface="+mn-cs"/>
              </a:defRPr>
            </a:lvl4pPr>
            <a:lvl5pPr marL="914400" indent="-228600" algn="l" defTabSz="457200" rtl="0" eaLnBrk="1" latinLnBrk="0" hangingPunct="1">
              <a:spcBef>
                <a:spcPts val="300"/>
              </a:spcBef>
              <a:buClr>
                <a:schemeClr val="accent3"/>
              </a:buClr>
              <a:buFont typeface="Arial" panose="020B0604020202020204" pitchFamily="34" charset="0"/>
              <a:buChar char="–"/>
              <a:defRPr kumimoji="1" sz="1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algn="ctr" defTabSz="457189">
              <a:spcAft>
                <a:spcPts val="600"/>
              </a:spcAft>
              <a:buClr>
                <a:srgbClr val="000000"/>
              </a:buClr>
            </a:pPr>
            <a:r>
              <a:rPr lang="ru-RU" sz="1050" b="1" dirty="0">
                <a:solidFill>
                  <a:srgbClr val="3F4444"/>
                </a:solidFill>
                <a:latin typeface="Arial"/>
              </a:rPr>
              <a:t>Распределение геномных изменений </a:t>
            </a:r>
            <a:r>
              <a:rPr lang="ru-RU" sz="1050" b="1" i="1" dirty="0">
                <a:solidFill>
                  <a:srgbClr val="3F4444"/>
                </a:solidFill>
                <a:latin typeface="Arial"/>
              </a:rPr>
              <a:t>HER2</a:t>
            </a:r>
            <a:r>
              <a:rPr lang="ru-RU" sz="1050" b="1" dirty="0">
                <a:solidFill>
                  <a:srgbClr val="3F4444"/>
                </a:solidFill>
                <a:latin typeface="Arial"/>
              </a:rPr>
              <a:t> в 403 опухолях из 27 различных типов тканей</a:t>
            </a:r>
            <a:r>
              <a:rPr lang="en-US" sz="1050" b="1" baseline="30000" dirty="0">
                <a:solidFill>
                  <a:srgbClr val="3F4444"/>
                </a:solidFill>
                <a:latin typeface="Arial"/>
              </a:rPr>
              <a:t>1</a:t>
            </a:r>
            <a:r>
              <a:rPr lang="en-US" sz="1050" b="1" dirty="0">
                <a:solidFill>
                  <a:srgbClr val="3F4444"/>
                </a:solidFill>
                <a:latin typeface="Arial"/>
              </a:rPr>
              <a:t> </a:t>
            </a:r>
            <a:endParaRPr lang="en-GB" sz="1050" dirty="0">
              <a:solidFill>
                <a:srgbClr val="3F4444"/>
              </a:solidFill>
              <a:latin typeface="Arial"/>
            </a:endParaRPr>
          </a:p>
        </p:txBody>
      </p:sp>
      <p:grpSp>
        <p:nvGrpSpPr>
          <p:cNvPr id="6" name="Group 14">
            <a:extLst>
              <a:ext uri="{FF2B5EF4-FFF2-40B4-BE49-F238E27FC236}">
                <a16:creationId xmlns:a16="http://schemas.microsoft.com/office/drawing/2014/main" xmlns="" id="{37EEC7CE-4CCC-4703-AFE3-035F56C1257E}"/>
              </a:ext>
            </a:extLst>
          </p:cNvPr>
          <p:cNvGrpSpPr/>
          <p:nvPr/>
        </p:nvGrpSpPr>
        <p:grpSpPr>
          <a:xfrm>
            <a:off x="4299006" y="1988731"/>
            <a:ext cx="1324287" cy="763479"/>
            <a:chOff x="4463036" y="3419613"/>
            <a:chExt cx="1765716" cy="1017972"/>
          </a:xfrm>
        </p:grpSpPr>
        <p:sp>
          <p:nvSpPr>
            <p:cNvPr id="7" name="TextBox 6">
              <a:extLst>
                <a:ext uri="{FF2B5EF4-FFF2-40B4-BE49-F238E27FC236}">
                  <a16:creationId xmlns:a16="http://schemas.microsoft.com/office/drawing/2014/main" xmlns="" id="{62237A2E-BCEB-40AA-8416-4B9F5655EF89}"/>
                </a:ext>
              </a:extLst>
            </p:cNvPr>
            <p:cNvSpPr txBox="1"/>
            <p:nvPr/>
          </p:nvSpPr>
          <p:spPr>
            <a:xfrm>
              <a:off x="4584776" y="3419613"/>
              <a:ext cx="1643976" cy="1017972"/>
            </a:xfrm>
            <a:prstGeom prst="rect">
              <a:avLst/>
            </a:prstGeom>
            <a:solidFill>
              <a:schemeClr val="bg1"/>
            </a:solidFill>
          </p:spPr>
          <p:txBody>
            <a:bodyPr wrap="square" rtlCol="0">
              <a:spAutoFit/>
            </a:bodyPr>
            <a:lstStyle/>
            <a:p>
              <a:pPr defTabSz="457178">
                <a:lnSpc>
                  <a:spcPct val="150000"/>
                </a:lnSpc>
              </a:pPr>
              <a:r>
                <a:rPr lang="ru-RU" sz="750" dirty="0">
                  <a:solidFill>
                    <a:srgbClr val="000000"/>
                  </a:solidFill>
                  <a:latin typeface="Arial"/>
                </a:rPr>
                <a:t>Транслокации</a:t>
              </a:r>
              <a:endParaRPr lang="en-GB" sz="750" dirty="0">
                <a:solidFill>
                  <a:srgbClr val="000000"/>
                </a:solidFill>
                <a:latin typeface="Arial"/>
              </a:endParaRPr>
            </a:p>
            <a:p>
              <a:pPr defTabSz="457178">
                <a:lnSpc>
                  <a:spcPct val="150000"/>
                </a:lnSpc>
              </a:pPr>
              <a:r>
                <a:rPr lang="ru-RU" sz="750" dirty="0">
                  <a:solidFill>
                    <a:srgbClr val="000000"/>
                  </a:solidFill>
                  <a:latin typeface="Arial"/>
                </a:rPr>
                <a:t>Инсерции/делеции</a:t>
              </a:r>
              <a:endParaRPr lang="en-GB" sz="750" dirty="0">
                <a:solidFill>
                  <a:srgbClr val="000000"/>
                </a:solidFill>
                <a:latin typeface="Arial"/>
              </a:endParaRPr>
            </a:p>
            <a:p>
              <a:pPr defTabSz="457178">
                <a:lnSpc>
                  <a:spcPct val="150000"/>
                </a:lnSpc>
              </a:pPr>
              <a:r>
                <a:rPr lang="ru-RU" sz="750" dirty="0">
                  <a:solidFill>
                    <a:srgbClr val="000000"/>
                  </a:solidFill>
                  <a:latin typeface="Arial"/>
                </a:rPr>
                <a:t>Замены оснований</a:t>
              </a:r>
              <a:endParaRPr lang="en-GB" sz="750" dirty="0">
                <a:solidFill>
                  <a:srgbClr val="000000"/>
                </a:solidFill>
                <a:latin typeface="Arial"/>
              </a:endParaRPr>
            </a:p>
            <a:p>
              <a:pPr defTabSz="457178">
                <a:lnSpc>
                  <a:spcPct val="150000"/>
                </a:lnSpc>
              </a:pPr>
              <a:r>
                <a:rPr lang="ru-RU" sz="750" dirty="0">
                  <a:solidFill>
                    <a:srgbClr val="000000"/>
                  </a:solidFill>
                  <a:latin typeface="Arial"/>
                </a:rPr>
                <a:t>Амплификации</a:t>
              </a:r>
              <a:endParaRPr lang="en-GB" sz="750" dirty="0">
                <a:solidFill>
                  <a:srgbClr val="000000"/>
                </a:solidFill>
                <a:latin typeface="Arial"/>
              </a:endParaRPr>
            </a:p>
          </p:txBody>
        </p:sp>
        <p:sp>
          <p:nvSpPr>
            <p:cNvPr id="8" name="Rectangle 17">
              <a:extLst>
                <a:ext uri="{FF2B5EF4-FFF2-40B4-BE49-F238E27FC236}">
                  <a16:creationId xmlns:a16="http://schemas.microsoft.com/office/drawing/2014/main" xmlns="" id="{99761065-9E13-4E9E-B77C-EA6EC7060836}"/>
                </a:ext>
              </a:extLst>
            </p:cNvPr>
            <p:cNvSpPr/>
            <p:nvPr/>
          </p:nvSpPr>
          <p:spPr>
            <a:xfrm>
              <a:off x="4463036" y="3533573"/>
              <a:ext cx="120073" cy="129308"/>
            </a:xfrm>
            <a:prstGeom prst="rect">
              <a:avLst/>
            </a:prstGeom>
            <a:solidFill>
              <a:schemeClr val="accent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GB" dirty="0">
                <a:solidFill>
                  <a:srgbClr val="FFFFFF"/>
                </a:solidFill>
                <a:latin typeface="Arial"/>
              </a:endParaRPr>
            </a:p>
          </p:txBody>
        </p:sp>
        <p:sp>
          <p:nvSpPr>
            <p:cNvPr id="9" name="Rectangle 18">
              <a:extLst>
                <a:ext uri="{FF2B5EF4-FFF2-40B4-BE49-F238E27FC236}">
                  <a16:creationId xmlns:a16="http://schemas.microsoft.com/office/drawing/2014/main" xmlns="" id="{0576F87B-EF48-4284-ADE5-C62C8E320D40}"/>
                </a:ext>
              </a:extLst>
            </p:cNvPr>
            <p:cNvSpPr/>
            <p:nvPr/>
          </p:nvSpPr>
          <p:spPr>
            <a:xfrm>
              <a:off x="4463036" y="3760105"/>
              <a:ext cx="120073" cy="129308"/>
            </a:xfrm>
            <a:prstGeom prst="rect">
              <a:avLst/>
            </a:prstGeom>
            <a:solidFill>
              <a:srgbClr val="99C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GB" dirty="0">
                <a:solidFill>
                  <a:srgbClr val="FFFFFF"/>
                </a:solidFill>
                <a:latin typeface="Arial"/>
              </a:endParaRPr>
            </a:p>
          </p:txBody>
        </p:sp>
        <p:sp>
          <p:nvSpPr>
            <p:cNvPr id="10" name="Rectangle 19">
              <a:extLst>
                <a:ext uri="{FF2B5EF4-FFF2-40B4-BE49-F238E27FC236}">
                  <a16:creationId xmlns:a16="http://schemas.microsoft.com/office/drawing/2014/main" xmlns="" id="{A235FDEE-4579-41AF-9E45-57FF2160C407}"/>
                </a:ext>
              </a:extLst>
            </p:cNvPr>
            <p:cNvSpPr/>
            <p:nvPr/>
          </p:nvSpPr>
          <p:spPr>
            <a:xfrm>
              <a:off x="4463036" y="3986637"/>
              <a:ext cx="120073" cy="129308"/>
            </a:xfrm>
            <a:prstGeom prst="rect">
              <a:avLst/>
            </a:prstGeom>
            <a:solidFill>
              <a:schemeClr val="accent2">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GB" dirty="0">
                <a:solidFill>
                  <a:srgbClr val="FFFFFF"/>
                </a:solidFill>
                <a:latin typeface="Arial"/>
              </a:endParaRPr>
            </a:p>
          </p:txBody>
        </p:sp>
        <p:sp>
          <p:nvSpPr>
            <p:cNvPr id="11" name="Rectangle 21">
              <a:extLst>
                <a:ext uri="{FF2B5EF4-FFF2-40B4-BE49-F238E27FC236}">
                  <a16:creationId xmlns:a16="http://schemas.microsoft.com/office/drawing/2014/main" xmlns="" id="{36BF5E9C-237B-4730-A27B-570FA5AF4979}"/>
                </a:ext>
              </a:extLst>
            </p:cNvPr>
            <p:cNvSpPr/>
            <p:nvPr/>
          </p:nvSpPr>
          <p:spPr>
            <a:xfrm>
              <a:off x="4463036" y="4213168"/>
              <a:ext cx="120073" cy="129308"/>
            </a:xfrm>
            <a:prstGeom prst="rect">
              <a:avLst/>
            </a:prstGeom>
            <a:solidFill>
              <a:srgbClr val="CC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78"/>
              <a:endParaRPr lang="en-GB" dirty="0">
                <a:solidFill>
                  <a:srgbClr val="FFFFFF"/>
                </a:solidFill>
                <a:latin typeface="Arial"/>
              </a:endParaRPr>
            </a:p>
          </p:txBody>
        </p:sp>
      </p:grpSp>
      <p:grpSp>
        <p:nvGrpSpPr>
          <p:cNvPr id="12" name="Group 22">
            <a:extLst>
              <a:ext uri="{FF2B5EF4-FFF2-40B4-BE49-F238E27FC236}">
                <a16:creationId xmlns:a16="http://schemas.microsoft.com/office/drawing/2014/main" xmlns="" id="{D4291DF6-EAF4-40E3-A0A4-3C7DAC4861BD}"/>
              </a:ext>
            </a:extLst>
          </p:cNvPr>
          <p:cNvGrpSpPr/>
          <p:nvPr/>
        </p:nvGrpSpPr>
        <p:grpSpPr>
          <a:xfrm>
            <a:off x="842144" y="3505345"/>
            <a:ext cx="4539454" cy="1381854"/>
            <a:chOff x="894711" y="4957587"/>
            <a:chExt cx="6052607" cy="1842471"/>
          </a:xfrm>
        </p:grpSpPr>
        <p:sp>
          <p:nvSpPr>
            <p:cNvPr id="13" name="TextBox 12">
              <a:extLst>
                <a:ext uri="{FF2B5EF4-FFF2-40B4-BE49-F238E27FC236}">
                  <a16:creationId xmlns:a16="http://schemas.microsoft.com/office/drawing/2014/main" xmlns="" id="{8FEF7E19-C0DA-4CA7-9411-045A5439C255}"/>
                </a:ext>
              </a:extLst>
            </p:cNvPr>
            <p:cNvSpPr txBox="1"/>
            <p:nvPr/>
          </p:nvSpPr>
          <p:spPr>
            <a:xfrm rot="18891985">
              <a:off x="664947" y="5328454"/>
              <a:ext cx="705749" cy="246221"/>
            </a:xfrm>
            <a:prstGeom prst="rect">
              <a:avLst/>
            </a:prstGeom>
            <a:noFill/>
          </p:spPr>
          <p:txBody>
            <a:bodyPr wrap="none" rtlCol="0">
              <a:spAutoFit/>
            </a:bodyPr>
            <a:lstStyle/>
            <a:p>
              <a:pPr algn="r" defTabSz="685783"/>
              <a:r>
                <a:rPr lang="ru-RU" sz="600" dirty="0">
                  <a:solidFill>
                    <a:srgbClr val="000000"/>
                  </a:solidFill>
                  <a:latin typeface="Arial"/>
                </a:rPr>
                <a:t>Брюшина</a:t>
              </a:r>
              <a:endParaRPr lang="en-US" sz="600" dirty="0">
                <a:solidFill>
                  <a:srgbClr val="000000"/>
                </a:solidFill>
                <a:latin typeface="Arial"/>
              </a:endParaRPr>
            </a:p>
          </p:txBody>
        </p:sp>
        <p:sp>
          <p:nvSpPr>
            <p:cNvPr id="14" name="TextBox 13">
              <a:extLst>
                <a:ext uri="{FF2B5EF4-FFF2-40B4-BE49-F238E27FC236}">
                  <a16:creationId xmlns:a16="http://schemas.microsoft.com/office/drawing/2014/main" xmlns="" id="{B10EDEB1-5670-447A-951C-2A7874B01587}"/>
                </a:ext>
              </a:extLst>
            </p:cNvPr>
            <p:cNvSpPr txBox="1"/>
            <p:nvPr/>
          </p:nvSpPr>
          <p:spPr>
            <a:xfrm rot="18891985">
              <a:off x="680643" y="5423474"/>
              <a:ext cx="1028487" cy="230832"/>
            </a:xfrm>
            <a:prstGeom prst="rect">
              <a:avLst/>
            </a:prstGeom>
            <a:noFill/>
          </p:spPr>
          <p:txBody>
            <a:bodyPr wrap="none" rtlCol="0">
              <a:spAutoFit/>
            </a:bodyPr>
            <a:lstStyle/>
            <a:p>
              <a:pPr algn="r" defTabSz="685783"/>
              <a:r>
                <a:rPr lang="ru-RU" sz="525" dirty="0">
                  <a:solidFill>
                    <a:srgbClr val="000000"/>
                  </a:solidFill>
                  <a:latin typeface="Arial"/>
                </a:rPr>
                <a:t>12-перстная кишка</a:t>
              </a:r>
              <a:endParaRPr lang="en-US" sz="525" dirty="0">
                <a:solidFill>
                  <a:srgbClr val="000000"/>
                </a:solidFill>
                <a:latin typeface="Arial"/>
              </a:endParaRPr>
            </a:p>
          </p:txBody>
        </p:sp>
        <p:sp>
          <p:nvSpPr>
            <p:cNvPr id="15" name="TextBox 14">
              <a:extLst>
                <a:ext uri="{FF2B5EF4-FFF2-40B4-BE49-F238E27FC236}">
                  <a16:creationId xmlns:a16="http://schemas.microsoft.com/office/drawing/2014/main" xmlns="" id="{2651D986-502F-4BB3-9F3D-B43BED8B5C5B}"/>
                </a:ext>
              </a:extLst>
            </p:cNvPr>
            <p:cNvSpPr txBox="1"/>
            <p:nvPr/>
          </p:nvSpPr>
          <p:spPr>
            <a:xfrm rot="18891985">
              <a:off x="151892" y="5771101"/>
              <a:ext cx="1842471" cy="215444"/>
            </a:xfrm>
            <a:prstGeom prst="rect">
              <a:avLst/>
            </a:prstGeom>
            <a:noFill/>
          </p:spPr>
          <p:txBody>
            <a:bodyPr wrap="square" rtlCol="0">
              <a:spAutoFit/>
            </a:bodyPr>
            <a:lstStyle/>
            <a:p>
              <a:pPr algn="r" defTabSz="685783"/>
              <a:r>
                <a:rPr lang="ru-RU" sz="450" dirty="0">
                  <a:solidFill>
                    <a:srgbClr val="000000"/>
                  </a:solidFill>
                  <a:latin typeface="Arial"/>
                </a:rPr>
                <a:t>Гастроэзофагеальный переход</a:t>
              </a:r>
              <a:endParaRPr lang="en-US" sz="450" dirty="0">
                <a:solidFill>
                  <a:srgbClr val="000000"/>
                </a:solidFill>
                <a:latin typeface="Arial"/>
              </a:endParaRPr>
            </a:p>
          </p:txBody>
        </p:sp>
        <p:sp>
          <p:nvSpPr>
            <p:cNvPr id="16" name="TextBox 15">
              <a:extLst>
                <a:ext uri="{FF2B5EF4-FFF2-40B4-BE49-F238E27FC236}">
                  <a16:creationId xmlns:a16="http://schemas.microsoft.com/office/drawing/2014/main" xmlns="" id="{4C5C75AE-8633-4BC0-A912-8D9F2E202C28}"/>
                </a:ext>
              </a:extLst>
            </p:cNvPr>
            <p:cNvSpPr txBox="1"/>
            <p:nvPr/>
          </p:nvSpPr>
          <p:spPr>
            <a:xfrm rot="18891985">
              <a:off x="1097269" y="5522833"/>
              <a:ext cx="992151" cy="230832"/>
            </a:xfrm>
            <a:prstGeom prst="rect">
              <a:avLst/>
            </a:prstGeom>
            <a:noFill/>
          </p:spPr>
          <p:txBody>
            <a:bodyPr wrap="none" rtlCol="0">
              <a:spAutoFit/>
            </a:bodyPr>
            <a:lstStyle/>
            <a:p>
              <a:pPr algn="r" defTabSz="685783"/>
              <a:r>
                <a:rPr lang="ru-RU" sz="525" dirty="0">
                  <a:solidFill>
                    <a:srgbClr val="000000"/>
                  </a:solidFill>
                  <a:latin typeface="Arial"/>
                </a:rPr>
                <a:t>Желчные протоки</a:t>
              </a:r>
              <a:endParaRPr lang="en-US" sz="525" dirty="0">
                <a:solidFill>
                  <a:srgbClr val="000000"/>
                </a:solidFill>
                <a:latin typeface="Arial"/>
              </a:endParaRPr>
            </a:p>
          </p:txBody>
        </p:sp>
        <p:sp>
          <p:nvSpPr>
            <p:cNvPr id="17" name="TextBox 16">
              <a:extLst>
                <a:ext uri="{FF2B5EF4-FFF2-40B4-BE49-F238E27FC236}">
                  <a16:creationId xmlns:a16="http://schemas.microsoft.com/office/drawing/2014/main" xmlns="" id="{11808B41-89A5-4172-9D91-56CE53CE8433}"/>
                </a:ext>
              </a:extLst>
            </p:cNvPr>
            <p:cNvSpPr txBox="1"/>
            <p:nvPr/>
          </p:nvSpPr>
          <p:spPr>
            <a:xfrm rot="18891985">
              <a:off x="1390190" y="5445108"/>
              <a:ext cx="873956" cy="338555"/>
            </a:xfrm>
            <a:prstGeom prst="rect">
              <a:avLst/>
            </a:prstGeom>
            <a:noFill/>
          </p:spPr>
          <p:txBody>
            <a:bodyPr wrap="square" rtlCol="0">
              <a:spAutoFit/>
            </a:bodyPr>
            <a:lstStyle/>
            <a:p>
              <a:pPr algn="r" defTabSz="685783"/>
              <a:r>
                <a:rPr lang="ru-RU" sz="525" dirty="0">
                  <a:solidFill>
                    <a:srgbClr val="000000"/>
                  </a:solidFill>
                  <a:latin typeface="Arial"/>
                </a:rPr>
                <a:t>Мочевой пузырь</a:t>
              </a:r>
              <a:endParaRPr lang="en-US" sz="525" dirty="0">
                <a:solidFill>
                  <a:srgbClr val="000000"/>
                </a:solidFill>
                <a:latin typeface="Arial"/>
              </a:endParaRPr>
            </a:p>
          </p:txBody>
        </p:sp>
        <p:sp>
          <p:nvSpPr>
            <p:cNvPr id="18" name="TextBox 17">
              <a:extLst>
                <a:ext uri="{FF2B5EF4-FFF2-40B4-BE49-F238E27FC236}">
                  <a16:creationId xmlns:a16="http://schemas.microsoft.com/office/drawing/2014/main" xmlns="" id="{29A8491D-3A91-4D09-B66A-31D0F7CA245D}"/>
                </a:ext>
              </a:extLst>
            </p:cNvPr>
            <p:cNvSpPr txBox="1"/>
            <p:nvPr/>
          </p:nvSpPr>
          <p:spPr>
            <a:xfrm rot="18891985">
              <a:off x="1563972" y="5505283"/>
              <a:ext cx="994290" cy="230832"/>
            </a:xfrm>
            <a:prstGeom prst="rect">
              <a:avLst/>
            </a:prstGeom>
            <a:noFill/>
          </p:spPr>
          <p:txBody>
            <a:bodyPr wrap="none" rtlCol="0">
              <a:spAutoFit/>
            </a:bodyPr>
            <a:lstStyle/>
            <a:p>
              <a:pPr algn="r" defTabSz="685783"/>
              <a:r>
                <a:rPr lang="ru-RU" sz="525" dirty="0">
                  <a:solidFill>
                    <a:srgbClr val="000000"/>
                  </a:solidFill>
                  <a:latin typeface="Arial"/>
                </a:rPr>
                <a:t>Молочная железа</a:t>
              </a:r>
              <a:endParaRPr lang="en-US" sz="525" dirty="0">
                <a:solidFill>
                  <a:srgbClr val="000000"/>
                </a:solidFill>
                <a:latin typeface="Arial"/>
              </a:endParaRPr>
            </a:p>
          </p:txBody>
        </p:sp>
        <p:sp>
          <p:nvSpPr>
            <p:cNvPr id="19" name="TextBox 18">
              <a:extLst>
                <a:ext uri="{FF2B5EF4-FFF2-40B4-BE49-F238E27FC236}">
                  <a16:creationId xmlns:a16="http://schemas.microsoft.com/office/drawing/2014/main" xmlns="" id="{949FF9F2-C1A4-44AC-9ECB-B5E28361D0B6}"/>
                </a:ext>
              </a:extLst>
            </p:cNvPr>
            <p:cNvSpPr txBox="1"/>
            <p:nvPr/>
          </p:nvSpPr>
          <p:spPr>
            <a:xfrm rot="18891985">
              <a:off x="2071300" y="5359303"/>
              <a:ext cx="643765" cy="230832"/>
            </a:xfrm>
            <a:prstGeom prst="rect">
              <a:avLst/>
            </a:prstGeom>
            <a:noFill/>
          </p:spPr>
          <p:txBody>
            <a:bodyPr wrap="none" rtlCol="0">
              <a:spAutoFit/>
            </a:bodyPr>
            <a:lstStyle/>
            <a:p>
              <a:pPr algn="r" defTabSz="685783"/>
              <a:r>
                <a:rPr lang="ru-RU" sz="525" dirty="0">
                  <a:solidFill>
                    <a:srgbClr val="000000"/>
                  </a:solidFill>
                  <a:latin typeface="Arial"/>
                </a:rPr>
                <a:t>Желудок </a:t>
              </a:r>
              <a:endParaRPr lang="en-US" sz="525" dirty="0">
                <a:solidFill>
                  <a:srgbClr val="000000"/>
                </a:solidFill>
                <a:latin typeface="Arial"/>
              </a:endParaRPr>
            </a:p>
          </p:txBody>
        </p:sp>
        <p:sp>
          <p:nvSpPr>
            <p:cNvPr id="20" name="TextBox 19">
              <a:extLst>
                <a:ext uri="{FF2B5EF4-FFF2-40B4-BE49-F238E27FC236}">
                  <a16:creationId xmlns:a16="http://schemas.microsoft.com/office/drawing/2014/main" xmlns="" id="{472751BF-84AB-4058-8093-A4E6823611B4}"/>
                </a:ext>
              </a:extLst>
            </p:cNvPr>
            <p:cNvSpPr txBox="1"/>
            <p:nvPr/>
          </p:nvSpPr>
          <p:spPr>
            <a:xfrm rot="18891985">
              <a:off x="2036973" y="5441639"/>
              <a:ext cx="955818" cy="230832"/>
            </a:xfrm>
            <a:prstGeom prst="rect">
              <a:avLst/>
            </a:prstGeom>
            <a:noFill/>
          </p:spPr>
          <p:txBody>
            <a:bodyPr wrap="none" rtlCol="0">
              <a:spAutoFit/>
            </a:bodyPr>
            <a:lstStyle/>
            <a:p>
              <a:pPr algn="r" defTabSz="685783"/>
              <a:r>
                <a:rPr lang="ru-RU" sz="525" dirty="0">
                  <a:solidFill>
                    <a:srgbClr val="000000"/>
                  </a:solidFill>
                  <a:latin typeface="Arial"/>
                </a:rPr>
                <a:t>Слюнная железа</a:t>
              </a:r>
              <a:endParaRPr lang="en-US" sz="525" dirty="0">
                <a:solidFill>
                  <a:srgbClr val="000000"/>
                </a:solidFill>
                <a:latin typeface="Arial"/>
              </a:endParaRPr>
            </a:p>
          </p:txBody>
        </p:sp>
        <p:sp>
          <p:nvSpPr>
            <p:cNvPr id="21" name="TextBox 20">
              <a:extLst>
                <a:ext uri="{FF2B5EF4-FFF2-40B4-BE49-F238E27FC236}">
                  <a16:creationId xmlns:a16="http://schemas.microsoft.com/office/drawing/2014/main" xmlns="" id="{54CF38DA-4761-4558-8DD6-8949D75654BB}"/>
                </a:ext>
              </a:extLst>
            </p:cNvPr>
            <p:cNvSpPr txBox="1"/>
            <p:nvPr/>
          </p:nvSpPr>
          <p:spPr>
            <a:xfrm rot="18891985">
              <a:off x="2489769" y="5271121"/>
              <a:ext cx="769869" cy="307776"/>
            </a:xfrm>
            <a:prstGeom prst="rect">
              <a:avLst/>
            </a:prstGeom>
            <a:noFill/>
          </p:spPr>
          <p:txBody>
            <a:bodyPr wrap="none" rtlCol="0">
              <a:spAutoFit/>
            </a:bodyPr>
            <a:lstStyle/>
            <a:p>
              <a:pPr algn="r" defTabSz="685783"/>
              <a:r>
                <a:rPr lang="ru-RU" sz="900" dirty="0">
                  <a:solidFill>
                    <a:srgbClr val="000000"/>
                  </a:solidFill>
                  <a:latin typeface="Arial"/>
                </a:rPr>
                <a:t>Легкое </a:t>
              </a:r>
              <a:endParaRPr lang="en-US" sz="900" dirty="0">
                <a:solidFill>
                  <a:srgbClr val="000000"/>
                </a:solidFill>
                <a:latin typeface="Arial"/>
              </a:endParaRPr>
            </a:p>
          </p:txBody>
        </p:sp>
        <p:sp>
          <p:nvSpPr>
            <p:cNvPr id="22" name="TextBox 21">
              <a:extLst>
                <a:ext uri="{FF2B5EF4-FFF2-40B4-BE49-F238E27FC236}">
                  <a16:creationId xmlns:a16="http://schemas.microsoft.com/office/drawing/2014/main" xmlns="" id="{1CB53B0F-2774-4305-B4D6-286F47D8DAFC}"/>
                </a:ext>
              </a:extLst>
            </p:cNvPr>
            <p:cNvSpPr txBox="1"/>
            <p:nvPr/>
          </p:nvSpPr>
          <p:spPr>
            <a:xfrm rot="18891985">
              <a:off x="2619271" y="5400624"/>
              <a:ext cx="778418" cy="230832"/>
            </a:xfrm>
            <a:prstGeom prst="rect">
              <a:avLst/>
            </a:prstGeom>
            <a:noFill/>
          </p:spPr>
          <p:txBody>
            <a:bodyPr wrap="none" rtlCol="0">
              <a:spAutoFit/>
            </a:bodyPr>
            <a:lstStyle/>
            <a:p>
              <a:pPr algn="r" defTabSz="685783"/>
              <a:r>
                <a:rPr lang="ru-RU" sz="525" dirty="0">
                  <a:solidFill>
                    <a:srgbClr val="000000"/>
                  </a:solidFill>
                  <a:latin typeface="Arial"/>
                </a:rPr>
                <a:t>Шейка матки</a:t>
              </a:r>
              <a:endParaRPr lang="en-US" sz="525" dirty="0">
                <a:solidFill>
                  <a:srgbClr val="000000"/>
                </a:solidFill>
                <a:latin typeface="Arial"/>
              </a:endParaRPr>
            </a:p>
          </p:txBody>
        </p:sp>
        <p:sp>
          <p:nvSpPr>
            <p:cNvPr id="23" name="TextBox 22">
              <a:extLst>
                <a:ext uri="{FF2B5EF4-FFF2-40B4-BE49-F238E27FC236}">
                  <a16:creationId xmlns:a16="http://schemas.microsoft.com/office/drawing/2014/main" xmlns="" id="{F9B12E42-8C37-4C28-9D89-DE8052E03E6D}"/>
                </a:ext>
              </a:extLst>
            </p:cNvPr>
            <p:cNvSpPr txBox="1"/>
            <p:nvPr/>
          </p:nvSpPr>
          <p:spPr>
            <a:xfrm rot="18891985">
              <a:off x="2646639" y="5521167"/>
              <a:ext cx="1054134" cy="230832"/>
            </a:xfrm>
            <a:prstGeom prst="rect">
              <a:avLst/>
            </a:prstGeom>
            <a:noFill/>
          </p:spPr>
          <p:txBody>
            <a:bodyPr wrap="none" rtlCol="0">
              <a:spAutoFit/>
            </a:bodyPr>
            <a:lstStyle/>
            <a:p>
              <a:pPr algn="r" defTabSz="685783"/>
              <a:r>
                <a:rPr lang="ru-RU" sz="525" dirty="0">
                  <a:solidFill>
                    <a:srgbClr val="000000"/>
                  </a:solidFill>
                  <a:latin typeface="Arial"/>
                </a:rPr>
                <a:t>Фаллопиевы трубы</a:t>
              </a:r>
              <a:endParaRPr lang="en-US" sz="525" dirty="0">
                <a:solidFill>
                  <a:srgbClr val="000000"/>
                </a:solidFill>
                <a:latin typeface="Arial"/>
              </a:endParaRPr>
            </a:p>
          </p:txBody>
        </p:sp>
        <p:sp>
          <p:nvSpPr>
            <p:cNvPr id="24" name="TextBox 23">
              <a:extLst>
                <a:ext uri="{FF2B5EF4-FFF2-40B4-BE49-F238E27FC236}">
                  <a16:creationId xmlns:a16="http://schemas.microsoft.com/office/drawing/2014/main" xmlns="" id="{39BEE8A1-9269-4812-8447-0C2C34CFAC7F}"/>
                </a:ext>
              </a:extLst>
            </p:cNvPr>
            <p:cNvSpPr txBox="1"/>
            <p:nvPr/>
          </p:nvSpPr>
          <p:spPr>
            <a:xfrm rot="18891985">
              <a:off x="3092423" y="5434673"/>
              <a:ext cx="754908" cy="230832"/>
            </a:xfrm>
            <a:prstGeom prst="rect">
              <a:avLst/>
            </a:prstGeom>
            <a:noFill/>
          </p:spPr>
          <p:txBody>
            <a:bodyPr wrap="none" rtlCol="0">
              <a:spAutoFit/>
            </a:bodyPr>
            <a:lstStyle/>
            <a:p>
              <a:pPr algn="r" defTabSz="685783"/>
              <a:r>
                <a:rPr lang="ru-RU" sz="525" dirty="0">
                  <a:solidFill>
                    <a:srgbClr val="000000"/>
                  </a:solidFill>
                  <a:latin typeface="Arial"/>
                </a:rPr>
                <a:t>Неизвестно </a:t>
              </a:r>
              <a:endParaRPr lang="en-US" sz="525" dirty="0">
                <a:solidFill>
                  <a:srgbClr val="000000"/>
                </a:solidFill>
                <a:latin typeface="Arial"/>
              </a:endParaRPr>
            </a:p>
          </p:txBody>
        </p:sp>
        <p:sp>
          <p:nvSpPr>
            <p:cNvPr id="25" name="TextBox 24">
              <a:extLst>
                <a:ext uri="{FF2B5EF4-FFF2-40B4-BE49-F238E27FC236}">
                  <a16:creationId xmlns:a16="http://schemas.microsoft.com/office/drawing/2014/main" xmlns="" id="{022211CB-111A-4AD6-B80C-D76967F94CA5}"/>
                </a:ext>
              </a:extLst>
            </p:cNvPr>
            <p:cNvSpPr txBox="1"/>
            <p:nvPr/>
          </p:nvSpPr>
          <p:spPr>
            <a:xfrm rot="18891985">
              <a:off x="3025958" y="5534827"/>
              <a:ext cx="1069097" cy="246221"/>
            </a:xfrm>
            <a:prstGeom prst="rect">
              <a:avLst/>
            </a:prstGeom>
            <a:noFill/>
          </p:spPr>
          <p:txBody>
            <a:bodyPr wrap="none" rtlCol="0">
              <a:spAutoFit/>
            </a:bodyPr>
            <a:lstStyle/>
            <a:p>
              <a:pPr algn="r" defTabSz="685783"/>
              <a:r>
                <a:rPr lang="ru-RU" sz="600" dirty="0">
                  <a:solidFill>
                    <a:srgbClr val="000000"/>
                  </a:solidFill>
                  <a:latin typeface="Arial"/>
                </a:rPr>
                <a:t>Желчный пузырь</a:t>
              </a:r>
              <a:endParaRPr lang="en-US" sz="600" dirty="0">
                <a:solidFill>
                  <a:srgbClr val="000000"/>
                </a:solidFill>
                <a:latin typeface="Arial"/>
              </a:endParaRPr>
            </a:p>
          </p:txBody>
        </p:sp>
        <p:sp>
          <p:nvSpPr>
            <p:cNvPr id="26" name="TextBox 25">
              <a:extLst>
                <a:ext uri="{FF2B5EF4-FFF2-40B4-BE49-F238E27FC236}">
                  <a16:creationId xmlns:a16="http://schemas.microsoft.com/office/drawing/2014/main" xmlns="" id="{65AA28C0-153B-47CC-8855-E59C1F114872}"/>
                </a:ext>
              </a:extLst>
            </p:cNvPr>
            <p:cNvSpPr txBox="1"/>
            <p:nvPr/>
          </p:nvSpPr>
          <p:spPr>
            <a:xfrm rot="18891985">
              <a:off x="3288932" y="5529377"/>
              <a:ext cx="1096882" cy="246221"/>
            </a:xfrm>
            <a:prstGeom prst="rect">
              <a:avLst/>
            </a:prstGeom>
            <a:noFill/>
          </p:spPr>
          <p:txBody>
            <a:bodyPr wrap="none" rtlCol="0">
              <a:spAutoFit/>
            </a:bodyPr>
            <a:lstStyle/>
            <a:p>
              <a:pPr algn="r" defTabSz="685783"/>
              <a:r>
                <a:rPr lang="ru-RU" sz="600" dirty="0">
                  <a:solidFill>
                    <a:srgbClr val="000000"/>
                  </a:solidFill>
                  <a:latin typeface="Arial"/>
                </a:rPr>
                <a:t>Тонкий кишечник </a:t>
              </a:r>
              <a:endParaRPr lang="en-US" sz="600" dirty="0">
                <a:solidFill>
                  <a:srgbClr val="000000"/>
                </a:solidFill>
                <a:latin typeface="Arial"/>
              </a:endParaRPr>
            </a:p>
          </p:txBody>
        </p:sp>
        <p:sp>
          <p:nvSpPr>
            <p:cNvPr id="27" name="TextBox 26">
              <a:extLst>
                <a:ext uri="{FF2B5EF4-FFF2-40B4-BE49-F238E27FC236}">
                  <a16:creationId xmlns:a16="http://schemas.microsoft.com/office/drawing/2014/main" xmlns="" id="{FA58312C-C0F7-4651-8046-B190C1763AD1}"/>
                </a:ext>
              </a:extLst>
            </p:cNvPr>
            <p:cNvSpPr txBox="1"/>
            <p:nvPr/>
          </p:nvSpPr>
          <p:spPr>
            <a:xfrm rot="18891985">
              <a:off x="3476454" y="5550636"/>
              <a:ext cx="1103294" cy="215444"/>
            </a:xfrm>
            <a:prstGeom prst="rect">
              <a:avLst/>
            </a:prstGeom>
            <a:noFill/>
          </p:spPr>
          <p:txBody>
            <a:bodyPr wrap="none" rtlCol="0">
              <a:spAutoFit/>
            </a:bodyPr>
            <a:lstStyle/>
            <a:p>
              <a:pPr algn="r" defTabSz="685783"/>
              <a:r>
                <a:rPr lang="ru-RU" sz="450" dirty="0">
                  <a:solidFill>
                    <a:srgbClr val="000000"/>
                  </a:solidFill>
                  <a:latin typeface="Arial"/>
                </a:rPr>
                <a:t>Поджелудочная железа</a:t>
              </a:r>
              <a:endParaRPr lang="en-US" sz="450" dirty="0">
                <a:solidFill>
                  <a:srgbClr val="000000"/>
                </a:solidFill>
                <a:latin typeface="Arial"/>
              </a:endParaRPr>
            </a:p>
          </p:txBody>
        </p:sp>
        <p:sp>
          <p:nvSpPr>
            <p:cNvPr id="28" name="TextBox 27">
              <a:extLst>
                <a:ext uri="{FF2B5EF4-FFF2-40B4-BE49-F238E27FC236}">
                  <a16:creationId xmlns:a16="http://schemas.microsoft.com/office/drawing/2014/main" xmlns="" id="{0D715C76-FDD0-4CC5-B406-79DCCA1AD536}"/>
                </a:ext>
              </a:extLst>
            </p:cNvPr>
            <p:cNvSpPr txBox="1"/>
            <p:nvPr/>
          </p:nvSpPr>
          <p:spPr>
            <a:xfrm rot="18891985">
              <a:off x="4145338" y="5343996"/>
              <a:ext cx="524074" cy="230832"/>
            </a:xfrm>
            <a:prstGeom prst="rect">
              <a:avLst/>
            </a:prstGeom>
            <a:noFill/>
          </p:spPr>
          <p:txBody>
            <a:bodyPr wrap="none" rtlCol="0">
              <a:spAutoFit/>
            </a:bodyPr>
            <a:lstStyle/>
            <a:p>
              <a:pPr algn="r" defTabSz="685783"/>
              <a:r>
                <a:rPr lang="ru-RU" sz="525" dirty="0">
                  <a:solidFill>
                    <a:srgbClr val="000000"/>
                  </a:solidFill>
                  <a:latin typeface="Arial"/>
                </a:rPr>
                <a:t>Матка </a:t>
              </a:r>
              <a:endParaRPr lang="en-US" sz="525" dirty="0">
                <a:solidFill>
                  <a:srgbClr val="000000"/>
                </a:solidFill>
                <a:latin typeface="Arial"/>
              </a:endParaRPr>
            </a:p>
          </p:txBody>
        </p:sp>
        <p:sp>
          <p:nvSpPr>
            <p:cNvPr id="29" name="TextBox 28">
              <a:extLst>
                <a:ext uri="{FF2B5EF4-FFF2-40B4-BE49-F238E27FC236}">
                  <a16:creationId xmlns:a16="http://schemas.microsoft.com/office/drawing/2014/main" xmlns="" id="{B69F5DCD-6E1B-42D8-9DBB-5C9FD2769816}"/>
                </a:ext>
              </a:extLst>
            </p:cNvPr>
            <p:cNvSpPr txBox="1"/>
            <p:nvPr/>
          </p:nvSpPr>
          <p:spPr>
            <a:xfrm rot="18891985">
              <a:off x="4052072" y="5355545"/>
              <a:ext cx="965327" cy="338555"/>
            </a:xfrm>
            <a:prstGeom prst="rect">
              <a:avLst/>
            </a:prstGeom>
            <a:noFill/>
          </p:spPr>
          <p:txBody>
            <a:bodyPr wrap="square" rtlCol="0">
              <a:spAutoFit/>
            </a:bodyPr>
            <a:lstStyle/>
            <a:p>
              <a:pPr algn="r" defTabSz="685783"/>
              <a:r>
                <a:rPr lang="ru-RU" sz="525" dirty="0">
                  <a:solidFill>
                    <a:srgbClr val="000000"/>
                  </a:solidFill>
                  <a:latin typeface="Arial"/>
                </a:rPr>
                <a:t>Толстый кишечник</a:t>
              </a:r>
              <a:endParaRPr lang="en-US" sz="525" dirty="0">
                <a:solidFill>
                  <a:srgbClr val="000000"/>
                </a:solidFill>
                <a:latin typeface="Arial"/>
              </a:endParaRPr>
            </a:p>
          </p:txBody>
        </p:sp>
        <p:sp>
          <p:nvSpPr>
            <p:cNvPr id="30" name="TextBox 29">
              <a:extLst>
                <a:ext uri="{FF2B5EF4-FFF2-40B4-BE49-F238E27FC236}">
                  <a16:creationId xmlns:a16="http://schemas.microsoft.com/office/drawing/2014/main" xmlns="" id="{6774A4B6-DB11-482B-B2D2-B78D28EFC6B5}"/>
                </a:ext>
              </a:extLst>
            </p:cNvPr>
            <p:cNvSpPr txBox="1"/>
            <p:nvPr/>
          </p:nvSpPr>
          <p:spPr>
            <a:xfrm rot="18891985">
              <a:off x="4570219" y="5323219"/>
              <a:ext cx="586058" cy="246221"/>
            </a:xfrm>
            <a:prstGeom prst="rect">
              <a:avLst/>
            </a:prstGeom>
            <a:noFill/>
          </p:spPr>
          <p:txBody>
            <a:bodyPr wrap="none" rtlCol="0">
              <a:spAutoFit/>
            </a:bodyPr>
            <a:lstStyle/>
            <a:p>
              <a:pPr algn="r" defTabSz="685783"/>
              <a:r>
                <a:rPr lang="ru-RU" sz="600" dirty="0">
                  <a:solidFill>
                    <a:srgbClr val="000000"/>
                  </a:solidFill>
                  <a:latin typeface="Arial"/>
                </a:rPr>
                <a:t>Пазухи</a:t>
              </a:r>
              <a:endParaRPr lang="en-US" sz="600" dirty="0">
                <a:solidFill>
                  <a:srgbClr val="000000"/>
                </a:solidFill>
                <a:latin typeface="Arial"/>
              </a:endParaRPr>
            </a:p>
          </p:txBody>
        </p:sp>
        <p:sp>
          <p:nvSpPr>
            <p:cNvPr id="31" name="TextBox 30">
              <a:extLst>
                <a:ext uri="{FF2B5EF4-FFF2-40B4-BE49-F238E27FC236}">
                  <a16:creationId xmlns:a16="http://schemas.microsoft.com/office/drawing/2014/main" xmlns="" id="{308F60EA-E90A-495C-8F5F-5DB3DBEBFAE4}"/>
                </a:ext>
              </a:extLst>
            </p:cNvPr>
            <p:cNvSpPr txBox="1"/>
            <p:nvPr/>
          </p:nvSpPr>
          <p:spPr>
            <a:xfrm rot="18891985">
              <a:off x="4768029" y="5322852"/>
              <a:ext cx="658728" cy="230832"/>
            </a:xfrm>
            <a:prstGeom prst="rect">
              <a:avLst/>
            </a:prstGeom>
            <a:noFill/>
          </p:spPr>
          <p:txBody>
            <a:bodyPr wrap="none" rtlCol="0">
              <a:spAutoFit/>
            </a:bodyPr>
            <a:lstStyle/>
            <a:p>
              <a:pPr algn="r" defTabSz="685783"/>
              <a:r>
                <a:rPr lang="ru-RU" sz="525" dirty="0">
                  <a:solidFill>
                    <a:srgbClr val="000000"/>
                  </a:solidFill>
                  <a:latin typeface="Arial"/>
                </a:rPr>
                <a:t>Пищевод </a:t>
              </a:r>
            </a:p>
          </p:txBody>
        </p:sp>
        <p:sp>
          <p:nvSpPr>
            <p:cNvPr id="32" name="TextBox 31">
              <a:extLst>
                <a:ext uri="{FF2B5EF4-FFF2-40B4-BE49-F238E27FC236}">
                  <a16:creationId xmlns:a16="http://schemas.microsoft.com/office/drawing/2014/main" xmlns="" id="{9F5164FE-0C44-4DD2-ADEB-0329DFCF5C43}"/>
                </a:ext>
              </a:extLst>
            </p:cNvPr>
            <p:cNvSpPr txBox="1"/>
            <p:nvPr/>
          </p:nvSpPr>
          <p:spPr>
            <a:xfrm rot="18891985">
              <a:off x="4743114" y="5406081"/>
              <a:ext cx="934445" cy="246221"/>
            </a:xfrm>
            <a:prstGeom prst="rect">
              <a:avLst/>
            </a:prstGeom>
            <a:noFill/>
          </p:spPr>
          <p:txBody>
            <a:bodyPr wrap="none" rtlCol="0">
              <a:spAutoFit/>
            </a:bodyPr>
            <a:lstStyle/>
            <a:p>
              <a:pPr algn="r" defTabSz="685783"/>
              <a:r>
                <a:rPr lang="ru-RU" sz="600" dirty="0">
                  <a:solidFill>
                    <a:srgbClr val="000000"/>
                  </a:solidFill>
                  <a:latin typeface="Arial"/>
                </a:rPr>
                <a:t>Прямая кишка</a:t>
              </a:r>
              <a:endParaRPr lang="en-US" sz="600" dirty="0">
                <a:solidFill>
                  <a:srgbClr val="000000"/>
                </a:solidFill>
                <a:latin typeface="Arial"/>
              </a:endParaRPr>
            </a:p>
          </p:txBody>
        </p:sp>
        <p:sp>
          <p:nvSpPr>
            <p:cNvPr id="33" name="TextBox 32">
              <a:extLst>
                <a:ext uri="{FF2B5EF4-FFF2-40B4-BE49-F238E27FC236}">
                  <a16:creationId xmlns:a16="http://schemas.microsoft.com/office/drawing/2014/main" xmlns="" id="{FA795262-97FB-42CD-8F3E-DDC54A839AA7}"/>
                </a:ext>
              </a:extLst>
            </p:cNvPr>
            <p:cNvSpPr txBox="1"/>
            <p:nvPr/>
          </p:nvSpPr>
          <p:spPr>
            <a:xfrm rot="18891985">
              <a:off x="5198154" y="5311035"/>
              <a:ext cx="677965" cy="246221"/>
            </a:xfrm>
            <a:prstGeom prst="rect">
              <a:avLst/>
            </a:prstGeom>
            <a:noFill/>
          </p:spPr>
          <p:txBody>
            <a:bodyPr wrap="none" rtlCol="0">
              <a:spAutoFit/>
            </a:bodyPr>
            <a:lstStyle/>
            <a:p>
              <a:pPr algn="r" defTabSz="685783"/>
              <a:r>
                <a:rPr lang="ru-RU" sz="600" dirty="0">
                  <a:solidFill>
                    <a:srgbClr val="000000"/>
                  </a:solidFill>
                  <a:latin typeface="Arial"/>
                </a:rPr>
                <a:t>Яичники </a:t>
              </a:r>
              <a:endParaRPr lang="en-US" sz="600" dirty="0">
                <a:solidFill>
                  <a:srgbClr val="000000"/>
                </a:solidFill>
                <a:latin typeface="Arial"/>
              </a:endParaRPr>
            </a:p>
          </p:txBody>
        </p:sp>
        <p:sp>
          <p:nvSpPr>
            <p:cNvPr id="34" name="TextBox 33">
              <a:extLst>
                <a:ext uri="{FF2B5EF4-FFF2-40B4-BE49-F238E27FC236}">
                  <a16:creationId xmlns:a16="http://schemas.microsoft.com/office/drawing/2014/main" xmlns="" id="{8981CDAA-A276-41E4-A70B-DC86E08087CD}"/>
                </a:ext>
              </a:extLst>
            </p:cNvPr>
            <p:cNvSpPr txBox="1"/>
            <p:nvPr/>
          </p:nvSpPr>
          <p:spPr>
            <a:xfrm rot="18891985">
              <a:off x="5003176" y="5468153"/>
              <a:ext cx="1220847" cy="246221"/>
            </a:xfrm>
            <a:prstGeom prst="rect">
              <a:avLst/>
            </a:prstGeom>
            <a:noFill/>
          </p:spPr>
          <p:txBody>
            <a:bodyPr wrap="none" rtlCol="0">
              <a:spAutoFit/>
            </a:bodyPr>
            <a:lstStyle/>
            <a:p>
              <a:pPr algn="r" defTabSz="685783"/>
              <a:r>
                <a:rPr lang="ru-RU" sz="600" dirty="0">
                  <a:solidFill>
                    <a:srgbClr val="000000"/>
                  </a:solidFill>
                  <a:latin typeface="Arial"/>
                </a:rPr>
                <a:t>Холангиокарцинома</a:t>
              </a:r>
              <a:endParaRPr lang="en-US" sz="600" dirty="0">
                <a:solidFill>
                  <a:srgbClr val="000000"/>
                </a:solidFill>
                <a:latin typeface="Arial"/>
              </a:endParaRPr>
            </a:p>
          </p:txBody>
        </p:sp>
        <p:sp>
          <p:nvSpPr>
            <p:cNvPr id="35" name="TextBox 34">
              <a:extLst>
                <a:ext uri="{FF2B5EF4-FFF2-40B4-BE49-F238E27FC236}">
                  <a16:creationId xmlns:a16="http://schemas.microsoft.com/office/drawing/2014/main" xmlns="" id="{8586345D-F2C9-4AEB-8A7C-4E5A4630D2A7}"/>
                </a:ext>
              </a:extLst>
            </p:cNvPr>
            <p:cNvSpPr txBox="1"/>
            <p:nvPr/>
          </p:nvSpPr>
          <p:spPr>
            <a:xfrm rot="18891985">
              <a:off x="5433802" y="5419489"/>
              <a:ext cx="900248" cy="246221"/>
            </a:xfrm>
            <a:prstGeom prst="rect">
              <a:avLst/>
            </a:prstGeom>
            <a:noFill/>
          </p:spPr>
          <p:txBody>
            <a:bodyPr wrap="none" rtlCol="0">
              <a:spAutoFit/>
            </a:bodyPr>
            <a:lstStyle/>
            <a:p>
              <a:pPr algn="r" defTabSz="685783"/>
              <a:r>
                <a:rPr lang="ru-RU" sz="600" dirty="0">
                  <a:solidFill>
                    <a:srgbClr val="000000"/>
                  </a:solidFill>
                  <a:latin typeface="Arial"/>
                </a:rPr>
                <a:t>Голова и шея</a:t>
              </a:r>
              <a:endParaRPr lang="en-US" sz="600" dirty="0">
                <a:solidFill>
                  <a:srgbClr val="000000"/>
                </a:solidFill>
                <a:latin typeface="Arial"/>
              </a:endParaRPr>
            </a:p>
          </p:txBody>
        </p:sp>
        <p:sp>
          <p:nvSpPr>
            <p:cNvPr id="36" name="TextBox 35">
              <a:extLst>
                <a:ext uri="{FF2B5EF4-FFF2-40B4-BE49-F238E27FC236}">
                  <a16:creationId xmlns:a16="http://schemas.microsoft.com/office/drawing/2014/main" xmlns="" id="{254D01D3-1287-4907-BCD0-FB5DA15BEF84}"/>
                </a:ext>
              </a:extLst>
            </p:cNvPr>
            <p:cNvSpPr txBox="1"/>
            <p:nvPr/>
          </p:nvSpPr>
          <p:spPr>
            <a:xfrm rot="18891985">
              <a:off x="5982365" y="5291149"/>
              <a:ext cx="519800" cy="230832"/>
            </a:xfrm>
            <a:prstGeom prst="rect">
              <a:avLst/>
            </a:prstGeom>
            <a:noFill/>
          </p:spPr>
          <p:txBody>
            <a:bodyPr wrap="none" rtlCol="0">
              <a:spAutoFit/>
            </a:bodyPr>
            <a:lstStyle/>
            <a:p>
              <a:pPr algn="r" defTabSz="685783"/>
              <a:r>
                <a:rPr lang="ru-RU" sz="525" dirty="0">
                  <a:solidFill>
                    <a:srgbClr val="000000"/>
                  </a:solidFill>
                  <a:latin typeface="Arial"/>
                </a:rPr>
                <a:t>Почка </a:t>
              </a:r>
              <a:endParaRPr lang="en-US" sz="525" dirty="0">
                <a:solidFill>
                  <a:srgbClr val="000000"/>
                </a:solidFill>
                <a:latin typeface="Arial"/>
              </a:endParaRPr>
            </a:p>
          </p:txBody>
        </p:sp>
        <p:sp>
          <p:nvSpPr>
            <p:cNvPr id="37" name="TextBox 36">
              <a:extLst>
                <a:ext uri="{FF2B5EF4-FFF2-40B4-BE49-F238E27FC236}">
                  <a16:creationId xmlns:a16="http://schemas.microsoft.com/office/drawing/2014/main" xmlns="" id="{52663A65-D835-49E8-BFD6-45595751009B}"/>
                </a:ext>
              </a:extLst>
            </p:cNvPr>
            <p:cNvSpPr txBox="1"/>
            <p:nvPr/>
          </p:nvSpPr>
          <p:spPr>
            <a:xfrm rot="18891985">
              <a:off x="6067246" y="5352264"/>
              <a:ext cx="714298" cy="230832"/>
            </a:xfrm>
            <a:prstGeom prst="rect">
              <a:avLst/>
            </a:prstGeom>
            <a:noFill/>
          </p:spPr>
          <p:txBody>
            <a:bodyPr wrap="none" rtlCol="0">
              <a:spAutoFit/>
            </a:bodyPr>
            <a:lstStyle/>
            <a:p>
              <a:pPr algn="r" defTabSz="685783"/>
              <a:r>
                <a:rPr lang="ru-RU" sz="525" dirty="0">
                  <a:solidFill>
                    <a:srgbClr val="000000"/>
                  </a:solidFill>
                  <a:latin typeface="Arial"/>
                </a:rPr>
                <a:t>Аппендикс </a:t>
              </a:r>
              <a:endParaRPr lang="en-US" sz="525" dirty="0">
                <a:solidFill>
                  <a:srgbClr val="000000"/>
                </a:solidFill>
                <a:latin typeface="Arial"/>
              </a:endParaRPr>
            </a:p>
          </p:txBody>
        </p:sp>
        <p:sp>
          <p:nvSpPr>
            <p:cNvPr id="38" name="TextBox 37">
              <a:extLst>
                <a:ext uri="{FF2B5EF4-FFF2-40B4-BE49-F238E27FC236}">
                  <a16:creationId xmlns:a16="http://schemas.microsoft.com/office/drawing/2014/main" xmlns="" id="{C1376CD1-3856-4C23-AA8B-463FD5066DFB}"/>
                </a:ext>
              </a:extLst>
            </p:cNvPr>
            <p:cNvSpPr txBox="1"/>
            <p:nvPr/>
          </p:nvSpPr>
          <p:spPr>
            <a:xfrm rot="18891985">
              <a:off x="6062041" y="5496723"/>
              <a:ext cx="975053" cy="215444"/>
            </a:xfrm>
            <a:prstGeom prst="rect">
              <a:avLst/>
            </a:prstGeom>
            <a:noFill/>
          </p:spPr>
          <p:txBody>
            <a:bodyPr wrap="none" rtlCol="0">
              <a:spAutoFit/>
            </a:bodyPr>
            <a:lstStyle/>
            <a:p>
              <a:pPr algn="r" defTabSz="685783"/>
              <a:r>
                <a:rPr lang="ru-RU" sz="450" dirty="0">
                  <a:solidFill>
                    <a:srgbClr val="000000"/>
                  </a:solidFill>
                  <a:latin typeface="Arial"/>
                </a:rPr>
                <a:t>Щитовидная железа</a:t>
              </a:r>
              <a:endParaRPr lang="en-US" sz="450" dirty="0">
                <a:solidFill>
                  <a:srgbClr val="000000"/>
                </a:solidFill>
                <a:latin typeface="Arial"/>
              </a:endParaRPr>
            </a:p>
          </p:txBody>
        </p:sp>
        <p:sp>
          <p:nvSpPr>
            <p:cNvPr id="39" name="TextBox 38">
              <a:extLst>
                <a:ext uri="{FF2B5EF4-FFF2-40B4-BE49-F238E27FC236}">
                  <a16:creationId xmlns:a16="http://schemas.microsoft.com/office/drawing/2014/main" xmlns="" id="{0D13A02A-6499-4DBB-847E-2C986FBE10B1}"/>
                </a:ext>
              </a:extLst>
            </p:cNvPr>
            <p:cNvSpPr txBox="1"/>
            <p:nvPr/>
          </p:nvSpPr>
          <p:spPr>
            <a:xfrm rot="18891985">
              <a:off x="6436281" y="5413269"/>
              <a:ext cx="791242" cy="230832"/>
            </a:xfrm>
            <a:prstGeom prst="rect">
              <a:avLst/>
            </a:prstGeom>
            <a:noFill/>
          </p:spPr>
          <p:txBody>
            <a:bodyPr wrap="none" rtlCol="0">
              <a:spAutoFit/>
            </a:bodyPr>
            <a:lstStyle/>
            <a:p>
              <a:pPr algn="r" defTabSz="685783"/>
              <a:r>
                <a:rPr lang="ru-RU" sz="525" dirty="0">
                  <a:solidFill>
                    <a:srgbClr val="000000"/>
                  </a:solidFill>
                  <a:latin typeface="Arial"/>
                </a:rPr>
                <a:t>Мягкие ткани</a:t>
              </a:r>
              <a:endParaRPr lang="en-US" sz="525" dirty="0">
                <a:solidFill>
                  <a:srgbClr val="000000"/>
                </a:solidFill>
                <a:latin typeface="Arial"/>
              </a:endParaRPr>
            </a:p>
          </p:txBody>
        </p:sp>
      </p:grpSp>
      <p:sp>
        <p:nvSpPr>
          <p:cNvPr id="40" name="TextBox 39">
            <a:extLst>
              <a:ext uri="{FF2B5EF4-FFF2-40B4-BE49-F238E27FC236}">
                <a16:creationId xmlns:a16="http://schemas.microsoft.com/office/drawing/2014/main" xmlns="" id="{099FA0A1-01B1-4B31-8D8B-73ED9612A8FE}"/>
              </a:ext>
            </a:extLst>
          </p:cNvPr>
          <p:cNvSpPr txBox="1"/>
          <p:nvPr/>
        </p:nvSpPr>
        <p:spPr>
          <a:xfrm>
            <a:off x="728906" y="3659223"/>
            <a:ext cx="232756" cy="196208"/>
          </a:xfrm>
          <a:prstGeom prst="rect">
            <a:avLst/>
          </a:prstGeom>
          <a:noFill/>
        </p:spPr>
        <p:txBody>
          <a:bodyPr wrap="none" rtlCol="0">
            <a:spAutoFit/>
          </a:bodyPr>
          <a:lstStyle/>
          <a:p>
            <a:pPr algn="r" defTabSz="685783"/>
            <a:r>
              <a:rPr lang="en-US" sz="675" dirty="0">
                <a:solidFill>
                  <a:srgbClr val="000000"/>
                </a:solidFill>
                <a:latin typeface="Arial"/>
              </a:rPr>
              <a:t>0</a:t>
            </a:r>
          </a:p>
        </p:txBody>
      </p:sp>
      <p:sp>
        <p:nvSpPr>
          <p:cNvPr id="41" name="TextBox 40">
            <a:extLst>
              <a:ext uri="{FF2B5EF4-FFF2-40B4-BE49-F238E27FC236}">
                <a16:creationId xmlns:a16="http://schemas.microsoft.com/office/drawing/2014/main" xmlns="" id="{35A71D26-AE94-49A7-BBE3-48A0D6A4988C}"/>
              </a:ext>
            </a:extLst>
          </p:cNvPr>
          <p:cNvSpPr txBox="1"/>
          <p:nvPr/>
        </p:nvSpPr>
        <p:spPr>
          <a:xfrm>
            <a:off x="728906" y="3318865"/>
            <a:ext cx="232756" cy="196208"/>
          </a:xfrm>
          <a:prstGeom prst="rect">
            <a:avLst/>
          </a:prstGeom>
          <a:noFill/>
        </p:spPr>
        <p:txBody>
          <a:bodyPr wrap="none" rtlCol="0">
            <a:spAutoFit/>
          </a:bodyPr>
          <a:lstStyle/>
          <a:p>
            <a:pPr algn="r" defTabSz="685783"/>
            <a:r>
              <a:rPr lang="en-US" sz="675" dirty="0">
                <a:solidFill>
                  <a:srgbClr val="000000"/>
                </a:solidFill>
                <a:latin typeface="Arial"/>
              </a:rPr>
              <a:t>5</a:t>
            </a:r>
          </a:p>
        </p:txBody>
      </p:sp>
      <p:sp>
        <p:nvSpPr>
          <p:cNvPr id="42" name="TextBox 41">
            <a:extLst>
              <a:ext uri="{FF2B5EF4-FFF2-40B4-BE49-F238E27FC236}">
                <a16:creationId xmlns:a16="http://schemas.microsoft.com/office/drawing/2014/main" xmlns="" id="{366A0087-3015-4F24-8C48-6FEEA957C790}"/>
              </a:ext>
            </a:extLst>
          </p:cNvPr>
          <p:cNvSpPr txBox="1"/>
          <p:nvPr/>
        </p:nvSpPr>
        <p:spPr>
          <a:xfrm>
            <a:off x="680815" y="2985366"/>
            <a:ext cx="280847" cy="196208"/>
          </a:xfrm>
          <a:prstGeom prst="rect">
            <a:avLst/>
          </a:prstGeom>
          <a:noFill/>
        </p:spPr>
        <p:txBody>
          <a:bodyPr wrap="none" rtlCol="0">
            <a:spAutoFit/>
          </a:bodyPr>
          <a:lstStyle/>
          <a:p>
            <a:pPr algn="r" defTabSz="685783"/>
            <a:r>
              <a:rPr lang="en-US" sz="675" dirty="0">
                <a:solidFill>
                  <a:srgbClr val="000000"/>
                </a:solidFill>
                <a:latin typeface="Arial"/>
              </a:rPr>
              <a:t>10</a:t>
            </a:r>
          </a:p>
        </p:txBody>
      </p:sp>
      <p:sp>
        <p:nvSpPr>
          <p:cNvPr id="43" name="TextBox 42">
            <a:extLst>
              <a:ext uri="{FF2B5EF4-FFF2-40B4-BE49-F238E27FC236}">
                <a16:creationId xmlns:a16="http://schemas.microsoft.com/office/drawing/2014/main" xmlns="" id="{77FCB88F-5167-4183-A767-C309827362EA}"/>
              </a:ext>
            </a:extLst>
          </p:cNvPr>
          <p:cNvSpPr txBox="1"/>
          <p:nvPr/>
        </p:nvSpPr>
        <p:spPr>
          <a:xfrm>
            <a:off x="680815" y="2637864"/>
            <a:ext cx="280847" cy="196208"/>
          </a:xfrm>
          <a:prstGeom prst="rect">
            <a:avLst/>
          </a:prstGeom>
          <a:noFill/>
        </p:spPr>
        <p:txBody>
          <a:bodyPr wrap="none" rtlCol="0">
            <a:spAutoFit/>
          </a:bodyPr>
          <a:lstStyle/>
          <a:p>
            <a:pPr algn="r" defTabSz="685783"/>
            <a:r>
              <a:rPr lang="en-US" sz="675" dirty="0">
                <a:solidFill>
                  <a:srgbClr val="000000"/>
                </a:solidFill>
                <a:latin typeface="Arial"/>
              </a:rPr>
              <a:t>15</a:t>
            </a:r>
          </a:p>
        </p:txBody>
      </p:sp>
      <p:sp>
        <p:nvSpPr>
          <p:cNvPr id="44" name="TextBox 43">
            <a:extLst>
              <a:ext uri="{FF2B5EF4-FFF2-40B4-BE49-F238E27FC236}">
                <a16:creationId xmlns:a16="http://schemas.microsoft.com/office/drawing/2014/main" xmlns="" id="{84AEFCD0-A720-4E28-9C59-C1754B91D3DD}"/>
              </a:ext>
            </a:extLst>
          </p:cNvPr>
          <p:cNvSpPr txBox="1"/>
          <p:nvPr/>
        </p:nvSpPr>
        <p:spPr>
          <a:xfrm>
            <a:off x="682130" y="2299645"/>
            <a:ext cx="280847" cy="196208"/>
          </a:xfrm>
          <a:prstGeom prst="rect">
            <a:avLst/>
          </a:prstGeom>
          <a:noFill/>
        </p:spPr>
        <p:txBody>
          <a:bodyPr wrap="none" rtlCol="0">
            <a:spAutoFit/>
          </a:bodyPr>
          <a:lstStyle/>
          <a:p>
            <a:pPr algn="r" defTabSz="685783"/>
            <a:r>
              <a:rPr lang="en-US" sz="675" dirty="0">
                <a:solidFill>
                  <a:srgbClr val="000000"/>
                </a:solidFill>
                <a:latin typeface="Arial"/>
              </a:rPr>
              <a:t>20</a:t>
            </a:r>
          </a:p>
        </p:txBody>
      </p:sp>
      <p:sp>
        <p:nvSpPr>
          <p:cNvPr id="45" name="TextBox 44">
            <a:extLst>
              <a:ext uri="{FF2B5EF4-FFF2-40B4-BE49-F238E27FC236}">
                <a16:creationId xmlns:a16="http://schemas.microsoft.com/office/drawing/2014/main" xmlns="" id="{C15ADC30-46FD-4228-8B9A-2BAE97612E4A}"/>
              </a:ext>
            </a:extLst>
          </p:cNvPr>
          <p:cNvSpPr txBox="1"/>
          <p:nvPr/>
        </p:nvSpPr>
        <p:spPr>
          <a:xfrm>
            <a:off x="682130" y="1955191"/>
            <a:ext cx="280847" cy="196208"/>
          </a:xfrm>
          <a:prstGeom prst="rect">
            <a:avLst/>
          </a:prstGeom>
          <a:noFill/>
        </p:spPr>
        <p:txBody>
          <a:bodyPr wrap="none" rtlCol="0">
            <a:spAutoFit/>
          </a:bodyPr>
          <a:lstStyle/>
          <a:p>
            <a:pPr algn="r" defTabSz="685783"/>
            <a:r>
              <a:rPr lang="en-US" sz="675" dirty="0">
                <a:solidFill>
                  <a:srgbClr val="000000"/>
                </a:solidFill>
                <a:latin typeface="Arial"/>
              </a:rPr>
              <a:t>25</a:t>
            </a:r>
          </a:p>
        </p:txBody>
      </p:sp>
      <p:sp>
        <p:nvSpPr>
          <p:cNvPr id="46" name="TextBox 45">
            <a:extLst>
              <a:ext uri="{FF2B5EF4-FFF2-40B4-BE49-F238E27FC236}">
                <a16:creationId xmlns:a16="http://schemas.microsoft.com/office/drawing/2014/main" xmlns="" id="{A3056BDC-91DC-4546-A33B-85DD53FAA03E}"/>
              </a:ext>
            </a:extLst>
          </p:cNvPr>
          <p:cNvSpPr txBox="1"/>
          <p:nvPr/>
        </p:nvSpPr>
        <p:spPr>
          <a:xfrm>
            <a:off x="680815" y="1617524"/>
            <a:ext cx="280847" cy="196208"/>
          </a:xfrm>
          <a:prstGeom prst="rect">
            <a:avLst/>
          </a:prstGeom>
          <a:noFill/>
        </p:spPr>
        <p:txBody>
          <a:bodyPr wrap="none" rtlCol="0">
            <a:spAutoFit/>
          </a:bodyPr>
          <a:lstStyle/>
          <a:p>
            <a:pPr algn="r" defTabSz="685783"/>
            <a:r>
              <a:rPr lang="en-US" sz="675" dirty="0">
                <a:solidFill>
                  <a:srgbClr val="000000"/>
                </a:solidFill>
                <a:latin typeface="Arial"/>
              </a:rPr>
              <a:t>30</a:t>
            </a:r>
          </a:p>
        </p:txBody>
      </p:sp>
      <p:sp>
        <p:nvSpPr>
          <p:cNvPr id="47" name="TextBox 46">
            <a:extLst>
              <a:ext uri="{FF2B5EF4-FFF2-40B4-BE49-F238E27FC236}">
                <a16:creationId xmlns:a16="http://schemas.microsoft.com/office/drawing/2014/main" xmlns="" id="{DB55F4B6-C1EB-45CE-A544-22C98B612FE3}"/>
              </a:ext>
            </a:extLst>
          </p:cNvPr>
          <p:cNvSpPr txBox="1"/>
          <p:nvPr/>
        </p:nvSpPr>
        <p:spPr>
          <a:xfrm>
            <a:off x="680815" y="1273070"/>
            <a:ext cx="280847" cy="196208"/>
          </a:xfrm>
          <a:prstGeom prst="rect">
            <a:avLst/>
          </a:prstGeom>
          <a:noFill/>
        </p:spPr>
        <p:txBody>
          <a:bodyPr wrap="none" rtlCol="0">
            <a:spAutoFit/>
          </a:bodyPr>
          <a:lstStyle/>
          <a:p>
            <a:pPr algn="r" defTabSz="685783"/>
            <a:r>
              <a:rPr lang="en-US" sz="675" dirty="0">
                <a:solidFill>
                  <a:srgbClr val="000000"/>
                </a:solidFill>
                <a:latin typeface="Arial"/>
              </a:rPr>
              <a:t>35</a:t>
            </a:r>
          </a:p>
        </p:txBody>
      </p:sp>
      <p:sp>
        <p:nvSpPr>
          <p:cNvPr id="48" name="TextBox 47">
            <a:extLst>
              <a:ext uri="{FF2B5EF4-FFF2-40B4-BE49-F238E27FC236}">
                <a16:creationId xmlns:a16="http://schemas.microsoft.com/office/drawing/2014/main" xmlns="" id="{442557F9-0F90-4391-9542-C1528F23D8AA}"/>
              </a:ext>
            </a:extLst>
          </p:cNvPr>
          <p:cNvSpPr txBox="1"/>
          <p:nvPr/>
        </p:nvSpPr>
        <p:spPr>
          <a:xfrm rot="16200000">
            <a:off x="-5332" y="2461259"/>
            <a:ext cx="1317990" cy="196208"/>
          </a:xfrm>
          <a:prstGeom prst="rect">
            <a:avLst/>
          </a:prstGeom>
          <a:noFill/>
        </p:spPr>
        <p:txBody>
          <a:bodyPr wrap="none" rtlCol="0">
            <a:spAutoFit/>
          </a:bodyPr>
          <a:lstStyle/>
          <a:p>
            <a:pPr algn="ctr" defTabSz="685783"/>
            <a:r>
              <a:rPr lang="ru-RU" sz="675" dirty="0">
                <a:solidFill>
                  <a:srgbClr val="000000"/>
                </a:solidFill>
                <a:latin typeface="Arial"/>
              </a:rPr>
              <a:t>Опухоли внутри подтипа</a:t>
            </a:r>
            <a:r>
              <a:rPr lang="en-US" sz="675" dirty="0">
                <a:solidFill>
                  <a:srgbClr val="000000"/>
                </a:solidFill>
                <a:latin typeface="Arial"/>
              </a:rPr>
              <a:t>(%)</a:t>
            </a:r>
          </a:p>
        </p:txBody>
      </p:sp>
      <p:grpSp>
        <p:nvGrpSpPr>
          <p:cNvPr id="49" name="Group 63">
            <a:extLst>
              <a:ext uri="{FF2B5EF4-FFF2-40B4-BE49-F238E27FC236}">
                <a16:creationId xmlns:a16="http://schemas.microsoft.com/office/drawing/2014/main" xmlns="" id="{32B5C1F9-309D-4212-B552-67E2C04C1422}"/>
              </a:ext>
            </a:extLst>
          </p:cNvPr>
          <p:cNvGrpSpPr/>
          <p:nvPr/>
        </p:nvGrpSpPr>
        <p:grpSpPr>
          <a:xfrm>
            <a:off x="956213" y="1302559"/>
            <a:ext cx="4591913" cy="2427239"/>
            <a:chOff x="1002190" y="2092851"/>
            <a:chExt cx="6122551" cy="3236318"/>
          </a:xfrm>
        </p:grpSpPr>
        <p:grpSp>
          <p:nvGrpSpPr>
            <p:cNvPr id="50" name="Graphic 3">
              <a:extLst>
                <a:ext uri="{FF2B5EF4-FFF2-40B4-BE49-F238E27FC236}">
                  <a16:creationId xmlns:a16="http://schemas.microsoft.com/office/drawing/2014/main" xmlns="" id="{557CAE1F-8D33-4AEC-87E5-30A25E648AE2}"/>
                </a:ext>
              </a:extLst>
            </p:cNvPr>
            <p:cNvGrpSpPr/>
            <p:nvPr/>
          </p:nvGrpSpPr>
          <p:grpSpPr>
            <a:xfrm>
              <a:off x="1107661" y="2477099"/>
              <a:ext cx="5954729" cy="2803647"/>
              <a:chOff x="1107661" y="2477099"/>
              <a:chExt cx="5954729" cy="2803647"/>
            </a:xfrm>
          </p:grpSpPr>
          <p:sp>
            <p:nvSpPr>
              <p:cNvPr id="89" name="Graphic 3">
                <a:extLst>
                  <a:ext uri="{FF2B5EF4-FFF2-40B4-BE49-F238E27FC236}">
                    <a16:creationId xmlns:a16="http://schemas.microsoft.com/office/drawing/2014/main" xmlns="" id="{3C883B95-D40A-4227-A7FB-A42C225F7067}"/>
                  </a:ext>
                </a:extLst>
              </p:cNvPr>
              <p:cNvSpPr/>
              <p:nvPr/>
            </p:nvSpPr>
            <p:spPr>
              <a:xfrm>
                <a:off x="1107661" y="2477099"/>
                <a:ext cx="110730" cy="2803647"/>
              </a:xfrm>
              <a:custGeom>
                <a:avLst/>
                <a:gdLst>
                  <a:gd name="connsiteX0" fmla="*/ 0 w 110730"/>
                  <a:gd name="connsiteY0" fmla="*/ 0 h 2803647"/>
                  <a:gd name="connsiteX1" fmla="*/ 110731 w 110730"/>
                  <a:gd name="connsiteY1" fmla="*/ 0 h 2803647"/>
                  <a:gd name="connsiteX2" fmla="*/ 110731 w 110730"/>
                  <a:gd name="connsiteY2" fmla="*/ 2803648 h 2803647"/>
                  <a:gd name="connsiteX3" fmla="*/ 0 w 110730"/>
                  <a:gd name="connsiteY3" fmla="*/ 2803648 h 2803647"/>
                </a:gdLst>
                <a:ahLst/>
                <a:cxnLst>
                  <a:cxn ang="0">
                    <a:pos x="connsiteX0" y="connsiteY0"/>
                  </a:cxn>
                  <a:cxn ang="0">
                    <a:pos x="connsiteX1" y="connsiteY1"/>
                  </a:cxn>
                  <a:cxn ang="0">
                    <a:pos x="connsiteX2" y="connsiteY2"/>
                  </a:cxn>
                  <a:cxn ang="0">
                    <a:pos x="connsiteX3" y="connsiteY3"/>
                  </a:cxn>
                </a:cxnLst>
                <a:rect l="l" t="t" r="r" b="b"/>
                <a:pathLst>
                  <a:path w="110730" h="2803647">
                    <a:moveTo>
                      <a:pt x="0" y="0"/>
                    </a:moveTo>
                    <a:lnTo>
                      <a:pt x="110731" y="0"/>
                    </a:lnTo>
                    <a:lnTo>
                      <a:pt x="110731" y="2803648"/>
                    </a:lnTo>
                    <a:lnTo>
                      <a:pt x="0" y="2803648"/>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0" name="Graphic 3">
                <a:extLst>
                  <a:ext uri="{FF2B5EF4-FFF2-40B4-BE49-F238E27FC236}">
                    <a16:creationId xmlns:a16="http://schemas.microsoft.com/office/drawing/2014/main" xmlns="" id="{EB492325-C584-4462-824B-FC4F05839118}"/>
                  </a:ext>
                </a:extLst>
              </p:cNvPr>
              <p:cNvSpPr/>
              <p:nvPr/>
            </p:nvSpPr>
            <p:spPr>
              <a:xfrm>
                <a:off x="6951660" y="5248465"/>
                <a:ext cx="110730" cy="32282"/>
              </a:xfrm>
              <a:custGeom>
                <a:avLst/>
                <a:gdLst>
                  <a:gd name="connsiteX0" fmla="*/ 0 w 110730"/>
                  <a:gd name="connsiteY0" fmla="*/ 0 h 32282"/>
                  <a:gd name="connsiteX1" fmla="*/ 110731 w 110730"/>
                  <a:gd name="connsiteY1" fmla="*/ 0 h 32282"/>
                  <a:gd name="connsiteX2" fmla="*/ 110731 w 110730"/>
                  <a:gd name="connsiteY2" fmla="*/ 32282 h 32282"/>
                  <a:gd name="connsiteX3" fmla="*/ 0 w 110730"/>
                  <a:gd name="connsiteY3" fmla="*/ 32282 h 32282"/>
                </a:gdLst>
                <a:ahLst/>
                <a:cxnLst>
                  <a:cxn ang="0">
                    <a:pos x="connsiteX0" y="connsiteY0"/>
                  </a:cxn>
                  <a:cxn ang="0">
                    <a:pos x="connsiteX1" y="connsiteY1"/>
                  </a:cxn>
                  <a:cxn ang="0">
                    <a:pos x="connsiteX2" y="connsiteY2"/>
                  </a:cxn>
                  <a:cxn ang="0">
                    <a:pos x="connsiteX3" y="connsiteY3"/>
                  </a:cxn>
                </a:cxnLst>
                <a:rect l="l" t="t" r="r" b="b"/>
                <a:pathLst>
                  <a:path w="110730" h="32282">
                    <a:moveTo>
                      <a:pt x="0" y="0"/>
                    </a:moveTo>
                    <a:lnTo>
                      <a:pt x="110731" y="0"/>
                    </a:lnTo>
                    <a:lnTo>
                      <a:pt x="110731" y="32282"/>
                    </a:lnTo>
                    <a:lnTo>
                      <a:pt x="0" y="32282"/>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1" name="Graphic 3">
                <a:extLst>
                  <a:ext uri="{FF2B5EF4-FFF2-40B4-BE49-F238E27FC236}">
                    <a16:creationId xmlns:a16="http://schemas.microsoft.com/office/drawing/2014/main" xmlns="" id="{B9E08510-4194-424D-8BEB-F1C1365382A4}"/>
                  </a:ext>
                </a:extLst>
              </p:cNvPr>
              <p:cNvSpPr/>
              <p:nvPr/>
            </p:nvSpPr>
            <p:spPr>
              <a:xfrm>
                <a:off x="6502093" y="5053942"/>
                <a:ext cx="110730" cy="226804"/>
              </a:xfrm>
              <a:custGeom>
                <a:avLst/>
                <a:gdLst>
                  <a:gd name="connsiteX0" fmla="*/ 0 w 110730"/>
                  <a:gd name="connsiteY0" fmla="*/ 0 h 226804"/>
                  <a:gd name="connsiteX1" fmla="*/ 110731 w 110730"/>
                  <a:gd name="connsiteY1" fmla="*/ 0 h 226804"/>
                  <a:gd name="connsiteX2" fmla="*/ 110731 w 110730"/>
                  <a:gd name="connsiteY2" fmla="*/ 226804 h 226804"/>
                  <a:gd name="connsiteX3" fmla="*/ 0 w 110730"/>
                  <a:gd name="connsiteY3" fmla="*/ 226804 h 226804"/>
                </a:gdLst>
                <a:ahLst/>
                <a:cxnLst>
                  <a:cxn ang="0">
                    <a:pos x="connsiteX0" y="connsiteY0"/>
                  </a:cxn>
                  <a:cxn ang="0">
                    <a:pos x="connsiteX1" y="connsiteY1"/>
                  </a:cxn>
                  <a:cxn ang="0">
                    <a:pos x="connsiteX2" y="connsiteY2"/>
                  </a:cxn>
                  <a:cxn ang="0">
                    <a:pos x="connsiteX3" y="connsiteY3"/>
                  </a:cxn>
                </a:cxnLst>
                <a:rect l="l" t="t" r="r" b="b"/>
                <a:pathLst>
                  <a:path w="110730" h="226804">
                    <a:moveTo>
                      <a:pt x="0" y="0"/>
                    </a:moveTo>
                    <a:lnTo>
                      <a:pt x="110731" y="0"/>
                    </a:lnTo>
                    <a:lnTo>
                      <a:pt x="110731" y="226804"/>
                    </a:lnTo>
                    <a:lnTo>
                      <a:pt x="0" y="226804"/>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2" name="Graphic 3">
                <a:extLst>
                  <a:ext uri="{FF2B5EF4-FFF2-40B4-BE49-F238E27FC236}">
                    <a16:creationId xmlns:a16="http://schemas.microsoft.com/office/drawing/2014/main" xmlns="" id="{63716A16-EB93-488C-9088-3D92A95975F1}"/>
                  </a:ext>
                </a:extLst>
              </p:cNvPr>
              <p:cNvSpPr/>
              <p:nvPr/>
            </p:nvSpPr>
            <p:spPr>
              <a:xfrm>
                <a:off x="6277309" y="5190910"/>
                <a:ext cx="110730" cy="89836"/>
              </a:xfrm>
              <a:custGeom>
                <a:avLst/>
                <a:gdLst>
                  <a:gd name="connsiteX0" fmla="*/ 0 w 110730"/>
                  <a:gd name="connsiteY0" fmla="*/ 0 h 89836"/>
                  <a:gd name="connsiteX1" fmla="*/ 110731 w 110730"/>
                  <a:gd name="connsiteY1" fmla="*/ 0 h 89836"/>
                  <a:gd name="connsiteX2" fmla="*/ 110731 w 110730"/>
                  <a:gd name="connsiteY2" fmla="*/ 89836 h 89836"/>
                  <a:gd name="connsiteX3" fmla="*/ 0 w 110730"/>
                  <a:gd name="connsiteY3" fmla="*/ 89836 h 89836"/>
                </a:gdLst>
                <a:ahLst/>
                <a:cxnLst>
                  <a:cxn ang="0">
                    <a:pos x="connsiteX0" y="connsiteY0"/>
                  </a:cxn>
                  <a:cxn ang="0">
                    <a:pos x="connsiteX1" y="connsiteY1"/>
                  </a:cxn>
                  <a:cxn ang="0">
                    <a:pos x="connsiteX2" y="connsiteY2"/>
                  </a:cxn>
                  <a:cxn ang="0">
                    <a:pos x="connsiteX3" y="connsiteY3"/>
                  </a:cxn>
                </a:cxnLst>
                <a:rect l="l" t="t" r="r" b="b"/>
                <a:pathLst>
                  <a:path w="110730" h="89836">
                    <a:moveTo>
                      <a:pt x="0" y="0"/>
                    </a:moveTo>
                    <a:lnTo>
                      <a:pt x="110731" y="0"/>
                    </a:lnTo>
                    <a:lnTo>
                      <a:pt x="110731" y="89836"/>
                    </a:lnTo>
                    <a:lnTo>
                      <a:pt x="0" y="89836"/>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3" name="Graphic 3">
                <a:extLst>
                  <a:ext uri="{FF2B5EF4-FFF2-40B4-BE49-F238E27FC236}">
                    <a16:creationId xmlns:a16="http://schemas.microsoft.com/office/drawing/2014/main" xmlns="" id="{51199ADC-EEF8-42A2-840B-356A53DAD926}"/>
                  </a:ext>
                </a:extLst>
              </p:cNvPr>
              <p:cNvSpPr/>
              <p:nvPr/>
            </p:nvSpPr>
            <p:spPr>
              <a:xfrm>
                <a:off x="6052526" y="4892624"/>
                <a:ext cx="110730" cy="388122"/>
              </a:xfrm>
              <a:custGeom>
                <a:avLst/>
                <a:gdLst>
                  <a:gd name="connsiteX0" fmla="*/ 0 w 110730"/>
                  <a:gd name="connsiteY0" fmla="*/ 0 h 388122"/>
                  <a:gd name="connsiteX1" fmla="*/ 110731 w 110730"/>
                  <a:gd name="connsiteY1" fmla="*/ 0 h 388122"/>
                  <a:gd name="connsiteX2" fmla="*/ 110731 w 110730"/>
                  <a:gd name="connsiteY2" fmla="*/ 388122 h 388122"/>
                  <a:gd name="connsiteX3" fmla="*/ 0 w 110730"/>
                  <a:gd name="connsiteY3" fmla="*/ 388122 h 388122"/>
                </a:gdLst>
                <a:ahLst/>
                <a:cxnLst>
                  <a:cxn ang="0">
                    <a:pos x="connsiteX0" y="connsiteY0"/>
                  </a:cxn>
                  <a:cxn ang="0">
                    <a:pos x="connsiteX1" y="connsiteY1"/>
                  </a:cxn>
                  <a:cxn ang="0">
                    <a:pos x="connsiteX2" y="connsiteY2"/>
                  </a:cxn>
                  <a:cxn ang="0">
                    <a:pos x="connsiteX3" y="connsiteY3"/>
                  </a:cxn>
                </a:cxnLst>
                <a:rect l="l" t="t" r="r" b="b"/>
                <a:pathLst>
                  <a:path w="110730" h="388122">
                    <a:moveTo>
                      <a:pt x="0" y="0"/>
                    </a:moveTo>
                    <a:lnTo>
                      <a:pt x="110731" y="0"/>
                    </a:lnTo>
                    <a:lnTo>
                      <a:pt x="110731" y="388122"/>
                    </a:lnTo>
                    <a:lnTo>
                      <a:pt x="0" y="388122"/>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4" name="Graphic 3">
                <a:extLst>
                  <a:ext uri="{FF2B5EF4-FFF2-40B4-BE49-F238E27FC236}">
                    <a16:creationId xmlns:a16="http://schemas.microsoft.com/office/drawing/2014/main" xmlns="" id="{ECFD9850-8E4C-457C-BBEA-39D4A3E7FFBA}"/>
                  </a:ext>
                </a:extLst>
              </p:cNvPr>
              <p:cNvSpPr/>
              <p:nvPr/>
            </p:nvSpPr>
            <p:spPr>
              <a:xfrm>
                <a:off x="5827835" y="4915591"/>
                <a:ext cx="110730" cy="365063"/>
              </a:xfrm>
              <a:custGeom>
                <a:avLst/>
                <a:gdLst>
                  <a:gd name="connsiteX0" fmla="*/ 0 w 110730"/>
                  <a:gd name="connsiteY0" fmla="*/ 0 h 365063"/>
                  <a:gd name="connsiteX1" fmla="*/ 110731 w 110730"/>
                  <a:gd name="connsiteY1" fmla="*/ 0 h 365063"/>
                  <a:gd name="connsiteX2" fmla="*/ 110731 w 110730"/>
                  <a:gd name="connsiteY2" fmla="*/ 365064 h 365063"/>
                  <a:gd name="connsiteX3" fmla="*/ 0 w 110730"/>
                  <a:gd name="connsiteY3" fmla="*/ 365064 h 365063"/>
                </a:gdLst>
                <a:ahLst/>
                <a:cxnLst>
                  <a:cxn ang="0">
                    <a:pos x="connsiteX0" y="connsiteY0"/>
                  </a:cxn>
                  <a:cxn ang="0">
                    <a:pos x="connsiteX1" y="connsiteY1"/>
                  </a:cxn>
                  <a:cxn ang="0">
                    <a:pos x="connsiteX2" y="connsiteY2"/>
                  </a:cxn>
                  <a:cxn ang="0">
                    <a:pos x="connsiteX3" y="connsiteY3"/>
                  </a:cxn>
                </a:cxnLst>
                <a:rect l="l" t="t" r="r" b="b"/>
                <a:pathLst>
                  <a:path w="110730" h="365063">
                    <a:moveTo>
                      <a:pt x="0" y="0"/>
                    </a:moveTo>
                    <a:lnTo>
                      <a:pt x="110731" y="0"/>
                    </a:lnTo>
                    <a:lnTo>
                      <a:pt x="110731" y="365064"/>
                    </a:lnTo>
                    <a:lnTo>
                      <a:pt x="0" y="365064"/>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5" name="Graphic 3">
                <a:extLst>
                  <a:ext uri="{FF2B5EF4-FFF2-40B4-BE49-F238E27FC236}">
                    <a16:creationId xmlns:a16="http://schemas.microsoft.com/office/drawing/2014/main" xmlns="" id="{3FBD1D30-9346-42DB-8773-7B388DDB36A6}"/>
                  </a:ext>
                </a:extLst>
              </p:cNvPr>
              <p:cNvSpPr/>
              <p:nvPr/>
            </p:nvSpPr>
            <p:spPr>
              <a:xfrm>
                <a:off x="5603051" y="5095079"/>
                <a:ext cx="110730" cy="185575"/>
              </a:xfrm>
              <a:custGeom>
                <a:avLst/>
                <a:gdLst>
                  <a:gd name="connsiteX0" fmla="*/ 0 w 110730"/>
                  <a:gd name="connsiteY0" fmla="*/ 0 h 185575"/>
                  <a:gd name="connsiteX1" fmla="*/ 110731 w 110730"/>
                  <a:gd name="connsiteY1" fmla="*/ 0 h 185575"/>
                  <a:gd name="connsiteX2" fmla="*/ 110731 w 110730"/>
                  <a:gd name="connsiteY2" fmla="*/ 185575 h 185575"/>
                  <a:gd name="connsiteX3" fmla="*/ 0 w 110730"/>
                  <a:gd name="connsiteY3" fmla="*/ 185575 h 185575"/>
                </a:gdLst>
                <a:ahLst/>
                <a:cxnLst>
                  <a:cxn ang="0">
                    <a:pos x="connsiteX0" y="connsiteY0"/>
                  </a:cxn>
                  <a:cxn ang="0">
                    <a:pos x="connsiteX1" y="connsiteY1"/>
                  </a:cxn>
                  <a:cxn ang="0">
                    <a:pos x="connsiteX2" y="connsiteY2"/>
                  </a:cxn>
                  <a:cxn ang="0">
                    <a:pos x="connsiteX3" y="connsiteY3"/>
                  </a:cxn>
                </a:cxnLst>
                <a:rect l="l" t="t" r="r" b="b"/>
                <a:pathLst>
                  <a:path w="110730" h="185575">
                    <a:moveTo>
                      <a:pt x="0" y="0"/>
                    </a:moveTo>
                    <a:lnTo>
                      <a:pt x="110731" y="0"/>
                    </a:lnTo>
                    <a:lnTo>
                      <a:pt x="110731" y="185575"/>
                    </a:lnTo>
                    <a:lnTo>
                      <a:pt x="0" y="185575"/>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6" name="Graphic 3">
                <a:extLst>
                  <a:ext uri="{FF2B5EF4-FFF2-40B4-BE49-F238E27FC236}">
                    <a16:creationId xmlns:a16="http://schemas.microsoft.com/office/drawing/2014/main" xmlns="" id="{6062172D-F3C0-458B-BAF0-28048909989F}"/>
                  </a:ext>
                </a:extLst>
              </p:cNvPr>
              <p:cNvSpPr/>
              <p:nvPr/>
            </p:nvSpPr>
            <p:spPr>
              <a:xfrm>
                <a:off x="5378268" y="5165915"/>
                <a:ext cx="110730" cy="114739"/>
              </a:xfrm>
              <a:custGeom>
                <a:avLst/>
                <a:gdLst>
                  <a:gd name="connsiteX0" fmla="*/ 0 w 110730"/>
                  <a:gd name="connsiteY0" fmla="*/ 0 h 114739"/>
                  <a:gd name="connsiteX1" fmla="*/ 110731 w 110730"/>
                  <a:gd name="connsiteY1" fmla="*/ 0 h 114739"/>
                  <a:gd name="connsiteX2" fmla="*/ 110731 w 110730"/>
                  <a:gd name="connsiteY2" fmla="*/ 114740 h 114739"/>
                  <a:gd name="connsiteX3" fmla="*/ 0 w 110730"/>
                  <a:gd name="connsiteY3" fmla="*/ 114740 h 114739"/>
                </a:gdLst>
                <a:ahLst/>
                <a:cxnLst>
                  <a:cxn ang="0">
                    <a:pos x="connsiteX0" y="connsiteY0"/>
                  </a:cxn>
                  <a:cxn ang="0">
                    <a:pos x="connsiteX1" y="connsiteY1"/>
                  </a:cxn>
                  <a:cxn ang="0">
                    <a:pos x="connsiteX2" y="connsiteY2"/>
                  </a:cxn>
                  <a:cxn ang="0">
                    <a:pos x="connsiteX3" y="connsiteY3"/>
                  </a:cxn>
                </a:cxnLst>
                <a:rect l="l" t="t" r="r" b="b"/>
                <a:pathLst>
                  <a:path w="110730" h="114739">
                    <a:moveTo>
                      <a:pt x="0" y="0"/>
                    </a:moveTo>
                    <a:lnTo>
                      <a:pt x="110731" y="0"/>
                    </a:lnTo>
                    <a:lnTo>
                      <a:pt x="110731" y="114740"/>
                    </a:lnTo>
                    <a:lnTo>
                      <a:pt x="0" y="114740"/>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7" name="Graphic 3">
                <a:extLst>
                  <a:ext uri="{FF2B5EF4-FFF2-40B4-BE49-F238E27FC236}">
                    <a16:creationId xmlns:a16="http://schemas.microsoft.com/office/drawing/2014/main" xmlns="" id="{C01AE460-F2E4-48E0-9EB6-16F1817B3693}"/>
                  </a:ext>
                </a:extLst>
              </p:cNvPr>
              <p:cNvSpPr/>
              <p:nvPr/>
            </p:nvSpPr>
            <p:spPr>
              <a:xfrm>
                <a:off x="5153485" y="4761006"/>
                <a:ext cx="110730" cy="519648"/>
              </a:xfrm>
              <a:custGeom>
                <a:avLst/>
                <a:gdLst>
                  <a:gd name="connsiteX0" fmla="*/ 0 w 110730"/>
                  <a:gd name="connsiteY0" fmla="*/ 0 h 519648"/>
                  <a:gd name="connsiteX1" fmla="*/ 110731 w 110730"/>
                  <a:gd name="connsiteY1" fmla="*/ 0 h 519648"/>
                  <a:gd name="connsiteX2" fmla="*/ 110731 w 110730"/>
                  <a:gd name="connsiteY2" fmla="*/ 519648 h 519648"/>
                  <a:gd name="connsiteX3" fmla="*/ 0 w 110730"/>
                  <a:gd name="connsiteY3" fmla="*/ 519648 h 519648"/>
                </a:gdLst>
                <a:ahLst/>
                <a:cxnLst>
                  <a:cxn ang="0">
                    <a:pos x="connsiteX0" y="connsiteY0"/>
                  </a:cxn>
                  <a:cxn ang="0">
                    <a:pos x="connsiteX1" y="connsiteY1"/>
                  </a:cxn>
                  <a:cxn ang="0">
                    <a:pos x="connsiteX2" y="connsiteY2"/>
                  </a:cxn>
                  <a:cxn ang="0">
                    <a:pos x="connsiteX3" y="connsiteY3"/>
                  </a:cxn>
                </a:cxnLst>
                <a:rect l="l" t="t" r="r" b="b"/>
                <a:pathLst>
                  <a:path w="110730" h="519648">
                    <a:moveTo>
                      <a:pt x="0" y="0"/>
                    </a:moveTo>
                    <a:lnTo>
                      <a:pt x="110731" y="0"/>
                    </a:lnTo>
                    <a:lnTo>
                      <a:pt x="110731" y="519648"/>
                    </a:lnTo>
                    <a:lnTo>
                      <a:pt x="0" y="519648"/>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8" name="Graphic 3">
                <a:extLst>
                  <a:ext uri="{FF2B5EF4-FFF2-40B4-BE49-F238E27FC236}">
                    <a16:creationId xmlns:a16="http://schemas.microsoft.com/office/drawing/2014/main" xmlns="" id="{C9626848-9F93-42E7-B5AA-A7E2A5AC2D15}"/>
                  </a:ext>
                </a:extLst>
              </p:cNvPr>
              <p:cNvSpPr/>
              <p:nvPr/>
            </p:nvSpPr>
            <p:spPr>
              <a:xfrm>
                <a:off x="4928701" y="4705389"/>
                <a:ext cx="110730" cy="575357"/>
              </a:xfrm>
              <a:custGeom>
                <a:avLst/>
                <a:gdLst>
                  <a:gd name="connsiteX0" fmla="*/ 0 w 110730"/>
                  <a:gd name="connsiteY0" fmla="*/ 0 h 575357"/>
                  <a:gd name="connsiteX1" fmla="*/ 110731 w 110730"/>
                  <a:gd name="connsiteY1" fmla="*/ 0 h 575357"/>
                  <a:gd name="connsiteX2" fmla="*/ 110731 w 110730"/>
                  <a:gd name="connsiteY2" fmla="*/ 575358 h 575357"/>
                  <a:gd name="connsiteX3" fmla="*/ 0 w 110730"/>
                  <a:gd name="connsiteY3" fmla="*/ 575358 h 575357"/>
                </a:gdLst>
                <a:ahLst/>
                <a:cxnLst>
                  <a:cxn ang="0">
                    <a:pos x="connsiteX0" y="connsiteY0"/>
                  </a:cxn>
                  <a:cxn ang="0">
                    <a:pos x="connsiteX1" y="connsiteY1"/>
                  </a:cxn>
                  <a:cxn ang="0">
                    <a:pos x="connsiteX2" y="connsiteY2"/>
                  </a:cxn>
                  <a:cxn ang="0">
                    <a:pos x="connsiteX3" y="connsiteY3"/>
                  </a:cxn>
                </a:cxnLst>
                <a:rect l="l" t="t" r="r" b="b"/>
                <a:pathLst>
                  <a:path w="110730" h="575357">
                    <a:moveTo>
                      <a:pt x="0" y="0"/>
                    </a:moveTo>
                    <a:lnTo>
                      <a:pt x="110731" y="0"/>
                    </a:lnTo>
                    <a:lnTo>
                      <a:pt x="110731" y="575358"/>
                    </a:lnTo>
                    <a:lnTo>
                      <a:pt x="0" y="575358"/>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99" name="Graphic 3">
                <a:extLst>
                  <a:ext uri="{FF2B5EF4-FFF2-40B4-BE49-F238E27FC236}">
                    <a16:creationId xmlns:a16="http://schemas.microsoft.com/office/drawing/2014/main" xmlns="" id="{0984168D-BBB0-434F-90DD-47E11B4F6646}"/>
                  </a:ext>
                </a:extLst>
              </p:cNvPr>
              <p:cNvSpPr/>
              <p:nvPr/>
            </p:nvSpPr>
            <p:spPr>
              <a:xfrm>
                <a:off x="4703918" y="4979694"/>
                <a:ext cx="110730" cy="300960"/>
              </a:xfrm>
              <a:custGeom>
                <a:avLst/>
                <a:gdLst>
                  <a:gd name="connsiteX0" fmla="*/ 0 w 110730"/>
                  <a:gd name="connsiteY0" fmla="*/ 0 h 300960"/>
                  <a:gd name="connsiteX1" fmla="*/ 110731 w 110730"/>
                  <a:gd name="connsiteY1" fmla="*/ 0 h 300960"/>
                  <a:gd name="connsiteX2" fmla="*/ 110731 w 110730"/>
                  <a:gd name="connsiteY2" fmla="*/ 300961 h 300960"/>
                  <a:gd name="connsiteX3" fmla="*/ 0 w 110730"/>
                  <a:gd name="connsiteY3" fmla="*/ 300961 h 300960"/>
                </a:gdLst>
                <a:ahLst/>
                <a:cxnLst>
                  <a:cxn ang="0">
                    <a:pos x="connsiteX0" y="connsiteY0"/>
                  </a:cxn>
                  <a:cxn ang="0">
                    <a:pos x="connsiteX1" y="connsiteY1"/>
                  </a:cxn>
                  <a:cxn ang="0">
                    <a:pos x="connsiteX2" y="connsiteY2"/>
                  </a:cxn>
                  <a:cxn ang="0">
                    <a:pos x="connsiteX3" y="connsiteY3"/>
                  </a:cxn>
                </a:cxnLst>
                <a:rect l="l" t="t" r="r" b="b"/>
                <a:pathLst>
                  <a:path w="110730" h="300960">
                    <a:moveTo>
                      <a:pt x="0" y="0"/>
                    </a:moveTo>
                    <a:lnTo>
                      <a:pt x="110731" y="0"/>
                    </a:lnTo>
                    <a:lnTo>
                      <a:pt x="110731" y="300961"/>
                    </a:lnTo>
                    <a:lnTo>
                      <a:pt x="0" y="300961"/>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0" name="Graphic 3">
                <a:extLst>
                  <a:ext uri="{FF2B5EF4-FFF2-40B4-BE49-F238E27FC236}">
                    <a16:creationId xmlns:a16="http://schemas.microsoft.com/office/drawing/2014/main" xmlns="" id="{99A4FDFB-8E46-48C7-838E-54D7C7D3A682}"/>
                  </a:ext>
                </a:extLst>
              </p:cNvPr>
              <p:cNvSpPr/>
              <p:nvPr/>
            </p:nvSpPr>
            <p:spPr>
              <a:xfrm>
                <a:off x="4479227" y="4936251"/>
                <a:ext cx="110730" cy="344495"/>
              </a:xfrm>
              <a:custGeom>
                <a:avLst/>
                <a:gdLst>
                  <a:gd name="connsiteX0" fmla="*/ 0 w 110730"/>
                  <a:gd name="connsiteY0" fmla="*/ 0 h 344495"/>
                  <a:gd name="connsiteX1" fmla="*/ 110731 w 110730"/>
                  <a:gd name="connsiteY1" fmla="*/ 0 h 344495"/>
                  <a:gd name="connsiteX2" fmla="*/ 110731 w 110730"/>
                  <a:gd name="connsiteY2" fmla="*/ 344495 h 344495"/>
                  <a:gd name="connsiteX3" fmla="*/ 0 w 110730"/>
                  <a:gd name="connsiteY3" fmla="*/ 344495 h 344495"/>
                </a:gdLst>
                <a:ahLst/>
                <a:cxnLst>
                  <a:cxn ang="0">
                    <a:pos x="connsiteX0" y="connsiteY0"/>
                  </a:cxn>
                  <a:cxn ang="0">
                    <a:pos x="connsiteX1" y="connsiteY1"/>
                  </a:cxn>
                  <a:cxn ang="0">
                    <a:pos x="connsiteX2" y="connsiteY2"/>
                  </a:cxn>
                  <a:cxn ang="0">
                    <a:pos x="connsiteX3" y="connsiteY3"/>
                  </a:cxn>
                </a:cxnLst>
                <a:rect l="l" t="t" r="r" b="b"/>
                <a:pathLst>
                  <a:path w="110730" h="344495">
                    <a:moveTo>
                      <a:pt x="0" y="0"/>
                    </a:moveTo>
                    <a:lnTo>
                      <a:pt x="110731" y="0"/>
                    </a:lnTo>
                    <a:lnTo>
                      <a:pt x="110731" y="344495"/>
                    </a:lnTo>
                    <a:lnTo>
                      <a:pt x="0" y="344495"/>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1" name="Graphic 3">
                <a:extLst>
                  <a:ext uri="{FF2B5EF4-FFF2-40B4-BE49-F238E27FC236}">
                    <a16:creationId xmlns:a16="http://schemas.microsoft.com/office/drawing/2014/main" xmlns="" id="{73F19363-AC08-4EEE-93F5-4F95DB4D6753}"/>
                  </a:ext>
                </a:extLst>
              </p:cNvPr>
              <p:cNvSpPr/>
              <p:nvPr/>
            </p:nvSpPr>
            <p:spPr>
              <a:xfrm>
                <a:off x="4254443" y="4820866"/>
                <a:ext cx="110730" cy="459880"/>
              </a:xfrm>
              <a:custGeom>
                <a:avLst/>
                <a:gdLst>
                  <a:gd name="connsiteX0" fmla="*/ 0 w 110730"/>
                  <a:gd name="connsiteY0" fmla="*/ 0 h 459880"/>
                  <a:gd name="connsiteX1" fmla="*/ 110731 w 110730"/>
                  <a:gd name="connsiteY1" fmla="*/ 0 h 459880"/>
                  <a:gd name="connsiteX2" fmla="*/ 110731 w 110730"/>
                  <a:gd name="connsiteY2" fmla="*/ 459880 h 459880"/>
                  <a:gd name="connsiteX3" fmla="*/ 0 w 110730"/>
                  <a:gd name="connsiteY3" fmla="*/ 459880 h 459880"/>
                </a:gdLst>
                <a:ahLst/>
                <a:cxnLst>
                  <a:cxn ang="0">
                    <a:pos x="connsiteX0" y="connsiteY0"/>
                  </a:cxn>
                  <a:cxn ang="0">
                    <a:pos x="connsiteX1" y="connsiteY1"/>
                  </a:cxn>
                  <a:cxn ang="0">
                    <a:pos x="connsiteX2" y="connsiteY2"/>
                  </a:cxn>
                  <a:cxn ang="0">
                    <a:pos x="connsiteX3" y="connsiteY3"/>
                  </a:cxn>
                </a:cxnLst>
                <a:rect l="l" t="t" r="r" b="b"/>
                <a:pathLst>
                  <a:path w="110730" h="459880">
                    <a:moveTo>
                      <a:pt x="0" y="0"/>
                    </a:moveTo>
                    <a:lnTo>
                      <a:pt x="110731" y="0"/>
                    </a:lnTo>
                    <a:lnTo>
                      <a:pt x="110731" y="459880"/>
                    </a:lnTo>
                    <a:lnTo>
                      <a:pt x="0" y="459880"/>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2" name="Graphic 3">
                <a:extLst>
                  <a:ext uri="{FF2B5EF4-FFF2-40B4-BE49-F238E27FC236}">
                    <a16:creationId xmlns:a16="http://schemas.microsoft.com/office/drawing/2014/main" xmlns="" id="{BC1495B4-BD45-46BD-B734-1F2A1767FEE8}"/>
                  </a:ext>
                </a:extLst>
              </p:cNvPr>
              <p:cNvSpPr/>
              <p:nvPr/>
            </p:nvSpPr>
            <p:spPr>
              <a:xfrm>
                <a:off x="3580093" y="4994820"/>
                <a:ext cx="110730" cy="285834"/>
              </a:xfrm>
              <a:custGeom>
                <a:avLst/>
                <a:gdLst>
                  <a:gd name="connsiteX0" fmla="*/ 0 w 110730"/>
                  <a:gd name="connsiteY0" fmla="*/ 0 h 285834"/>
                  <a:gd name="connsiteX1" fmla="*/ 110731 w 110730"/>
                  <a:gd name="connsiteY1" fmla="*/ 0 h 285834"/>
                  <a:gd name="connsiteX2" fmla="*/ 110731 w 110730"/>
                  <a:gd name="connsiteY2" fmla="*/ 285834 h 285834"/>
                  <a:gd name="connsiteX3" fmla="*/ 0 w 110730"/>
                  <a:gd name="connsiteY3" fmla="*/ 285834 h 285834"/>
                </a:gdLst>
                <a:ahLst/>
                <a:cxnLst>
                  <a:cxn ang="0">
                    <a:pos x="connsiteX0" y="connsiteY0"/>
                  </a:cxn>
                  <a:cxn ang="0">
                    <a:pos x="connsiteX1" y="connsiteY1"/>
                  </a:cxn>
                  <a:cxn ang="0">
                    <a:pos x="connsiteX2" y="connsiteY2"/>
                  </a:cxn>
                  <a:cxn ang="0">
                    <a:pos x="connsiteX3" y="connsiteY3"/>
                  </a:cxn>
                </a:cxnLst>
                <a:rect l="l" t="t" r="r" b="b"/>
                <a:pathLst>
                  <a:path w="110730" h="285834">
                    <a:moveTo>
                      <a:pt x="0" y="0"/>
                    </a:moveTo>
                    <a:lnTo>
                      <a:pt x="110731" y="0"/>
                    </a:lnTo>
                    <a:lnTo>
                      <a:pt x="110731" y="285834"/>
                    </a:lnTo>
                    <a:lnTo>
                      <a:pt x="0" y="285834"/>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3" name="Graphic 3">
                <a:extLst>
                  <a:ext uri="{FF2B5EF4-FFF2-40B4-BE49-F238E27FC236}">
                    <a16:creationId xmlns:a16="http://schemas.microsoft.com/office/drawing/2014/main" xmlns="" id="{5B3C48ED-5587-47FC-9AC7-C8B5CA623239}"/>
                  </a:ext>
                </a:extLst>
              </p:cNvPr>
              <p:cNvSpPr/>
              <p:nvPr/>
            </p:nvSpPr>
            <p:spPr>
              <a:xfrm>
                <a:off x="3355310" y="4521473"/>
                <a:ext cx="110730" cy="759181"/>
              </a:xfrm>
              <a:custGeom>
                <a:avLst/>
                <a:gdLst>
                  <a:gd name="connsiteX0" fmla="*/ 0 w 110730"/>
                  <a:gd name="connsiteY0" fmla="*/ 0 h 759181"/>
                  <a:gd name="connsiteX1" fmla="*/ 110731 w 110730"/>
                  <a:gd name="connsiteY1" fmla="*/ 0 h 759181"/>
                  <a:gd name="connsiteX2" fmla="*/ 110731 w 110730"/>
                  <a:gd name="connsiteY2" fmla="*/ 759181 h 759181"/>
                  <a:gd name="connsiteX3" fmla="*/ 0 w 110730"/>
                  <a:gd name="connsiteY3" fmla="*/ 759181 h 759181"/>
                </a:gdLst>
                <a:ahLst/>
                <a:cxnLst>
                  <a:cxn ang="0">
                    <a:pos x="connsiteX0" y="connsiteY0"/>
                  </a:cxn>
                  <a:cxn ang="0">
                    <a:pos x="connsiteX1" y="connsiteY1"/>
                  </a:cxn>
                  <a:cxn ang="0">
                    <a:pos x="connsiteX2" y="connsiteY2"/>
                  </a:cxn>
                  <a:cxn ang="0">
                    <a:pos x="connsiteX3" y="connsiteY3"/>
                  </a:cxn>
                </a:cxnLst>
                <a:rect l="l" t="t" r="r" b="b"/>
                <a:pathLst>
                  <a:path w="110730" h="759181">
                    <a:moveTo>
                      <a:pt x="0" y="0"/>
                    </a:moveTo>
                    <a:lnTo>
                      <a:pt x="110731" y="0"/>
                    </a:lnTo>
                    <a:lnTo>
                      <a:pt x="110731" y="759181"/>
                    </a:lnTo>
                    <a:lnTo>
                      <a:pt x="0" y="759181"/>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4" name="Graphic 3">
                <a:extLst>
                  <a:ext uri="{FF2B5EF4-FFF2-40B4-BE49-F238E27FC236}">
                    <a16:creationId xmlns:a16="http://schemas.microsoft.com/office/drawing/2014/main" xmlns="" id="{F8C9BB0A-2CF4-422C-825E-8C3AF706CFF3}"/>
                  </a:ext>
                </a:extLst>
              </p:cNvPr>
              <p:cNvSpPr/>
              <p:nvPr/>
            </p:nvSpPr>
            <p:spPr>
              <a:xfrm>
                <a:off x="3130619" y="4711015"/>
                <a:ext cx="110730" cy="569731"/>
              </a:xfrm>
              <a:custGeom>
                <a:avLst/>
                <a:gdLst>
                  <a:gd name="connsiteX0" fmla="*/ 0 w 110730"/>
                  <a:gd name="connsiteY0" fmla="*/ 0 h 569731"/>
                  <a:gd name="connsiteX1" fmla="*/ 110731 w 110730"/>
                  <a:gd name="connsiteY1" fmla="*/ 0 h 569731"/>
                  <a:gd name="connsiteX2" fmla="*/ 110731 w 110730"/>
                  <a:gd name="connsiteY2" fmla="*/ 569731 h 569731"/>
                  <a:gd name="connsiteX3" fmla="*/ 0 w 110730"/>
                  <a:gd name="connsiteY3" fmla="*/ 569731 h 569731"/>
                </a:gdLst>
                <a:ahLst/>
                <a:cxnLst>
                  <a:cxn ang="0">
                    <a:pos x="connsiteX0" y="connsiteY0"/>
                  </a:cxn>
                  <a:cxn ang="0">
                    <a:pos x="connsiteX1" y="connsiteY1"/>
                  </a:cxn>
                  <a:cxn ang="0">
                    <a:pos x="connsiteX2" y="connsiteY2"/>
                  </a:cxn>
                  <a:cxn ang="0">
                    <a:pos x="connsiteX3" y="connsiteY3"/>
                  </a:cxn>
                </a:cxnLst>
                <a:rect l="l" t="t" r="r" b="b"/>
                <a:pathLst>
                  <a:path w="110730" h="569731">
                    <a:moveTo>
                      <a:pt x="0" y="0"/>
                    </a:moveTo>
                    <a:lnTo>
                      <a:pt x="110731" y="0"/>
                    </a:lnTo>
                    <a:lnTo>
                      <a:pt x="110731" y="569731"/>
                    </a:lnTo>
                    <a:lnTo>
                      <a:pt x="0" y="569731"/>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5" name="Graphic 3">
                <a:extLst>
                  <a:ext uri="{FF2B5EF4-FFF2-40B4-BE49-F238E27FC236}">
                    <a16:creationId xmlns:a16="http://schemas.microsoft.com/office/drawing/2014/main" xmlns="" id="{63277705-0B17-488B-8A09-6474FEBDC0EC}"/>
                  </a:ext>
                </a:extLst>
              </p:cNvPr>
              <p:cNvSpPr/>
              <p:nvPr/>
            </p:nvSpPr>
            <p:spPr>
              <a:xfrm>
                <a:off x="2905835" y="4987810"/>
                <a:ext cx="110730" cy="292936"/>
              </a:xfrm>
              <a:custGeom>
                <a:avLst/>
                <a:gdLst>
                  <a:gd name="connsiteX0" fmla="*/ 0 w 110730"/>
                  <a:gd name="connsiteY0" fmla="*/ 0 h 292936"/>
                  <a:gd name="connsiteX1" fmla="*/ 110731 w 110730"/>
                  <a:gd name="connsiteY1" fmla="*/ 0 h 292936"/>
                  <a:gd name="connsiteX2" fmla="*/ 110731 w 110730"/>
                  <a:gd name="connsiteY2" fmla="*/ 292936 h 292936"/>
                  <a:gd name="connsiteX3" fmla="*/ 0 w 110730"/>
                  <a:gd name="connsiteY3" fmla="*/ 292936 h 292936"/>
                </a:gdLst>
                <a:ahLst/>
                <a:cxnLst>
                  <a:cxn ang="0">
                    <a:pos x="connsiteX0" y="connsiteY0"/>
                  </a:cxn>
                  <a:cxn ang="0">
                    <a:pos x="connsiteX1" y="connsiteY1"/>
                  </a:cxn>
                  <a:cxn ang="0">
                    <a:pos x="connsiteX2" y="connsiteY2"/>
                  </a:cxn>
                  <a:cxn ang="0">
                    <a:pos x="connsiteX3" y="connsiteY3"/>
                  </a:cxn>
                </a:cxnLst>
                <a:rect l="l" t="t" r="r" b="b"/>
                <a:pathLst>
                  <a:path w="110730" h="292936">
                    <a:moveTo>
                      <a:pt x="0" y="0"/>
                    </a:moveTo>
                    <a:lnTo>
                      <a:pt x="110731" y="0"/>
                    </a:lnTo>
                    <a:lnTo>
                      <a:pt x="110731" y="292936"/>
                    </a:lnTo>
                    <a:lnTo>
                      <a:pt x="0" y="292936"/>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6" name="Graphic 3">
                <a:extLst>
                  <a:ext uri="{FF2B5EF4-FFF2-40B4-BE49-F238E27FC236}">
                    <a16:creationId xmlns:a16="http://schemas.microsoft.com/office/drawing/2014/main" xmlns="" id="{F2E164DA-A6C1-4B3E-A2DD-9EB43B145E5B}"/>
                  </a:ext>
                </a:extLst>
              </p:cNvPr>
              <p:cNvSpPr/>
              <p:nvPr/>
            </p:nvSpPr>
            <p:spPr>
              <a:xfrm>
                <a:off x="2681052" y="4521473"/>
                <a:ext cx="110730" cy="759181"/>
              </a:xfrm>
              <a:custGeom>
                <a:avLst/>
                <a:gdLst>
                  <a:gd name="connsiteX0" fmla="*/ 0 w 110730"/>
                  <a:gd name="connsiteY0" fmla="*/ 0 h 759181"/>
                  <a:gd name="connsiteX1" fmla="*/ 110731 w 110730"/>
                  <a:gd name="connsiteY1" fmla="*/ 0 h 759181"/>
                  <a:gd name="connsiteX2" fmla="*/ 110731 w 110730"/>
                  <a:gd name="connsiteY2" fmla="*/ 759181 h 759181"/>
                  <a:gd name="connsiteX3" fmla="*/ 0 w 110730"/>
                  <a:gd name="connsiteY3" fmla="*/ 759181 h 759181"/>
                </a:gdLst>
                <a:ahLst/>
                <a:cxnLst>
                  <a:cxn ang="0">
                    <a:pos x="connsiteX0" y="connsiteY0"/>
                  </a:cxn>
                  <a:cxn ang="0">
                    <a:pos x="connsiteX1" y="connsiteY1"/>
                  </a:cxn>
                  <a:cxn ang="0">
                    <a:pos x="connsiteX2" y="connsiteY2"/>
                  </a:cxn>
                  <a:cxn ang="0">
                    <a:pos x="connsiteX3" y="connsiteY3"/>
                  </a:cxn>
                </a:cxnLst>
                <a:rect l="l" t="t" r="r" b="b"/>
                <a:pathLst>
                  <a:path w="110730" h="759181">
                    <a:moveTo>
                      <a:pt x="0" y="0"/>
                    </a:moveTo>
                    <a:lnTo>
                      <a:pt x="110731" y="0"/>
                    </a:lnTo>
                    <a:lnTo>
                      <a:pt x="110731" y="759181"/>
                    </a:lnTo>
                    <a:lnTo>
                      <a:pt x="0" y="759181"/>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7" name="Graphic 3">
                <a:extLst>
                  <a:ext uri="{FF2B5EF4-FFF2-40B4-BE49-F238E27FC236}">
                    <a16:creationId xmlns:a16="http://schemas.microsoft.com/office/drawing/2014/main" xmlns="" id="{67D8F0D4-0B26-49A5-A536-B78290D2C173}"/>
                  </a:ext>
                </a:extLst>
              </p:cNvPr>
              <p:cNvSpPr/>
              <p:nvPr/>
            </p:nvSpPr>
            <p:spPr>
              <a:xfrm>
                <a:off x="2456269" y="4551450"/>
                <a:ext cx="110730" cy="729204"/>
              </a:xfrm>
              <a:custGeom>
                <a:avLst/>
                <a:gdLst>
                  <a:gd name="connsiteX0" fmla="*/ 0 w 110730"/>
                  <a:gd name="connsiteY0" fmla="*/ 0 h 729204"/>
                  <a:gd name="connsiteX1" fmla="*/ 110731 w 110730"/>
                  <a:gd name="connsiteY1" fmla="*/ 0 h 729204"/>
                  <a:gd name="connsiteX2" fmla="*/ 110731 w 110730"/>
                  <a:gd name="connsiteY2" fmla="*/ 729205 h 729204"/>
                  <a:gd name="connsiteX3" fmla="*/ 0 w 110730"/>
                  <a:gd name="connsiteY3" fmla="*/ 729205 h 729204"/>
                </a:gdLst>
                <a:ahLst/>
                <a:cxnLst>
                  <a:cxn ang="0">
                    <a:pos x="connsiteX0" y="connsiteY0"/>
                  </a:cxn>
                  <a:cxn ang="0">
                    <a:pos x="connsiteX1" y="connsiteY1"/>
                  </a:cxn>
                  <a:cxn ang="0">
                    <a:pos x="connsiteX2" y="connsiteY2"/>
                  </a:cxn>
                  <a:cxn ang="0">
                    <a:pos x="connsiteX3" y="connsiteY3"/>
                  </a:cxn>
                </a:cxnLst>
                <a:rect l="l" t="t" r="r" b="b"/>
                <a:pathLst>
                  <a:path w="110730" h="729204">
                    <a:moveTo>
                      <a:pt x="0" y="0"/>
                    </a:moveTo>
                    <a:lnTo>
                      <a:pt x="110731" y="0"/>
                    </a:lnTo>
                    <a:lnTo>
                      <a:pt x="110731" y="729205"/>
                    </a:lnTo>
                    <a:lnTo>
                      <a:pt x="0" y="729205"/>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8" name="Graphic 3">
                <a:extLst>
                  <a:ext uri="{FF2B5EF4-FFF2-40B4-BE49-F238E27FC236}">
                    <a16:creationId xmlns:a16="http://schemas.microsoft.com/office/drawing/2014/main" xmlns="" id="{6B1DD651-24AD-4CD3-B5CF-0F2EE6884BC6}"/>
                  </a:ext>
                </a:extLst>
              </p:cNvPr>
              <p:cNvSpPr/>
              <p:nvPr/>
            </p:nvSpPr>
            <p:spPr>
              <a:xfrm>
                <a:off x="2231485" y="4191828"/>
                <a:ext cx="110730" cy="1088826"/>
              </a:xfrm>
              <a:custGeom>
                <a:avLst/>
                <a:gdLst>
                  <a:gd name="connsiteX0" fmla="*/ 0 w 110730"/>
                  <a:gd name="connsiteY0" fmla="*/ 0 h 1088826"/>
                  <a:gd name="connsiteX1" fmla="*/ 110731 w 110730"/>
                  <a:gd name="connsiteY1" fmla="*/ 0 h 1088826"/>
                  <a:gd name="connsiteX2" fmla="*/ 110731 w 110730"/>
                  <a:gd name="connsiteY2" fmla="*/ 1088827 h 1088826"/>
                  <a:gd name="connsiteX3" fmla="*/ 0 w 110730"/>
                  <a:gd name="connsiteY3" fmla="*/ 1088827 h 1088826"/>
                </a:gdLst>
                <a:ahLst/>
                <a:cxnLst>
                  <a:cxn ang="0">
                    <a:pos x="connsiteX0" y="connsiteY0"/>
                  </a:cxn>
                  <a:cxn ang="0">
                    <a:pos x="connsiteX1" y="connsiteY1"/>
                  </a:cxn>
                  <a:cxn ang="0">
                    <a:pos x="connsiteX2" y="connsiteY2"/>
                  </a:cxn>
                  <a:cxn ang="0">
                    <a:pos x="connsiteX3" y="connsiteY3"/>
                  </a:cxn>
                </a:cxnLst>
                <a:rect l="l" t="t" r="r" b="b"/>
                <a:pathLst>
                  <a:path w="110730" h="1088826">
                    <a:moveTo>
                      <a:pt x="0" y="0"/>
                    </a:moveTo>
                    <a:lnTo>
                      <a:pt x="110731" y="0"/>
                    </a:lnTo>
                    <a:lnTo>
                      <a:pt x="110731" y="1088827"/>
                    </a:lnTo>
                    <a:lnTo>
                      <a:pt x="0" y="1088827"/>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09" name="Graphic 3">
                <a:extLst>
                  <a:ext uri="{FF2B5EF4-FFF2-40B4-BE49-F238E27FC236}">
                    <a16:creationId xmlns:a16="http://schemas.microsoft.com/office/drawing/2014/main" xmlns="" id="{270A039C-ECFC-47B4-BA93-82A1B94A1ADF}"/>
                  </a:ext>
                </a:extLst>
              </p:cNvPr>
              <p:cNvSpPr/>
              <p:nvPr/>
            </p:nvSpPr>
            <p:spPr>
              <a:xfrm>
                <a:off x="2006794" y="4639626"/>
                <a:ext cx="110730" cy="641121"/>
              </a:xfrm>
              <a:custGeom>
                <a:avLst/>
                <a:gdLst>
                  <a:gd name="connsiteX0" fmla="*/ 0 w 110730"/>
                  <a:gd name="connsiteY0" fmla="*/ 0 h 641121"/>
                  <a:gd name="connsiteX1" fmla="*/ 110731 w 110730"/>
                  <a:gd name="connsiteY1" fmla="*/ 0 h 641121"/>
                  <a:gd name="connsiteX2" fmla="*/ 110731 w 110730"/>
                  <a:gd name="connsiteY2" fmla="*/ 641121 h 641121"/>
                  <a:gd name="connsiteX3" fmla="*/ 0 w 110730"/>
                  <a:gd name="connsiteY3" fmla="*/ 641121 h 641121"/>
                </a:gdLst>
                <a:ahLst/>
                <a:cxnLst>
                  <a:cxn ang="0">
                    <a:pos x="connsiteX0" y="connsiteY0"/>
                  </a:cxn>
                  <a:cxn ang="0">
                    <a:pos x="connsiteX1" y="connsiteY1"/>
                  </a:cxn>
                  <a:cxn ang="0">
                    <a:pos x="connsiteX2" y="connsiteY2"/>
                  </a:cxn>
                  <a:cxn ang="0">
                    <a:pos x="connsiteX3" y="connsiteY3"/>
                  </a:cxn>
                </a:cxnLst>
                <a:rect l="l" t="t" r="r" b="b"/>
                <a:pathLst>
                  <a:path w="110730" h="641121">
                    <a:moveTo>
                      <a:pt x="0" y="0"/>
                    </a:moveTo>
                    <a:lnTo>
                      <a:pt x="110731" y="0"/>
                    </a:lnTo>
                    <a:lnTo>
                      <a:pt x="110731" y="641121"/>
                    </a:lnTo>
                    <a:lnTo>
                      <a:pt x="0" y="641121"/>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0" name="Graphic 3">
                <a:extLst>
                  <a:ext uri="{FF2B5EF4-FFF2-40B4-BE49-F238E27FC236}">
                    <a16:creationId xmlns:a16="http://schemas.microsoft.com/office/drawing/2014/main" xmlns="" id="{566C7781-A681-4410-B57D-7B50E5789C68}"/>
                  </a:ext>
                </a:extLst>
              </p:cNvPr>
              <p:cNvSpPr/>
              <p:nvPr/>
            </p:nvSpPr>
            <p:spPr>
              <a:xfrm>
                <a:off x="1782011" y="4979417"/>
                <a:ext cx="110730" cy="301329"/>
              </a:xfrm>
              <a:custGeom>
                <a:avLst/>
                <a:gdLst>
                  <a:gd name="connsiteX0" fmla="*/ 0 w 110730"/>
                  <a:gd name="connsiteY0" fmla="*/ 0 h 301329"/>
                  <a:gd name="connsiteX1" fmla="*/ 110731 w 110730"/>
                  <a:gd name="connsiteY1" fmla="*/ 0 h 301329"/>
                  <a:gd name="connsiteX2" fmla="*/ 110731 w 110730"/>
                  <a:gd name="connsiteY2" fmla="*/ 301330 h 301329"/>
                  <a:gd name="connsiteX3" fmla="*/ 0 w 110730"/>
                  <a:gd name="connsiteY3" fmla="*/ 301330 h 301329"/>
                </a:gdLst>
                <a:ahLst/>
                <a:cxnLst>
                  <a:cxn ang="0">
                    <a:pos x="connsiteX0" y="connsiteY0"/>
                  </a:cxn>
                  <a:cxn ang="0">
                    <a:pos x="connsiteX1" y="connsiteY1"/>
                  </a:cxn>
                  <a:cxn ang="0">
                    <a:pos x="connsiteX2" y="connsiteY2"/>
                  </a:cxn>
                  <a:cxn ang="0">
                    <a:pos x="connsiteX3" y="connsiteY3"/>
                  </a:cxn>
                </a:cxnLst>
                <a:rect l="l" t="t" r="r" b="b"/>
                <a:pathLst>
                  <a:path w="110730" h="301329">
                    <a:moveTo>
                      <a:pt x="0" y="0"/>
                    </a:moveTo>
                    <a:lnTo>
                      <a:pt x="110731" y="0"/>
                    </a:lnTo>
                    <a:lnTo>
                      <a:pt x="110731" y="301330"/>
                    </a:lnTo>
                    <a:lnTo>
                      <a:pt x="0" y="301330"/>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1" name="Graphic 3">
                <a:extLst>
                  <a:ext uri="{FF2B5EF4-FFF2-40B4-BE49-F238E27FC236}">
                    <a16:creationId xmlns:a16="http://schemas.microsoft.com/office/drawing/2014/main" xmlns="" id="{B1423F2F-9D69-4C93-BE98-944E9210216D}"/>
                  </a:ext>
                </a:extLst>
              </p:cNvPr>
              <p:cNvSpPr/>
              <p:nvPr/>
            </p:nvSpPr>
            <p:spPr>
              <a:xfrm>
                <a:off x="1557227" y="3461701"/>
                <a:ext cx="110730" cy="1818953"/>
              </a:xfrm>
              <a:custGeom>
                <a:avLst/>
                <a:gdLst>
                  <a:gd name="connsiteX0" fmla="*/ 0 w 110730"/>
                  <a:gd name="connsiteY0" fmla="*/ 0 h 1818953"/>
                  <a:gd name="connsiteX1" fmla="*/ 110731 w 110730"/>
                  <a:gd name="connsiteY1" fmla="*/ 0 h 1818953"/>
                  <a:gd name="connsiteX2" fmla="*/ 110731 w 110730"/>
                  <a:gd name="connsiteY2" fmla="*/ 1818954 h 1818953"/>
                  <a:gd name="connsiteX3" fmla="*/ 0 w 110730"/>
                  <a:gd name="connsiteY3" fmla="*/ 1818954 h 1818953"/>
                </a:gdLst>
                <a:ahLst/>
                <a:cxnLst>
                  <a:cxn ang="0">
                    <a:pos x="connsiteX0" y="connsiteY0"/>
                  </a:cxn>
                  <a:cxn ang="0">
                    <a:pos x="connsiteX1" y="connsiteY1"/>
                  </a:cxn>
                  <a:cxn ang="0">
                    <a:pos x="connsiteX2" y="connsiteY2"/>
                  </a:cxn>
                  <a:cxn ang="0">
                    <a:pos x="connsiteX3" y="connsiteY3"/>
                  </a:cxn>
                </a:cxnLst>
                <a:rect l="l" t="t" r="r" b="b"/>
                <a:pathLst>
                  <a:path w="110730" h="1818953">
                    <a:moveTo>
                      <a:pt x="0" y="0"/>
                    </a:moveTo>
                    <a:lnTo>
                      <a:pt x="110731" y="0"/>
                    </a:lnTo>
                    <a:lnTo>
                      <a:pt x="110731" y="1818954"/>
                    </a:lnTo>
                    <a:lnTo>
                      <a:pt x="0" y="1818954"/>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2" name="Graphic 3">
                <a:extLst>
                  <a:ext uri="{FF2B5EF4-FFF2-40B4-BE49-F238E27FC236}">
                    <a16:creationId xmlns:a16="http://schemas.microsoft.com/office/drawing/2014/main" xmlns="" id="{7B2C2803-4172-4391-8A66-C40DD389FA5E}"/>
                  </a:ext>
                </a:extLst>
              </p:cNvPr>
              <p:cNvSpPr/>
              <p:nvPr/>
            </p:nvSpPr>
            <p:spPr>
              <a:xfrm>
                <a:off x="1332444" y="4748001"/>
                <a:ext cx="110730" cy="532653"/>
              </a:xfrm>
              <a:custGeom>
                <a:avLst/>
                <a:gdLst>
                  <a:gd name="connsiteX0" fmla="*/ 0 w 110730"/>
                  <a:gd name="connsiteY0" fmla="*/ 0 h 532653"/>
                  <a:gd name="connsiteX1" fmla="*/ 110731 w 110730"/>
                  <a:gd name="connsiteY1" fmla="*/ 0 h 532653"/>
                  <a:gd name="connsiteX2" fmla="*/ 110731 w 110730"/>
                  <a:gd name="connsiteY2" fmla="*/ 532653 h 532653"/>
                  <a:gd name="connsiteX3" fmla="*/ 0 w 110730"/>
                  <a:gd name="connsiteY3" fmla="*/ 532653 h 532653"/>
                </a:gdLst>
                <a:ahLst/>
                <a:cxnLst>
                  <a:cxn ang="0">
                    <a:pos x="connsiteX0" y="connsiteY0"/>
                  </a:cxn>
                  <a:cxn ang="0">
                    <a:pos x="connsiteX1" y="connsiteY1"/>
                  </a:cxn>
                  <a:cxn ang="0">
                    <a:pos x="connsiteX2" y="connsiteY2"/>
                  </a:cxn>
                  <a:cxn ang="0">
                    <a:pos x="connsiteX3" y="connsiteY3"/>
                  </a:cxn>
                </a:cxnLst>
                <a:rect l="l" t="t" r="r" b="b"/>
                <a:pathLst>
                  <a:path w="110730" h="532653">
                    <a:moveTo>
                      <a:pt x="0" y="0"/>
                    </a:moveTo>
                    <a:lnTo>
                      <a:pt x="110731" y="0"/>
                    </a:lnTo>
                    <a:lnTo>
                      <a:pt x="110731" y="532653"/>
                    </a:lnTo>
                    <a:lnTo>
                      <a:pt x="0" y="532653"/>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3" name="Graphic 3">
                <a:extLst>
                  <a:ext uri="{FF2B5EF4-FFF2-40B4-BE49-F238E27FC236}">
                    <a16:creationId xmlns:a16="http://schemas.microsoft.com/office/drawing/2014/main" xmlns="" id="{1B7B1FD4-BE2C-410B-8A8B-E8666CAE11C2}"/>
                  </a:ext>
                </a:extLst>
              </p:cNvPr>
              <p:cNvSpPr/>
              <p:nvPr/>
            </p:nvSpPr>
            <p:spPr>
              <a:xfrm>
                <a:off x="6726876" y="5096647"/>
                <a:ext cx="110730" cy="184099"/>
              </a:xfrm>
              <a:custGeom>
                <a:avLst/>
                <a:gdLst>
                  <a:gd name="connsiteX0" fmla="*/ 0 w 110730"/>
                  <a:gd name="connsiteY0" fmla="*/ 0 h 184099"/>
                  <a:gd name="connsiteX1" fmla="*/ 110731 w 110730"/>
                  <a:gd name="connsiteY1" fmla="*/ 0 h 184099"/>
                  <a:gd name="connsiteX2" fmla="*/ 110731 w 110730"/>
                  <a:gd name="connsiteY2" fmla="*/ 184100 h 184099"/>
                  <a:gd name="connsiteX3" fmla="*/ 0 w 110730"/>
                  <a:gd name="connsiteY3" fmla="*/ 184100 h 184099"/>
                </a:gdLst>
                <a:ahLst/>
                <a:cxnLst>
                  <a:cxn ang="0">
                    <a:pos x="connsiteX0" y="connsiteY0"/>
                  </a:cxn>
                  <a:cxn ang="0">
                    <a:pos x="connsiteX1" y="connsiteY1"/>
                  </a:cxn>
                  <a:cxn ang="0">
                    <a:pos x="connsiteX2" y="connsiteY2"/>
                  </a:cxn>
                  <a:cxn ang="0">
                    <a:pos x="connsiteX3" y="connsiteY3"/>
                  </a:cxn>
                </a:cxnLst>
                <a:rect l="l" t="t" r="r" b="b"/>
                <a:pathLst>
                  <a:path w="110730" h="184099">
                    <a:moveTo>
                      <a:pt x="0" y="0"/>
                    </a:moveTo>
                    <a:lnTo>
                      <a:pt x="110731" y="0"/>
                    </a:lnTo>
                    <a:lnTo>
                      <a:pt x="110731" y="184100"/>
                    </a:lnTo>
                    <a:lnTo>
                      <a:pt x="0" y="184100"/>
                    </a:lnTo>
                    <a:close/>
                  </a:path>
                </a:pathLst>
              </a:custGeom>
              <a:solidFill>
                <a:srgbClr val="99CC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4" name="Graphic 3">
                <a:extLst>
                  <a:ext uri="{FF2B5EF4-FFF2-40B4-BE49-F238E27FC236}">
                    <a16:creationId xmlns:a16="http://schemas.microsoft.com/office/drawing/2014/main" xmlns="" id="{CE531090-0400-4D95-A535-E23896ABE557}"/>
                  </a:ext>
                </a:extLst>
              </p:cNvPr>
              <p:cNvSpPr/>
              <p:nvPr/>
            </p:nvSpPr>
            <p:spPr>
              <a:xfrm>
                <a:off x="4029660" y="4609373"/>
                <a:ext cx="110730" cy="671373"/>
              </a:xfrm>
              <a:custGeom>
                <a:avLst/>
                <a:gdLst>
                  <a:gd name="connsiteX0" fmla="*/ 0 w 110730"/>
                  <a:gd name="connsiteY0" fmla="*/ 0 h 671373"/>
                  <a:gd name="connsiteX1" fmla="*/ 110731 w 110730"/>
                  <a:gd name="connsiteY1" fmla="*/ 0 h 671373"/>
                  <a:gd name="connsiteX2" fmla="*/ 110731 w 110730"/>
                  <a:gd name="connsiteY2" fmla="*/ 671374 h 671373"/>
                  <a:gd name="connsiteX3" fmla="*/ 0 w 110730"/>
                  <a:gd name="connsiteY3" fmla="*/ 671374 h 671373"/>
                </a:gdLst>
                <a:ahLst/>
                <a:cxnLst>
                  <a:cxn ang="0">
                    <a:pos x="connsiteX0" y="connsiteY0"/>
                  </a:cxn>
                  <a:cxn ang="0">
                    <a:pos x="connsiteX1" y="connsiteY1"/>
                  </a:cxn>
                  <a:cxn ang="0">
                    <a:pos x="connsiteX2" y="connsiteY2"/>
                  </a:cxn>
                  <a:cxn ang="0">
                    <a:pos x="connsiteX3" y="connsiteY3"/>
                  </a:cxn>
                </a:cxnLst>
                <a:rect l="l" t="t" r="r" b="b"/>
                <a:pathLst>
                  <a:path w="110730" h="671373">
                    <a:moveTo>
                      <a:pt x="0" y="0"/>
                    </a:moveTo>
                    <a:lnTo>
                      <a:pt x="110731" y="0"/>
                    </a:lnTo>
                    <a:lnTo>
                      <a:pt x="110731" y="671374"/>
                    </a:lnTo>
                    <a:lnTo>
                      <a:pt x="0" y="671374"/>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5" name="Graphic 3">
                <a:extLst>
                  <a:ext uri="{FF2B5EF4-FFF2-40B4-BE49-F238E27FC236}">
                    <a16:creationId xmlns:a16="http://schemas.microsoft.com/office/drawing/2014/main" xmlns="" id="{40E849BE-64E7-40C7-A88B-907D8A0B0436}"/>
                  </a:ext>
                </a:extLst>
              </p:cNvPr>
              <p:cNvSpPr/>
              <p:nvPr/>
            </p:nvSpPr>
            <p:spPr>
              <a:xfrm>
                <a:off x="3804877" y="4689893"/>
                <a:ext cx="110730" cy="590853"/>
              </a:xfrm>
              <a:custGeom>
                <a:avLst/>
                <a:gdLst>
                  <a:gd name="connsiteX0" fmla="*/ 0 w 110730"/>
                  <a:gd name="connsiteY0" fmla="*/ 0 h 590853"/>
                  <a:gd name="connsiteX1" fmla="*/ 110731 w 110730"/>
                  <a:gd name="connsiteY1" fmla="*/ 0 h 590853"/>
                  <a:gd name="connsiteX2" fmla="*/ 110731 w 110730"/>
                  <a:gd name="connsiteY2" fmla="*/ 590853 h 590853"/>
                  <a:gd name="connsiteX3" fmla="*/ 0 w 110730"/>
                  <a:gd name="connsiteY3" fmla="*/ 590853 h 590853"/>
                </a:gdLst>
                <a:ahLst/>
                <a:cxnLst>
                  <a:cxn ang="0">
                    <a:pos x="connsiteX0" y="connsiteY0"/>
                  </a:cxn>
                  <a:cxn ang="0">
                    <a:pos x="connsiteX1" y="connsiteY1"/>
                  </a:cxn>
                  <a:cxn ang="0">
                    <a:pos x="connsiteX2" y="connsiteY2"/>
                  </a:cxn>
                  <a:cxn ang="0">
                    <a:pos x="connsiteX3" y="connsiteY3"/>
                  </a:cxn>
                </a:cxnLst>
                <a:rect l="l" t="t" r="r" b="b"/>
                <a:pathLst>
                  <a:path w="110730" h="590853">
                    <a:moveTo>
                      <a:pt x="0" y="0"/>
                    </a:moveTo>
                    <a:lnTo>
                      <a:pt x="110731" y="0"/>
                    </a:lnTo>
                    <a:lnTo>
                      <a:pt x="110731" y="590853"/>
                    </a:lnTo>
                    <a:lnTo>
                      <a:pt x="0" y="590853"/>
                    </a:lnTo>
                    <a:close/>
                  </a:path>
                </a:pathLst>
              </a:custGeom>
              <a:solidFill>
                <a:srgbClr val="CD00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6" name="Graphic 3">
                <a:extLst>
                  <a:ext uri="{FF2B5EF4-FFF2-40B4-BE49-F238E27FC236}">
                    <a16:creationId xmlns:a16="http://schemas.microsoft.com/office/drawing/2014/main" xmlns="" id="{ADEE5609-31DA-42AA-A0C4-78F360380B65}"/>
                  </a:ext>
                </a:extLst>
              </p:cNvPr>
              <p:cNvSpPr/>
              <p:nvPr/>
            </p:nvSpPr>
            <p:spPr>
              <a:xfrm>
                <a:off x="6951660" y="5184270"/>
                <a:ext cx="110730" cy="64195"/>
              </a:xfrm>
              <a:custGeom>
                <a:avLst/>
                <a:gdLst>
                  <a:gd name="connsiteX0" fmla="*/ 0 w 110730"/>
                  <a:gd name="connsiteY0" fmla="*/ 0 h 64195"/>
                  <a:gd name="connsiteX1" fmla="*/ 110731 w 110730"/>
                  <a:gd name="connsiteY1" fmla="*/ 0 h 64195"/>
                  <a:gd name="connsiteX2" fmla="*/ 110731 w 110730"/>
                  <a:gd name="connsiteY2" fmla="*/ 64195 h 64195"/>
                  <a:gd name="connsiteX3" fmla="*/ 0 w 110730"/>
                  <a:gd name="connsiteY3" fmla="*/ 64195 h 64195"/>
                </a:gdLst>
                <a:ahLst/>
                <a:cxnLst>
                  <a:cxn ang="0">
                    <a:pos x="connsiteX0" y="connsiteY0"/>
                  </a:cxn>
                  <a:cxn ang="0">
                    <a:pos x="connsiteX1" y="connsiteY1"/>
                  </a:cxn>
                  <a:cxn ang="0">
                    <a:pos x="connsiteX2" y="connsiteY2"/>
                  </a:cxn>
                  <a:cxn ang="0">
                    <a:pos x="connsiteX3" y="connsiteY3"/>
                  </a:cxn>
                </a:cxnLst>
                <a:rect l="l" t="t" r="r" b="b"/>
                <a:pathLst>
                  <a:path w="110730" h="64195">
                    <a:moveTo>
                      <a:pt x="0" y="0"/>
                    </a:moveTo>
                    <a:lnTo>
                      <a:pt x="110731" y="0"/>
                    </a:lnTo>
                    <a:lnTo>
                      <a:pt x="110731" y="64195"/>
                    </a:lnTo>
                    <a:lnTo>
                      <a:pt x="0" y="64195"/>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7" name="Graphic 3">
                <a:extLst>
                  <a:ext uri="{FF2B5EF4-FFF2-40B4-BE49-F238E27FC236}">
                    <a16:creationId xmlns:a16="http://schemas.microsoft.com/office/drawing/2014/main" xmlns="" id="{F632944D-8C01-44BE-A446-5A1031B24E6C}"/>
                  </a:ext>
                </a:extLst>
              </p:cNvPr>
              <p:cNvSpPr/>
              <p:nvPr/>
            </p:nvSpPr>
            <p:spPr>
              <a:xfrm>
                <a:off x="6277309" y="4922416"/>
                <a:ext cx="110730" cy="268494"/>
              </a:xfrm>
              <a:custGeom>
                <a:avLst/>
                <a:gdLst>
                  <a:gd name="connsiteX0" fmla="*/ 0 w 110730"/>
                  <a:gd name="connsiteY0" fmla="*/ 0 h 268494"/>
                  <a:gd name="connsiteX1" fmla="*/ 110731 w 110730"/>
                  <a:gd name="connsiteY1" fmla="*/ 0 h 268494"/>
                  <a:gd name="connsiteX2" fmla="*/ 110731 w 110730"/>
                  <a:gd name="connsiteY2" fmla="*/ 268494 h 268494"/>
                  <a:gd name="connsiteX3" fmla="*/ 0 w 110730"/>
                  <a:gd name="connsiteY3" fmla="*/ 268494 h 268494"/>
                </a:gdLst>
                <a:ahLst/>
                <a:cxnLst>
                  <a:cxn ang="0">
                    <a:pos x="connsiteX0" y="connsiteY0"/>
                  </a:cxn>
                  <a:cxn ang="0">
                    <a:pos x="connsiteX1" y="connsiteY1"/>
                  </a:cxn>
                  <a:cxn ang="0">
                    <a:pos x="connsiteX2" y="connsiteY2"/>
                  </a:cxn>
                  <a:cxn ang="0">
                    <a:pos x="connsiteX3" y="connsiteY3"/>
                  </a:cxn>
                </a:cxnLst>
                <a:rect l="l" t="t" r="r" b="b"/>
                <a:pathLst>
                  <a:path w="110730" h="268494">
                    <a:moveTo>
                      <a:pt x="0" y="0"/>
                    </a:moveTo>
                    <a:lnTo>
                      <a:pt x="110731" y="0"/>
                    </a:lnTo>
                    <a:lnTo>
                      <a:pt x="110731" y="268494"/>
                    </a:lnTo>
                    <a:lnTo>
                      <a:pt x="0" y="268494"/>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8" name="Graphic 3">
                <a:extLst>
                  <a:ext uri="{FF2B5EF4-FFF2-40B4-BE49-F238E27FC236}">
                    <a16:creationId xmlns:a16="http://schemas.microsoft.com/office/drawing/2014/main" xmlns="" id="{99E801F0-3D5E-4B69-BB50-0324A2002602}"/>
                  </a:ext>
                </a:extLst>
              </p:cNvPr>
              <p:cNvSpPr/>
              <p:nvPr/>
            </p:nvSpPr>
            <p:spPr>
              <a:xfrm>
                <a:off x="5827835" y="4835900"/>
                <a:ext cx="110730" cy="79690"/>
              </a:xfrm>
              <a:custGeom>
                <a:avLst/>
                <a:gdLst>
                  <a:gd name="connsiteX0" fmla="*/ 0 w 110730"/>
                  <a:gd name="connsiteY0" fmla="*/ 0 h 79690"/>
                  <a:gd name="connsiteX1" fmla="*/ 110731 w 110730"/>
                  <a:gd name="connsiteY1" fmla="*/ 0 h 79690"/>
                  <a:gd name="connsiteX2" fmla="*/ 110731 w 110730"/>
                  <a:gd name="connsiteY2" fmla="*/ 79691 h 79690"/>
                  <a:gd name="connsiteX3" fmla="*/ 0 w 110730"/>
                  <a:gd name="connsiteY3" fmla="*/ 79691 h 79690"/>
                </a:gdLst>
                <a:ahLst/>
                <a:cxnLst>
                  <a:cxn ang="0">
                    <a:pos x="connsiteX0" y="connsiteY0"/>
                  </a:cxn>
                  <a:cxn ang="0">
                    <a:pos x="connsiteX1" y="connsiteY1"/>
                  </a:cxn>
                  <a:cxn ang="0">
                    <a:pos x="connsiteX2" y="connsiteY2"/>
                  </a:cxn>
                  <a:cxn ang="0">
                    <a:pos x="connsiteX3" y="connsiteY3"/>
                  </a:cxn>
                </a:cxnLst>
                <a:rect l="l" t="t" r="r" b="b"/>
                <a:pathLst>
                  <a:path w="110730" h="79690">
                    <a:moveTo>
                      <a:pt x="0" y="0"/>
                    </a:moveTo>
                    <a:lnTo>
                      <a:pt x="110731" y="0"/>
                    </a:lnTo>
                    <a:lnTo>
                      <a:pt x="110731" y="79691"/>
                    </a:lnTo>
                    <a:lnTo>
                      <a:pt x="0" y="79691"/>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19" name="Graphic 3">
                <a:extLst>
                  <a:ext uri="{FF2B5EF4-FFF2-40B4-BE49-F238E27FC236}">
                    <a16:creationId xmlns:a16="http://schemas.microsoft.com/office/drawing/2014/main" xmlns="" id="{98F7C3C1-851A-4D23-98CA-0A87F7BEA469}"/>
                  </a:ext>
                </a:extLst>
              </p:cNvPr>
              <p:cNvSpPr/>
              <p:nvPr/>
            </p:nvSpPr>
            <p:spPr>
              <a:xfrm>
                <a:off x="5603051" y="4835900"/>
                <a:ext cx="110730" cy="259178"/>
              </a:xfrm>
              <a:custGeom>
                <a:avLst/>
                <a:gdLst>
                  <a:gd name="connsiteX0" fmla="*/ 0 w 110730"/>
                  <a:gd name="connsiteY0" fmla="*/ 0 h 259178"/>
                  <a:gd name="connsiteX1" fmla="*/ 110731 w 110730"/>
                  <a:gd name="connsiteY1" fmla="*/ 0 h 259178"/>
                  <a:gd name="connsiteX2" fmla="*/ 110731 w 110730"/>
                  <a:gd name="connsiteY2" fmla="*/ 259179 h 259178"/>
                  <a:gd name="connsiteX3" fmla="*/ 0 w 110730"/>
                  <a:gd name="connsiteY3" fmla="*/ 259179 h 259178"/>
                </a:gdLst>
                <a:ahLst/>
                <a:cxnLst>
                  <a:cxn ang="0">
                    <a:pos x="connsiteX0" y="connsiteY0"/>
                  </a:cxn>
                  <a:cxn ang="0">
                    <a:pos x="connsiteX1" y="connsiteY1"/>
                  </a:cxn>
                  <a:cxn ang="0">
                    <a:pos x="connsiteX2" y="connsiteY2"/>
                  </a:cxn>
                  <a:cxn ang="0">
                    <a:pos x="connsiteX3" y="connsiteY3"/>
                  </a:cxn>
                </a:cxnLst>
                <a:rect l="l" t="t" r="r" b="b"/>
                <a:pathLst>
                  <a:path w="110730" h="259178">
                    <a:moveTo>
                      <a:pt x="0" y="0"/>
                    </a:moveTo>
                    <a:lnTo>
                      <a:pt x="110731" y="0"/>
                    </a:lnTo>
                    <a:lnTo>
                      <a:pt x="110731" y="259179"/>
                    </a:lnTo>
                    <a:lnTo>
                      <a:pt x="0" y="259179"/>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0" name="Graphic 3">
                <a:extLst>
                  <a:ext uri="{FF2B5EF4-FFF2-40B4-BE49-F238E27FC236}">
                    <a16:creationId xmlns:a16="http://schemas.microsoft.com/office/drawing/2014/main" xmlns="" id="{CE176B2D-A6DF-44B7-8D48-2FA49BF621A9}"/>
                  </a:ext>
                </a:extLst>
              </p:cNvPr>
              <p:cNvSpPr/>
              <p:nvPr/>
            </p:nvSpPr>
            <p:spPr>
              <a:xfrm>
                <a:off x="5378268" y="4826861"/>
                <a:ext cx="110730" cy="339053"/>
              </a:xfrm>
              <a:custGeom>
                <a:avLst/>
                <a:gdLst>
                  <a:gd name="connsiteX0" fmla="*/ 0 w 110730"/>
                  <a:gd name="connsiteY0" fmla="*/ 0 h 339053"/>
                  <a:gd name="connsiteX1" fmla="*/ 110731 w 110730"/>
                  <a:gd name="connsiteY1" fmla="*/ 0 h 339053"/>
                  <a:gd name="connsiteX2" fmla="*/ 110731 w 110730"/>
                  <a:gd name="connsiteY2" fmla="*/ 339054 h 339053"/>
                  <a:gd name="connsiteX3" fmla="*/ 0 w 110730"/>
                  <a:gd name="connsiteY3" fmla="*/ 339054 h 339053"/>
                </a:gdLst>
                <a:ahLst/>
                <a:cxnLst>
                  <a:cxn ang="0">
                    <a:pos x="connsiteX0" y="connsiteY0"/>
                  </a:cxn>
                  <a:cxn ang="0">
                    <a:pos x="connsiteX1" y="connsiteY1"/>
                  </a:cxn>
                  <a:cxn ang="0">
                    <a:pos x="connsiteX2" y="connsiteY2"/>
                  </a:cxn>
                  <a:cxn ang="0">
                    <a:pos x="connsiteX3" y="connsiteY3"/>
                  </a:cxn>
                </a:cxnLst>
                <a:rect l="l" t="t" r="r" b="b"/>
                <a:pathLst>
                  <a:path w="110730" h="339053">
                    <a:moveTo>
                      <a:pt x="0" y="0"/>
                    </a:moveTo>
                    <a:lnTo>
                      <a:pt x="110731" y="0"/>
                    </a:lnTo>
                    <a:lnTo>
                      <a:pt x="110731" y="339054"/>
                    </a:lnTo>
                    <a:lnTo>
                      <a:pt x="0" y="339054"/>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1" name="Graphic 3">
                <a:extLst>
                  <a:ext uri="{FF2B5EF4-FFF2-40B4-BE49-F238E27FC236}">
                    <a16:creationId xmlns:a16="http://schemas.microsoft.com/office/drawing/2014/main" xmlns="" id="{8219578F-F3FE-4119-B1DD-81F01309B133}"/>
                  </a:ext>
                </a:extLst>
              </p:cNvPr>
              <p:cNvSpPr/>
              <p:nvPr/>
            </p:nvSpPr>
            <p:spPr>
              <a:xfrm>
                <a:off x="4703918" y="4690355"/>
                <a:ext cx="110730" cy="289431"/>
              </a:xfrm>
              <a:custGeom>
                <a:avLst/>
                <a:gdLst>
                  <a:gd name="connsiteX0" fmla="*/ 0 w 110730"/>
                  <a:gd name="connsiteY0" fmla="*/ 0 h 289431"/>
                  <a:gd name="connsiteX1" fmla="*/ 110731 w 110730"/>
                  <a:gd name="connsiteY1" fmla="*/ 0 h 289431"/>
                  <a:gd name="connsiteX2" fmla="*/ 110731 w 110730"/>
                  <a:gd name="connsiteY2" fmla="*/ 289431 h 289431"/>
                  <a:gd name="connsiteX3" fmla="*/ 0 w 110730"/>
                  <a:gd name="connsiteY3" fmla="*/ 289431 h 289431"/>
                </a:gdLst>
                <a:ahLst/>
                <a:cxnLst>
                  <a:cxn ang="0">
                    <a:pos x="connsiteX0" y="connsiteY0"/>
                  </a:cxn>
                  <a:cxn ang="0">
                    <a:pos x="connsiteX1" y="connsiteY1"/>
                  </a:cxn>
                  <a:cxn ang="0">
                    <a:pos x="connsiteX2" y="connsiteY2"/>
                  </a:cxn>
                  <a:cxn ang="0">
                    <a:pos x="connsiteX3" y="connsiteY3"/>
                  </a:cxn>
                </a:cxnLst>
                <a:rect l="l" t="t" r="r" b="b"/>
                <a:pathLst>
                  <a:path w="110730" h="289431">
                    <a:moveTo>
                      <a:pt x="0" y="0"/>
                    </a:moveTo>
                    <a:lnTo>
                      <a:pt x="110731" y="0"/>
                    </a:lnTo>
                    <a:lnTo>
                      <a:pt x="110731" y="289431"/>
                    </a:lnTo>
                    <a:lnTo>
                      <a:pt x="0" y="289431"/>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2" name="Graphic 3">
                <a:extLst>
                  <a:ext uri="{FF2B5EF4-FFF2-40B4-BE49-F238E27FC236}">
                    <a16:creationId xmlns:a16="http://schemas.microsoft.com/office/drawing/2014/main" xmlns="" id="{C45657BF-7600-4051-B89D-6059FE838252}"/>
                  </a:ext>
                </a:extLst>
              </p:cNvPr>
              <p:cNvSpPr/>
              <p:nvPr/>
            </p:nvSpPr>
            <p:spPr>
              <a:xfrm>
                <a:off x="4479227" y="4675228"/>
                <a:ext cx="110730" cy="261023"/>
              </a:xfrm>
              <a:custGeom>
                <a:avLst/>
                <a:gdLst>
                  <a:gd name="connsiteX0" fmla="*/ 0 w 110730"/>
                  <a:gd name="connsiteY0" fmla="*/ 0 h 261023"/>
                  <a:gd name="connsiteX1" fmla="*/ 110731 w 110730"/>
                  <a:gd name="connsiteY1" fmla="*/ 0 h 261023"/>
                  <a:gd name="connsiteX2" fmla="*/ 110731 w 110730"/>
                  <a:gd name="connsiteY2" fmla="*/ 261023 h 261023"/>
                  <a:gd name="connsiteX3" fmla="*/ 0 w 110730"/>
                  <a:gd name="connsiteY3" fmla="*/ 261023 h 261023"/>
                </a:gdLst>
                <a:ahLst/>
                <a:cxnLst>
                  <a:cxn ang="0">
                    <a:pos x="connsiteX0" y="connsiteY0"/>
                  </a:cxn>
                  <a:cxn ang="0">
                    <a:pos x="connsiteX1" y="connsiteY1"/>
                  </a:cxn>
                  <a:cxn ang="0">
                    <a:pos x="connsiteX2" y="connsiteY2"/>
                  </a:cxn>
                  <a:cxn ang="0">
                    <a:pos x="connsiteX3" y="connsiteY3"/>
                  </a:cxn>
                </a:cxnLst>
                <a:rect l="l" t="t" r="r" b="b"/>
                <a:pathLst>
                  <a:path w="110730" h="261023">
                    <a:moveTo>
                      <a:pt x="0" y="0"/>
                    </a:moveTo>
                    <a:lnTo>
                      <a:pt x="110731" y="0"/>
                    </a:lnTo>
                    <a:lnTo>
                      <a:pt x="110731" y="261023"/>
                    </a:lnTo>
                    <a:lnTo>
                      <a:pt x="0" y="261023"/>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3" name="Graphic 3">
                <a:extLst>
                  <a:ext uri="{FF2B5EF4-FFF2-40B4-BE49-F238E27FC236}">
                    <a16:creationId xmlns:a16="http://schemas.microsoft.com/office/drawing/2014/main" xmlns="" id="{C172B1AB-792B-41CA-B6A5-B4B5D15805D5}"/>
                  </a:ext>
                </a:extLst>
              </p:cNvPr>
              <p:cNvSpPr/>
              <p:nvPr/>
            </p:nvSpPr>
            <p:spPr>
              <a:xfrm>
                <a:off x="4254443" y="4675228"/>
                <a:ext cx="110730" cy="145638"/>
              </a:xfrm>
              <a:custGeom>
                <a:avLst/>
                <a:gdLst>
                  <a:gd name="connsiteX0" fmla="*/ 0 w 110730"/>
                  <a:gd name="connsiteY0" fmla="*/ 0 h 145638"/>
                  <a:gd name="connsiteX1" fmla="*/ 110731 w 110730"/>
                  <a:gd name="connsiteY1" fmla="*/ 0 h 145638"/>
                  <a:gd name="connsiteX2" fmla="*/ 110731 w 110730"/>
                  <a:gd name="connsiteY2" fmla="*/ 145638 h 145638"/>
                  <a:gd name="connsiteX3" fmla="*/ 0 w 110730"/>
                  <a:gd name="connsiteY3" fmla="*/ 145638 h 145638"/>
                </a:gdLst>
                <a:ahLst/>
                <a:cxnLst>
                  <a:cxn ang="0">
                    <a:pos x="connsiteX0" y="connsiteY0"/>
                  </a:cxn>
                  <a:cxn ang="0">
                    <a:pos x="connsiteX1" y="connsiteY1"/>
                  </a:cxn>
                  <a:cxn ang="0">
                    <a:pos x="connsiteX2" y="connsiteY2"/>
                  </a:cxn>
                  <a:cxn ang="0">
                    <a:pos x="connsiteX3" y="connsiteY3"/>
                  </a:cxn>
                </a:cxnLst>
                <a:rect l="l" t="t" r="r" b="b"/>
                <a:pathLst>
                  <a:path w="110730" h="145638">
                    <a:moveTo>
                      <a:pt x="0" y="0"/>
                    </a:moveTo>
                    <a:lnTo>
                      <a:pt x="110731" y="0"/>
                    </a:lnTo>
                    <a:lnTo>
                      <a:pt x="110731" y="145638"/>
                    </a:lnTo>
                    <a:lnTo>
                      <a:pt x="0" y="145638"/>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4" name="Graphic 3">
                <a:extLst>
                  <a:ext uri="{FF2B5EF4-FFF2-40B4-BE49-F238E27FC236}">
                    <a16:creationId xmlns:a16="http://schemas.microsoft.com/office/drawing/2014/main" xmlns="" id="{9D0935CE-52C7-4351-A419-DEB86AB0E05D}"/>
                  </a:ext>
                </a:extLst>
              </p:cNvPr>
              <p:cNvSpPr/>
              <p:nvPr/>
            </p:nvSpPr>
            <p:spPr>
              <a:xfrm>
                <a:off x="3804877" y="4589358"/>
                <a:ext cx="110730" cy="100443"/>
              </a:xfrm>
              <a:custGeom>
                <a:avLst/>
                <a:gdLst>
                  <a:gd name="connsiteX0" fmla="*/ 0 w 110730"/>
                  <a:gd name="connsiteY0" fmla="*/ 0 h 100443"/>
                  <a:gd name="connsiteX1" fmla="*/ 110731 w 110730"/>
                  <a:gd name="connsiteY1" fmla="*/ 0 h 100443"/>
                  <a:gd name="connsiteX2" fmla="*/ 110731 w 110730"/>
                  <a:gd name="connsiteY2" fmla="*/ 100443 h 100443"/>
                  <a:gd name="connsiteX3" fmla="*/ 0 w 110730"/>
                  <a:gd name="connsiteY3" fmla="*/ 100443 h 100443"/>
                </a:gdLst>
                <a:ahLst/>
                <a:cxnLst>
                  <a:cxn ang="0">
                    <a:pos x="connsiteX0" y="connsiteY0"/>
                  </a:cxn>
                  <a:cxn ang="0">
                    <a:pos x="connsiteX1" y="connsiteY1"/>
                  </a:cxn>
                  <a:cxn ang="0">
                    <a:pos x="connsiteX2" y="connsiteY2"/>
                  </a:cxn>
                  <a:cxn ang="0">
                    <a:pos x="connsiteX3" y="connsiteY3"/>
                  </a:cxn>
                </a:cxnLst>
                <a:rect l="l" t="t" r="r" b="b"/>
                <a:pathLst>
                  <a:path w="110730" h="100443">
                    <a:moveTo>
                      <a:pt x="0" y="0"/>
                    </a:moveTo>
                    <a:lnTo>
                      <a:pt x="110731" y="0"/>
                    </a:lnTo>
                    <a:lnTo>
                      <a:pt x="110731" y="100443"/>
                    </a:lnTo>
                    <a:lnTo>
                      <a:pt x="0" y="100443"/>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5" name="Graphic 3">
                <a:extLst>
                  <a:ext uri="{FF2B5EF4-FFF2-40B4-BE49-F238E27FC236}">
                    <a16:creationId xmlns:a16="http://schemas.microsoft.com/office/drawing/2014/main" xmlns="" id="{8A2337BB-502A-4612-AD26-1DCDAC385C7D}"/>
                  </a:ext>
                </a:extLst>
              </p:cNvPr>
              <p:cNvSpPr/>
              <p:nvPr/>
            </p:nvSpPr>
            <p:spPr>
              <a:xfrm>
                <a:off x="3580093" y="4609373"/>
                <a:ext cx="110730" cy="385908"/>
              </a:xfrm>
              <a:custGeom>
                <a:avLst/>
                <a:gdLst>
                  <a:gd name="connsiteX0" fmla="*/ 0 w 110730"/>
                  <a:gd name="connsiteY0" fmla="*/ 0 h 385908"/>
                  <a:gd name="connsiteX1" fmla="*/ 110731 w 110730"/>
                  <a:gd name="connsiteY1" fmla="*/ 0 h 385908"/>
                  <a:gd name="connsiteX2" fmla="*/ 110731 w 110730"/>
                  <a:gd name="connsiteY2" fmla="*/ 385909 h 385908"/>
                  <a:gd name="connsiteX3" fmla="*/ 0 w 110730"/>
                  <a:gd name="connsiteY3" fmla="*/ 385909 h 385908"/>
                </a:gdLst>
                <a:ahLst/>
                <a:cxnLst>
                  <a:cxn ang="0">
                    <a:pos x="connsiteX0" y="connsiteY0"/>
                  </a:cxn>
                  <a:cxn ang="0">
                    <a:pos x="connsiteX1" y="connsiteY1"/>
                  </a:cxn>
                  <a:cxn ang="0">
                    <a:pos x="connsiteX2" y="connsiteY2"/>
                  </a:cxn>
                  <a:cxn ang="0">
                    <a:pos x="connsiteX3" y="connsiteY3"/>
                  </a:cxn>
                </a:cxnLst>
                <a:rect l="l" t="t" r="r" b="b"/>
                <a:pathLst>
                  <a:path w="110730" h="385908">
                    <a:moveTo>
                      <a:pt x="0" y="0"/>
                    </a:moveTo>
                    <a:lnTo>
                      <a:pt x="110731" y="0"/>
                    </a:lnTo>
                    <a:lnTo>
                      <a:pt x="110731" y="385909"/>
                    </a:lnTo>
                    <a:lnTo>
                      <a:pt x="0" y="385909"/>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6" name="Graphic 3">
                <a:extLst>
                  <a:ext uri="{FF2B5EF4-FFF2-40B4-BE49-F238E27FC236}">
                    <a16:creationId xmlns:a16="http://schemas.microsoft.com/office/drawing/2014/main" xmlns="" id="{B428E698-75D2-44C0-B57B-B78B0A620952}"/>
                  </a:ext>
                </a:extLst>
              </p:cNvPr>
              <p:cNvSpPr/>
              <p:nvPr/>
            </p:nvSpPr>
            <p:spPr>
              <a:xfrm>
                <a:off x="3580093" y="4559105"/>
                <a:ext cx="110730" cy="50267"/>
              </a:xfrm>
              <a:custGeom>
                <a:avLst/>
                <a:gdLst>
                  <a:gd name="connsiteX0" fmla="*/ 0 w 110730"/>
                  <a:gd name="connsiteY0" fmla="*/ 0 h 50267"/>
                  <a:gd name="connsiteX1" fmla="*/ 110731 w 110730"/>
                  <a:gd name="connsiteY1" fmla="*/ 0 h 50267"/>
                  <a:gd name="connsiteX2" fmla="*/ 110731 w 110730"/>
                  <a:gd name="connsiteY2" fmla="*/ 50268 h 50267"/>
                  <a:gd name="connsiteX3" fmla="*/ 0 w 110730"/>
                  <a:gd name="connsiteY3" fmla="*/ 50268 h 50267"/>
                </a:gdLst>
                <a:ahLst/>
                <a:cxnLst>
                  <a:cxn ang="0">
                    <a:pos x="connsiteX0" y="connsiteY0"/>
                  </a:cxn>
                  <a:cxn ang="0">
                    <a:pos x="connsiteX1" y="connsiteY1"/>
                  </a:cxn>
                  <a:cxn ang="0">
                    <a:pos x="connsiteX2" y="connsiteY2"/>
                  </a:cxn>
                  <a:cxn ang="0">
                    <a:pos x="connsiteX3" y="connsiteY3"/>
                  </a:cxn>
                </a:cxnLst>
                <a:rect l="l" t="t" r="r" b="b"/>
                <a:pathLst>
                  <a:path w="110730" h="50267">
                    <a:moveTo>
                      <a:pt x="0" y="0"/>
                    </a:moveTo>
                    <a:lnTo>
                      <a:pt x="110731" y="0"/>
                    </a:lnTo>
                    <a:lnTo>
                      <a:pt x="110731" y="50268"/>
                    </a:lnTo>
                    <a:lnTo>
                      <a:pt x="0" y="50268"/>
                    </a:lnTo>
                    <a:close/>
                  </a:path>
                </a:pathLst>
              </a:custGeom>
              <a:solidFill>
                <a:srgbClr val="99CC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7" name="Graphic 3">
                <a:extLst>
                  <a:ext uri="{FF2B5EF4-FFF2-40B4-BE49-F238E27FC236}">
                    <a16:creationId xmlns:a16="http://schemas.microsoft.com/office/drawing/2014/main" xmlns="" id="{94299B8B-9BD0-41B4-8667-8CA67212A639}"/>
                  </a:ext>
                </a:extLst>
              </p:cNvPr>
              <p:cNvSpPr/>
              <p:nvPr/>
            </p:nvSpPr>
            <p:spPr>
              <a:xfrm>
                <a:off x="3130619" y="4521473"/>
                <a:ext cx="110730" cy="189541"/>
              </a:xfrm>
              <a:custGeom>
                <a:avLst/>
                <a:gdLst>
                  <a:gd name="connsiteX0" fmla="*/ 0 w 110730"/>
                  <a:gd name="connsiteY0" fmla="*/ 0 h 189541"/>
                  <a:gd name="connsiteX1" fmla="*/ 110731 w 110730"/>
                  <a:gd name="connsiteY1" fmla="*/ 0 h 189541"/>
                  <a:gd name="connsiteX2" fmla="*/ 110731 w 110730"/>
                  <a:gd name="connsiteY2" fmla="*/ 189541 h 189541"/>
                  <a:gd name="connsiteX3" fmla="*/ 0 w 110730"/>
                  <a:gd name="connsiteY3" fmla="*/ 189541 h 189541"/>
                </a:gdLst>
                <a:ahLst/>
                <a:cxnLst>
                  <a:cxn ang="0">
                    <a:pos x="connsiteX0" y="connsiteY0"/>
                  </a:cxn>
                  <a:cxn ang="0">
                    <a:pos x="connsiteX1" y="connsiteY1"/>
                  </a:cxn>
                  <a:cxn ang="0">
                    <a:pos x="connsiteX2" y="connsiteY2"/>
                  </a:cxn>
                  <a:cxn ang="0">
                    <a:pos x="connsiteX3" y="connsiteY3"/>
                  </a:cxn>
                </a:cxnLst>
                <a:rect l="l" t="t" r="r" b="b"/>
                <a:pathLst>
                  <a:path w="110730" h="189541">
                    <a:moveTo>
                      <a:pt x="0" y="0"/>
                    </a:moveTo>
                    <a:lnTo>
                      <a:pt x="110731" y="0"/>
                    </a:lnTo>
                    <a:lnTo>
                      <a:pt x="110731" y="189541"/>
                    </a:lnTo>
                    <a:lnTo>
                      <a:pt x="0" y="189541"/>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8" name="Graphic 3">
                <a:extLst>
                  <a:ext uri="{FF2B5EF4-FFF2-40B4-BE49-F238E27FC236}">
                    <a16:creationId xmlns:a16="http://schemas.microsoft.com/office/drawing/2014/main" xmlns="" id="{846C64E8-7D95-408A-ACC6-56BD12611EB6}"/>
                  </a:ext>
                </a:extLst>
              </p:cNvPr>
              <p:cNvSpPr/>
              <p:nvPr/>
            </p:nvSpPr>
            <p:spPr>
              <a:xfrm>
                <a:off x="2905835" y="4888197"/>
                <a:ext cx="110730" cy="99613"/>
              </a:xfrm>
              <a:custGeom>
                <a:avLst/>
                <a:gdLst>
                  <a:gd name="connsiteX0" fmla="*/ 0 w 110730"/>
                  <a:gd name="connsiteY0" fmla="*/ 0 h 99613"/>
                  <a:gd name="connsiteX1" fmla="*/ 110731 w 110730"/>
                  <a:gd name="connsiteY1" fmla="*/ 0 h 99613"/>
                  <a:gd name="connsiteX2" fmla="*/ 110731 w 110730"/>
                  <a:gd name="connsiteY2" fmla="*/ 99613 h 99613"/>
                  <a:gd name="connsiteX3" fmla="*/ 0 w 110730"/>
                  <a:gd name="connsiteY3" fmla="*/ 99613 h 99613"/>
                </a:gdLst>
                <a:ahLst/>
                <a:cxnLst>
                  <a:cxn ang="0">
                    <a:pos x="connsiteX0" y="connsiteY0"/>
                  </a:cxn>
                  <a:cxn ang="0">
                    <a:pos x="connsiteX1" y="connsiteY1"/>
                  </a:cxn>
                  <a:cxn ang="0">
                    <a:pos x="connsiteX2" y="connsiteY2"/>
                  </a:cxn>
                  <a:cxn ang="0">
                    <a:pos x="connsiteX3" y="connsiteY3"/>
                  </a:cxn>
                </a:cxnLst>
                <a:rect l="l" t="t" r="r" b="b"/>
                <a:pathLst>
                  <a:path w="110730" h="99613">
                    <a:moveTo>
                      <a:pt x="0" y="0"/>
                    </a:moveTo>
                    <a:lnTo>
                      <a:pt x="110731" y="0"/>
                    </a:lnTo>
                    <a:lnTo>
                      <a:pt x="110731" y="99613"/>
                    </a:lnTo>
                    <a:lnTo>
                      <a:pt x="0" y="99613"/>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29" name="Graphic 3">
                <a:extLst>
                  <a:ext uri="{FF2B5EF4-FFF2-40B4-BE49-F238E27FC236}">
                    <a16:creationId xmlns:a16="http://schemas.microsoft.com/office/drawing/2014/main" xmlns="" id="{81FF12EC-D42F-48A3-B0B2-5E50416FA1E6}"/>
                  </a:ext>
                </a:extLst>
              </p:cNvPr>
              <p:cNvSpPr/>
              <p:nvPr/>
            </p:nvSpPr>
            <p:spPr>
              <a:xfrm>
                <a:off x="2905835" y="4503027"/>
                <a:ext cx="110730" cy="385170"/>
              </a:xfrm>
              <a:custGeom>
                <a:avLst/>
                <a:gdLst>
                  <a:gd name="connsiteX0" fmla="*/ 0 w 110730"/>
                  <a:gd name="connsiteY0" fmla="*/ 0 h 385170"/>
                  <a:gd name="connsiteX1" fmla="*/ 110731 w 110730"/>
                  <a:gd name="connsiteY1" fmla="*/ 0 h 385170"/>
                  <a:gd name="connsiteX2" fmla="*/ 110731 w 110730"/>
                  <a:gd name="connsiteY2" fmla="*/ 385171 h 385170"/>
                  <a:gd name="connsiteX3" fmla="*/ 0 w 110730"/>
                  <a:gd name="connsiteY3" fmla="*/ 385171 h 385170"/>
                </a:gdLst>
                <a:ahLst/>
                <a:cxnLst>
                  <a:cxn ang="0">
                    <a:pos x="connsiteX0" y="connsiteY0"/>
                  </a:cxn>
                  <a:cxn ang="0">
                    <a:pos x="connsiteX1" y="connsiteY1"/>
                  </a:cxn>
                  <a:cxn ang="0">
                    <a:pos x="connsiteX2" y="connsiteY2"/>
                  </a:cxn>
                  <a:cxn ang="0">
                    <a:pos x="connsiteX3" y="connsiteY3"/>
                  </a:cxn>
                </a:cxnLst>
                <a:rect l="l" t="t" r="r" b="b"/>
                <a:pathLst>
                  <a:path w="110730" h="385170">
                    <a:moveTo>
                      <a:pt x="0" y="0"/>
                    </a:moveTo>
                    <a:lnTo>
                      <a:pt x="110731" y="0"/>
                    </a:lnTo>
                    <a:lnTo>
                      <a:pt x="110731" y="385171"/>
                    </a:lnTo>
                    <a:lnTo>
                      <a:pt x="0" y="385171"/>
                    </a:lnTo>
                    <a:close/>
                  </a:path>
                </a:pathLst>
              </a:custGeom>
              <a:solidFill>
                <a:srgbClr val="99CC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0" name="Graphic 3">
                <a:extLst>
                  <a:ext uri="{FF2B5EF4-FFF2-40B4-BE49-F238E27FC236}">
                    <a16:creationId xmlns:a16="http://schemas.microsoft.com/office/drawing/2014/main" xmlns="" id="{43C7518D-EEE4-428D-965D-EA2673155718}"/>
                  </a:ext>
                </a:extLst>
              </p:cNvPr>
              <p:cNvSpPr/>
              <p:nvPr/>
            </p:nvSpPr>
            <p:spPr>
              <a:xfrm>
                <a:off x="2681052" y="4428040"/>
                <a:ext cx="110730" cy="93433"/>
              </a:xfrm>
              <a:custGeom>
                <a:avLst/>
                <a:gdLst>
                  <a:gd name="connsiteX0" fmla="*/ 0 w 110730"/>
                  <a:gd name="connsiteY0" fmla="*/ 0 h 93433"/>
                  <a:gd name="connsiteX1" fmla="*/ 110731 w 110730"/>
                  <a:gd name="connsiteY1" fmla="*/ 0 h 93433"/>
                  <a:gd name="connsiteX2" fmla="*/ 110731 w 110730"/>
                  <a:gd name="connsiteY2" fmla="*/ 93433 h 93433"/>
                  <a:gd name="connsiteX3" fmla="*/ 0 w 110730"/>
                  <a:gd name="connsiteY3" fmla="*/ 93433 h 93433"/>
                </a:gdLst>
                <a:ahLst/>
                <a:cxnLst>
                  <a:cxn ang="0">
                    <a:pos x="connsiteX0" y="connsiteY0"/>
                  </a:cxn>
                  <a:cxn ang="0">
                    <a:pos x="connsiteX1" y="connsiteY1"/>
                  </a:cxn>
                  <a:cxn ang="0">
                    <a:pos x="connsiteX2" y="connsiteY2"/>
                  </a:cxn>
                  <a:cxn ang="0">
                    <a:pos x="connsiteX3" y="connsiteY3"/>
                  </a:cxn>
                </a:cxnLst>
                <a:rect l="l" t="t" r="r" b="b"/>
                <a:pathLst>
                  <a:path w="110730" h="93433">
                    <a:moveTo>
                      <a:pt x="0" y="0"/>
                    </a:moveTo>
                    <a:lnTo>
                      <a:pt x="110731" y="0"/>
                    </a:lnTo>
                    <a:lnTo>
                      <a:pt x="110731" y="93433"/>
                    </a:lnTo>
                    <a:lnTo>
                      <a:pt x="0" y="93433"/>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1" name="Graphic 3">
                <a:extLst>
                  <a:ext uri="{FF2B5EF4-FFF2-40B4-BE49-F238E27FC236}">
                    <a16:creationId xmlns:a16="http://schemas.microsoft.com/office/drawing/2014/main" xmlns="" id="{7A4BA296-B657-425D-AC7E-502F6DA6DF4E}"/>
                  </a:ext>
                </a:extLst>
              </p:cNvPr>
              <p:cNvSpPr/>
              <p:nvPr/>
            </p:nvSpPr>
            <p:spPr>
              <a:xfrm>
                <a:off x="2456269" y="4094889"/>
                <a:ext cx="110730" cy="456560"/>
              </a:xfrm>
              <a:custGeom>
                <a:avLst/>
                <a:gdLst>
                  <a:gd name="connsiteX0" fmla="*/ 0 w 110730"/>
                  <a:gd name="connsiteY0" fmla="*/ 0 h 456560"/>
                  <a:gd name="connsiteX1" fmla="*/ 110731 w 110730"/>
                  <a:gd name="connsiteY1" fmla="*/ 0 h 456560"/>
                  <a:gd name="connsiteX2" fmla="*/ 110731 w 110730"/>
                  <a:gd name="connsiteY2" fmla="*/ 456560 h 456560"/>
                  <a:gd name="connsiteX3" fmla="*/ 0 w 110730"/>
                  <a:gd name="connsiteY3" fmla="*/ 456560 h 456560"/>
                </a:gdLst>
                <a:ahLst/>
                <a:cxnLst>
                  <a:cxn ang="0">
                    <a:pos x="connsiteX0" y="connsiteY0"/>
                  </a:cxn>
                  <a:cxn ang="0">
                    <a:pos x="connsiteX1" y="connsiteY1"/>
                  </a:cxn>
                  <a:cxn ang="0">
                    <a:pos x="connsiteX2" y="connsiteY2"/>
                  </a:cxn>
                  <a:cxn ang="0">
                    <a:pos x="connsiteX3" y="connsiteY3"/>
                  </a:cxn>
                </a:cxnLst>
                <a:rect l="l" t="t" r="r" b="b"/>
                <a:pathLst>
                  <a:path w="110730" h="456560">
                    <a:moveTo>
                      <a:pt x="0" y="0"/>
                    </a:moveTo>
                    <a:lnTo>
                      <a:pt x="110731" y="0"/>
                    </a:lnTo>
                    <a:lnTo>
                      <a:pt x="110731" y="456560"/>
                    </a:lnTo>
                    <a:lnTo>
                      <a:pt x="0" y="456560"/>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2" name="Graphic 3">
                <a:extLst>
                  <a:ext uri="{FF2B5EF4-FFF2-40B4-BE49-F238E27FC236}">
                    <a16:creationId xmlns:a16="http://schemas.microsoft.com/office/drawing/2014/main" xmlns="" id="{B57220F0-7B6F-4B55-8931-7904F086B043}"/>
                  </a:ext>
                </a:extLst>
              </p:cNvPr>
              <p:cNvSpPr/>
              <p:nvPr/>
            </p:nvSpPr>
            <p:spPr>
              <a:xfrm>
                <a:off x="2231485" y="4015568"/>
                <a:ext cx="110730" cy="176259"/>
              </a:xfrm>
              <a:custGeom>
                <a:avLst/>
                <a:gdLst>
                  <a:gd name="connsiteX0" fmla="*/ 0 w 110730"/>
                  <a:gd name="connsiteY0" fmla="*/ 0 h 176259"/>
                  <a:gd name="connsiteX1" fmla="*/ 110731 w 110730"/>
                  <a:gd name="connsiteY1" fmla="*/ 0 h 176259"/>
                  <a:gd name="connsiteX2" fmla="*/ 110731 w 110730"/>
                  <a:gd name="connsiteY2" fmla="*/ 176260 h 176259"/>
                  <a:gd name="connsiteX3" fmla="*/ 0 w 110730"/>
                  <a:gd name="connsiteY3" fmla="*/ 176260 h 176259"/>
                </a:gdLst>
                <a:ahLst/>
                <a:cxnLst>
                  <a:cxn ang="0">
                    <a:pos x="connsiteX0" y="connsiteY0"/>
                  </a:cxn>
                  <a:cxn ang="0">
                    <a:pos x="connsiteX1" y="connsiteY1"/>
                  </a:cxn>
                  <a:cxn ang="0">
                    <a:pos x="connsiteX2" y="connsiteY2"/>
                  </a:cxn>
                  <a:cxn ang="0">
                    <a:pos x="connsiteX3" y="connsiteY3"/>
                  </a:cxn>
                </a:cxnLst>
                <a:rect l="l" t="t" r="r" b="b"/>
                <a:pathLst>
                  <a:path w="110730" h="176259">
                    <a:moveTo>
                      <a:pt x="0" y="0"/>
                    </a:moveTo>
                    <a:lnTo>
                      <a:pt x="110731" y="0"/>
                    </a:lnTo>
                    <a:lnTo>
                      <a:pt x="110731" y="176260"/>
                    </a:lnTo>
                    <a:lnTo>
                      <a:pt x="0" y="176260"/>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3" name="Graphic 3">
                <a:extLst>
                  <a:ext uri="{FF2B5EF4-FFF2-40B4-BE49-F238E27FC236}">
                    <a16:creationId xmlns:a16="http://schemas.microsoft.com/office/drawing/2014/main" xmlns="" id="{9B60FA5B-1ADE-412B-9F1B-C4366628CC9F}"/>
                  </a:ext>
                </a:extLst>
              </p:cNvPr>
              <p:cNvSpPr/>
              <p:nvPr/>
            </p:nvSpPr>
            <p:spPr>
              <a:xfrm>
                <a:off x="2231485" y="3972587"/>
                <a:ext cx="110730" cy="42981"/>
              </a:xfrm>
              <a:custGeom>
                <a:avLst/>
                <a:gdLst>
                  <a:gd name="connsiteX0" fmla="*/ 0 w 110730"/>
                  <a:gd name="connsiteY0" fmla="*/ 0 h 42981"/>
                  <a:gd name="connsiteX1" fmla="*/ 110731 w 110730"/>
                  <a:gd name="connsiteY1" fmla="*/ 0 h 42981"/>
                  <a:gd name="connsiteX2" fmla="*/ 110731 w 110730"/>
                  <a:gd name="connsiteY2" fmla="*/ 42981 h 42981"/>
                  <a:gd name="connsiteX3" fmla="*/ 0 w 110730"/>
                  <a:gd name="connsiteY3" fmla="*/ 42981 h 42981"/>
                </a:gdLst>
                <a:ahLst/>
                <a:cxnLst>
                  <a:cxn ang="0">
                    <a:pos x="connsiteX0" y="connsiteY0"/>
                  </a:cxn>
                  <a:cxn ang="0">
                    <a:pos x="connsiteX1" y="connsiteY1"/>
                  </a:cxn>
                  <a:cxn ang="0">
                    <a:pos x="connsiteX2" y="connsiteY2"/>
                  </a:cxn>
                  <a:cxn ang="0">
                    <a:pos x="connsiteX3" y="connsiteY3"/>
                  </a:cxn>
                </a:cxnLst>
                <a:rect l="l" t="t" r="r" b="b"/>
                <a:pathLst>
                  <a:path w="110730" h="42981">
                    <a:moveTo>
                      <a:pt x="0" y="0"/>
                    </a:moveTo>
                    <a:lnTo>
                      <a:pt x="110731" y="0"/>
                    </a:lnTo>
                    <a:lnTo>
                      <a:pt x="110731" y="42981"/>
                    </a:lnTo>
                    <a:lnTo>
                      <a:pt x="0" y="42981"/>
                    </a:lnTo>
                    <a:close/>
                  </a:path>
                </a:pathLst>
              </a:custGeom>
              <a:solidFill>
                <a:srgbClr val="99CC00"/>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4" name="Graphic 3">
                <a:extLst>
                  <a:ext uri="{FF2B5EF4-FFF2-40B4-BE49-F238E27FC236}">
                    <a16:creationId xmlns:a16="http://schemas.microsoft.com/office/drawing/2014/main" xmlns="" id="{AFCDAE4C-F1BB-4B07-A390-523EA90C265A}"/>
                  </a:ext>
                </a:extLst>
              </p:cNvPr>
              <p:cNvSpPr/>
              <p:nvPr/>
            </p:nvSpPr>
            <p:spPr>
              <a:xfrm>
                <a:off x="2231485" y="3958475"/>
                <a:ext cx="110730" cy="14111"/>
              </a:xfrm>
              <a:custGeom>
                <a:avLst/>
                <a:gdLst>
                  <a:gd name="connsiteX0" fmla="*/ 0 w 110730"/>
                  <a:gd name="connsiteY0" fmla="*/ 0 h 14111"/>
                  <a:gd name="connsiteX1" fmla="*/ 110731 w 110730"/>
                  <a:gd name="connsiteY1" fmla="*/ 0 h 14111"/>
                  <a:gd name="connsiteX2" fmla="*/ 110731 w 110730"/>
                  <a:gd name="connsiteY2" fmla="*/ 14112 h 14111"/>
                  <a:gd name="connsiteX3" fmla="*/ 0 w 110730"/>
                  <a:gd name="connsiteY3" fmla="*/ 14112 h 14111"/>
                </a:gdLst>
                <a:ahLst/>
                <a:cxnLst>
                  <a:cxn ang="0">
                    <a:pos x="connsiteX0" y="connsiteY0"/>
                  </a:cxn>
                  <a:cxn ang="0">
                    <a:pos x="connsiteX1" y="connsiteY1"/>
                  </a:cxn>
                  <a:cxn ang="0">
                    <a:pos x="connsiteX2" y="connsiteY2"/>
                  </a:cxn>
                  <a:cxn ang="0">
                    <a:pos x="connsiteX3" y="connsiteY3"/>
                  </a:cxn>
                </a:cxnLst>
                <a:rect l="l" t="t" r="r" b="b"/>
                <a:pathLst>
                  <a:path w="110730" h="14111">
                    <a:moveTo>
                      <a:pt x="0" y="0"/>
                    </a:moveTo>
                    <a:lnTo>
                      <a:pt x="110731" y="0"/>
                    </a:lnTo>
                    <a:lnTo>
                      <a:pt x="110731" y="14112"/>
                    </a:lnTo>
                    <a:lnTo>
                      <a:pt x="0" y="14112"/>
                    </a:lnTo>
                    <a:close/>
                  </a:path>
                </a:pathLst>
              </a:custGeom>
              <a:solidFill>
                <a:srgbClr val="A77C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5" name="Graphic 3">
                <a:extLst>
                  <a:ext uri="{FF2B5EF4-FFF2-40B4-BE49-F238E27FC236}">
                    <a16:creationId xmlns:a16="http://schemas.microsoft.com/office/drawing/2014/main" xmlns="" id="{AAC3F7CD-FE41-4844-82A3-642F8C8055B9}"/>
                  </a:ext>
                </a:extLst>
              </p:cNvPr>
              <p:cNvSpPr/>
              <p:nvPr/>
            </p:nvSpPr>
            <p:spPr>
              <a:xfrm>
                <a:off x="2006794" y="3781385"/>
                <a:ext cx="110730" cy="80981"/>
              </a:xfrm>
              <a:custGeom>
                <a:avLst/>
                <a:gdLst>
                  <a:gd name="connsiteX0" fmla="*/ 0 w 110730"/>
                  <a:gd name="connsiteY0" fmla="*/ 0 h 80981"/>
                  <a:gd name="connsiteX1" fmla="*/ 110731 w 110730"/>
                  <a:gd name="connsiteY1" fmla="*/ 0 h 80981"/>
                  <a:gd name="connsiteX2" fmla="*/ 110731 w 110730"/>
                  <a:gd name="connsiteY2" fmla="*/ 80982 h 80981"/>
                  <a:gd name="connsiteX3" fmla="*/ 0 w 110730"/>
                  <a:gd name="connsiteY3" fmla="*/ 80982 h 80981"/>
                </a:gdLst>
                <a:ahLst/>
                <a:cxnLst>
                  <a:cxn ang="0">
                    <a:pos x="connsiteX0" y="connsiteY0"/>
                  </a:cxn>
                  <a:cxn ang="0">
                    <a:pos x="connsiteX1" y="connsiteY1"/>
                  </a:cxn>
                  <a:cxn ang="0">
                    <a:pos x="connsiteX2" y="connsiteY2"/>
                  </a:cxn>
                  <a:cxn ang="0">
                    <a:pos x="connsiteX3" y="connsiteY3"/>
                  </a:cxn>
                </a:cxnLst>
                <a:rect l="l" t="t" r="r" b="b"/>
                <a:pathLst>
                  <a:path w="110730" h="80981">
                    <a:moveTo>
                      <a:pt x="0" y="0"/>
                    </a:moveTo>
                    <a:lnTo>
                      <a:pt x="110731" y="0"/>
                    </a:lnTo>
                    <a:lnTo>
                      <a:pt x="110731" y="80982"/>
                    </a:lnTo>
                    <a:lnTo>
                      <a:pt x="0" y="80982"/>
                    </a:lnTo>
                    <a:close/>
                  </a:path>
                </a:pathLst>
              </a:custGeom>
              <a:solidFill>
                <a:schemeClr val="accent2">
                  <a:lumMod val="90000"/>
                  <a:lumOff val="10000"/>
                </a:schemeClr>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6" name="Graphic 3">
                <a:extLst>
                  <a:ext uri="{FF2B5EF4-FFF2-40B4-BE49-F238E27FC236}">
                    <a16:creationId xmlns:a16="http://schemas.microsoft.com/office/drawing/2014/main" xmlns="" id="{F43CACEB-34FD-423C-B97E-50DAC67E15EF}"/>
                  </a:ext>
                </a:extLst>
              </p:cNvPr>
              <p:cNvSpPr/>
              <p:nvPr/>
            </p:nvSpPr>
            <p:spPr>
              <a:xfrm>
                <a:off x="2006794" y="3862367"/>
                <a:ext cx="110730" cy="777258"/>
              </a:xfrm>
              <a:custGeom>
                <a:avLst/>
                <a:gdLst>
                  <a:gd name="connsiteX0" fmla="*/ 0 w 110730"/>
                  <a:gd name="connsiteY0" fmla="*/ 0 h 777258"/>
                  <a:gd name="connsiteX1" fmla="*/ 110731 w 110730"/>
                  <a:gd name="connsiteY1" fmla="*/ 0 h 777258"/>
                  <a:gd name="connsiteX2" fmla="*/ 110731 w 110730"/>
                  <a:gd name="connsiteY2" fmla="*/ 777259 h 777258"/>
                  <a:gd name="connsiteX3" fmla="*/ 0 w 110730"/>
                  <a:gd name="connsiteY3" fmla="*/ 777259 h 777258"/>
                </a:gdLst>
                <a:ahLst/>
                <a:cxnLst>
                  <a:cxn ang="0">
                    <a:pos x="connsiteX0" y="connsiteY0"/>
                  </a:cxn>
                  <a:cxn ang="0">
                    <a:pos x="connsiteX1" y="connsiteY1"/>
                  </a:cxn>
                  <a:cxn ang="0">
                    <a:pos x="connsiteX2" y="connsiteY2"/>
                  </a:cxn>
                  <a:cxn ang="0">
                    <a:pos x="connsiteX3" y="connsiteY3"/>
                  </a:cxn>
                </a:cxnLst>
                <a:rect l="l" t="t" r="r" b="b"/>
                <a:pathLst>
                  <a:path w="110730" h="777258">
                    <a:moveTo>
                      <a:pt x="0" y="0"/>
                    </a:moveTo>
                    <a:lnTo>
                      <a:pt x="110731" y="0"/>
                    </a:lnTo>
                    <a:lnTo>
                      <a:pt x="110731" y="777259"/>
                    </a:lnTo>
                    <a:lnTo>
                      <a:pt x="0" y="777259"/>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7" name="Graphic 3">
                <a:extLst>
                  <a:ext uri="{FF2B5EF4-FFF2-40B4-BE49-F238E27FC236}">
                    <a16:creationId xmlns:a16="http://schemas.microsoft.com/office/drawing/2014/main" xmlns="" id="{EA0A1C5B-4C69-4EA2-8A09-942572F3A3C6}"/>
                  </a:ext>
                </a:extLst>
              </p:cNvPr>
              <p:cNvSpPr/>
              <p:nvPr/>
            </p:nvSpPr>
            <p:spPr>
              <a:xfrm>
                <a:off x="1782011" y="3461701"/>
                <a:ext cx="110730" cy="1517716"/>
              </a:xfrm>
              <a:custGeom>
                <a:avLst/>
                <a:gdLst>
                  <a:gd name="connsiteX0" fmla="*/ 0 w 110730"/>
                  <a:gd name="connsiteY0" fmla="*/ 0 h 1517716"/>
                  <a:gd name="connsiteX1" fmla="*/ 110731 w 110730"/>
                  <a:gd name="connsiteY1" fmla="*/ 0 h 1517716"/>
                  <a:gd name="connsiteX2" fmla="*/ 110731 w 110730"/>
                  <a:gd name="connsiteY2" fmla="*/ 1517716 h 1517716"/>
                  <a:gd name="connsiteX3" fmla="*/ 0 w 110730"/>
                  <a:gd name="connsiteY3" fmla="*/ 1517716 h 1517716"/>
                </a:gdLst>
                <a:ahLst/>
                <a:cxnLst>
                  <a:cxn ang="0">
                    <a:pos x="connsiteX0" y="connsiteY0"/>
                  </a:cxn>
                  <a:cxn ang="0">
                    <a:pos x="connsiteX1" y="connsiteY1"/>
                  </a:cxn>
                  <a:cxn ang="0">
                    <a:pos x="connsiteX2" y="connsiteY2"/>
                  </a:cxn>
                  <a:cxn ang="0">
                    <a:pos x="connsiteX3" y="connsiteY3"/>
                  </a:cxn>
                </a:cxnLst>
                <a:rect l="l" t="t" r="r" b="b"/>
                <a:pathLst>
                  <a:path w="110730" h="1517716">
                    <a:moveTo>
                      <a:pt x="0" y="0"/>
                    </a:moveTo>
                    <a:lnTo>
                      <a:pt x="110731" y="0"/>
                    </a:lnTo>
                    <a:lnTo>
                      <a:pt x="110731" y="1517716"/>
                    </a:lnTo>
                    <a:lnTo>
                      <a:pt x="0" y="1517716"/>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8" name="Graphic 3">
                <a:extLst>
                  <a:ext uri="{FF2B5EF4-FFF2-40B4-BE49-F238E27FC236}">
                    <a16:creationId xmlns:a16="http://schemas.microsoft.com/office/drawing/2014/main" xmlns="" id="{BE7F6E58-DBBE-4350-816B-4829879DB2D9}"/>
                  </a:ext>
                </a:extLst>
              </p:cNvPr>
              <p:cNvSpPr/>
              <p:nvPr/>
            </p:nvSpPr>
            <p:spPr>
              <a:xfrm>
                <a:off x="1557227" y="3349544"/>
                <a:ext cx="110730" cy="112156"/>
              </a:xfrm>
              <a:custGeom>
                <a:avLst/>
                <a:gdLst>
                  <a:gd name="connsiteX0" fmla="*/ 0 w 110730"/>
                  <a:gd name="connsiteY0" fmla="*/ 0 h 112156"/>
                  <a:gd name="connsiteX1" fmla="*/ 110731 w 110730"/>
                  <a:gd name="connsiteY1" fmla="*/ 0 h 112156"/>
                  <a:gd name="connsiteX2" fmla="*/ 110731 w 110730"/>
                  <a:gd name="connsiteY2" fmla="*/ 112157 h 112156"/>
                  <a:gd name="connsiteX3" fmla="*/ 0 w 110730"/>
                  <a:gd name="connsiteY3" fmla="*/ 112157 h 112156"/>
                </a:gdLst>
                <a:ahLst/>
                <a:cxnLst>
                  <a:cxn ang="0">
                    <a:pos x="connsiteX0" y="connsiteY0"/>
                  </a:cxn>
                  <a:cxn ang="0">
                    <a:pos x="connsiteX1" y="connsiteY1"/>
                  </a:cxn>
                  <a:cxn ang="0">
                    <a:pos x="connsiteX2" y="connsiteY2"/>
                  </a:cxn>
                  <a:cxn ang="0">
                    <a:pos x="connsiteX3" y="connsiteY3"/>
                  </a:cxn>
                </a:cxnLst>
                <a:rect l="l" t="t" r="r" b="b"/>
                <a:pathLst>
                  <a:path w="110730" h="112156">
                    <a:moveTo>
                      <a:pt x="0" y="0"/>
                    </a:moveTo>
                    <a:lnTo>
                      <a:pt x="110731" y="0"/>
                    </a:lnTo>
                    <a:lnTo>
                      <a:pt x="110731" y="112157"/>
                    </a:lnTo>
                    <a:lnTo>
                      <a:pt x="0" y="112157"/>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sp>
            <p:nvSpPr>
              <p:cNvPr id="139" name="Graphic 3">
                <a:extLst>
                  <a:ext uri="{FF2B5EF4-FFF2-40B4-BE49-F238E27FC236}">
                    <a16:creationId xmlns:a16="http://schemas.microsoft.com/office/drawing/2014/main" xmlns="" id="{8BC9159E-D4A9-4A94-82AA-9E63C4B0AD06}"/>
                  </a:ext>
                </a:extLst>
              </p:cNvPr>
              <p:cNvSpPr/>
              <p:nvPr/>
            </p:nvSpPr>
            <p:spPr>
              <a:xfrm>
                <a:off x="1332444" y="2602169"/>
                <a:ext cx="110730" cy="2145832"/>
              </a:xfrm>
              <a:custGeom>
                <a:avLst/>
                <a:gdLst>
                  <a:gd name="connsiteX0" fmla="*/ 0 w 110730"/>
                  <a:gd name="connsiteY0" fmla="*/ 0 h 2145832"/>
                  <a:gd name="connsiteX1" fmla="*/ 110731 w 110730"/>
                  <a:gd name="connsiteY1" fmla="*/ 0 h 2145832"/>
                  <a:gd name="connsiteX2" fmla="*/ 110731 w 110730"/>
                  <a:gd name="connsiteY2" fmla="*/ 2145832 h 2145832"/>
                  <a:gd name="connsiteX3" fmla="*/ 0 w 110730"/>
                  <a:gd name="connsiteY3" fmla="*/ 2145832 h 2145832"/>
                </a:gdLst>
                <a:ahLst/>
                <a:cxnLst>
                  <a:cxn ang="0">
                    <a:pos x="connsiteX0" y="connsiteY0"/>
                  </a:cxn>
                  <a:cxn ang="0">
                    <a:pos x="connsiteX1" y="connsiteY1"/>
                  </a:cxn>
                  <a:cxn ang="0">
                    <a:pos x="connsiteX2" y="connsiteY2"/>
                  </a:cxn>
                  <a:cxn ang="0">
                    <a:pos x="connsiteX3" y="connsiteY3"/>
                  </a:cxn>
                </a:cxnLst>
                <a:rect l="l" t="t" r="r" b="b"/>
                <a:pathLst>
                  <a:path w="110730" h="2145832">
                    <a:moveTo>
                      <a:pt x="0" y="0"/>
                    </a:moveTo>
                    <a:lnTo>
                      <a:pt x="110731" y="0"/>
                    </a:lnTo>
                    <a:lnTo>
                      <a:pt x="110731" y="2145832"/>
                    </a:lnTo>
                    <a:lnTo>
                      <a:pt x="0" y="2145832"/>
                    </a:lnTo>
                    <a:close/>
                  </a:path>
                </a:pathLst>
              </a:custGeom>
              <a:solidFill>
                <a:srgbClr val="33A4FF"/>
              </a:solidFill>
              <a:ln w="9223" cap="flat">
                <a:noFill/>
                <a:prstDash val="solid"/>
                <a:miter/>
              </a:ln>
            </p:spPr>
            <p:txBody>
              <a:bodyPr rtlCol="0" anchor="ctr"/>
              <a:lstStyle/>
              <a:p>
                <a:pPr defTabSz="685783"/>
                <a:endParaRPr lang="en-US" sz="1350" dirty="0">
                  <a:solidFill>
                    <a:srgbClr val="000000"/>
                  </a:solidFill>
                  <a:latin typeface="Arial"/>
                </a:endParaRPr>
              </a:p>
            </p:txBody>
          </p:sp>
        </p:grpSp>
        <p:grpSp>
          <p:nvGrpSpPr>
            <p:cNvPr id="51" name="Graphic 3">
              <a:extLst>
                <a:ext uri="{FF2B5EF4-FFF2-40B4-BE49-F238E27FC236}">
                  <a16:creationId xmlns:a16="http://schemas.microsoft.com/office/drawing/2014/main" xmlns="" id="{BEC07D4B-494E-4127-981F-A803CEDB77F7}"/>
                </a:ext>
              </a:extLst>
            </p:cNvPr>
            <p:cNvGrpSpPr/>
            <p:nvPr/>
          </p:nvGrpSpPr>
          <p:grpSpPr>
            <a:xfrm>
              <a:off x="1002190" y="2092851"/>
              <a:ext cx="6122551" cy="3236318"/>
              <a:chOff x="1002190" y="2092851"/>
              <a:chExt cx="6122551" cy="3236318"/>
            </a:xfrm>
            <a:noFill/>
          </p:grpSpPr>
          <p:sp>
            <p:nvSpPr>
              <p:cNvPr id="52" name="Graphic 3">
                <a:extLst>
                  <a:ext uri="{FF2B5EF4-FFF2-40B4-BE49-F238E27FC236}">
                    <a16:creationId xmlns:a16="http://schemas.microsoft.com/office/drawing/2014/main" xmlns="" id="{DF6D8580-5163-48B7-AFBC-2ED844E4D8DB}"/>
                  </a:ext>
                </a:extLst>
              </p:cNvPr>
              <p:cNvSpPr/>
              <p:nvPr/>
            </p:nvSpPr>
            <p:spPr>
              <a:xfrm>
                <a:off x="1050634" y="2092851"/>
                <a:ext cx="6073303" cy="3187896"/>
              </a:xfrm>
              <a:custGeom>
                <a:avLst/>
                <a:gdLst>
                  <a:gd name="connsiteX0" fmla="*/ 0 w 6073303"/>
                  <a:gd name="connsiteY0" fmla="*/ 0 h 3187896"/>
                  <a:gd name="connsiteX1" fmla="*/ 0 w 6073303"/>
                  <a:gd name="connsiteY1" fmla="*/ 3187896 h 3187896"/>
                  <a:gd name="connsiteX2" fmla="*/ 6073304 w 6073303"/>
                  <a:gd name="connsiteY2" fmla="*/ 3187896 h 3187896"/>
                </a:gdLst>
                <a:ahLst/>
                <a:cxnLst>
                  <a:cxn ang="0">
                    <a:pos x="connsiteX0" y="connsiteY0"/>
                  </a:cxn>
                  <a:cxn ang="0">
                    <a:pos x="connsiteX1" y="connsiteY1"/>
                  </a:cxn>
                  <a:cxn ang="0">
                    <a:pos x="connsiteX2" y="connsiteY2"/>
                  </a:cxn>
                </a:cxnLst>
                <a:rect l="l" t="t" r="r" b="b"/>
                <a:pathLst>
                  <a:path w="6073303" h="3187896">
                    <a:moveTo>
                      <a:pt x="0" y="0"/>
                    </a:moveTo>
                    <a:lnTo>
                      <a:pt x="0" y="3187896"/>
                    </a:lnTo>
                    <a:lnTo>
                      <a:pt x="6073304" y="3187896"/>
                    </a:lnTo>
                  </a:path>
                </a:pathLst>
              </a:custGeom>
              <a:noFill/>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53" name="Graphic 3">
                <a:extLst>
                  <a:ext uri="{FF2B5EF4-FFF2-40B4-BE49-F238E27FC236}">
                    <a16:creationId xmlns:a16="http://schemas.microsoft.com/office/drawing/2014/main" xmlns="" id="{CFC3FAAD-4941-45F2-9C8D-F06167BAB209}"/>
                  </a:ext>
                </a:extLst>
              </p:cNvPr>
              <p:cNvSpPr/>
              <p:nvPr/>
            </p:nvSpPr>
            <p:spPr>
              <a:xfrm>
                <a:off x="1002190" y="2097462"/>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54" name="Graphic 3">
                <a:extLst>
                  <a:ext uri="{FF2B5EF4-FFF2-40B4-BE49-F238E27FC236}">
                    <a16:creationId xmlns:a16="http://schemas.microsoft.com/office/drawing/2014/main" xmlns="" id="{E8D95AD1-1812-4C2C-A715-777FC2538C6E}"/>
                  </a:ext>
                </a:extLst>
              </p:cNvPr>
              <p:cNvSpPr/>
              <p:nvPr/>
            </p:nvSpPr>
            <p:spPr>
              <a:xfrm>
                <a:off x="1002190" y="5280747"/>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55" name="Graphic 3">
                <a:extLst>
                  <a:ext uri="{FF2B5EF4-FFF2-40B4-BE49-F238E27FC236}">
                    <a16:creationId xmlns:a16="http://schemas.microsoft.com/office/drawing/2014/main" xmlns="" id="{1931E2E0-142D-424F-91AC-67762C40F9B4}"/>
                  </a:ext>
                </a:extLst>
              </p:cNvPr>
              <p:cNvSpPr/>
              <p:nvPr/>
            </p:nvSpPr>
            <p:spPr>
              <a:xfrm>
                <a:off x="1002190" y="2557435"/>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56" name="Graphic 3">
                <a:extLst>
                  <a:ext uri="{FF2B5EF4-FFF2-40B4-BE49-F238E27FC236}">
                    <a16:creationId xmlns:a16="http://schemas.microsoft.com/office/drawing/2014/main" xmlns="" id="{5D84A441-9C98-48A1-AEE1-DA004D93D39A}"/>
                  </a:ext>
                </a:extLst>
              </p:cNvPr>
              <p:cNvSpPr/>
              <p:nvPr/>
            </p:nvSpPr>
            <p:spPr>
              <a:xfrm>
                <a:off x="1002190" y="3006985"/>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57" name="Graphic 3">
                <a:extLst>
                  <a:ext uri="{FF2B5EF4-FFF2-40B4-BE49-F238E27FC236}">
                    <a16:creationId xmlns:a16="http://schemas.microsoft.com/office/drawing/2014/main" xmlns="" id="{4A77EF28-440F-49B6-ADB4-D7FCC227EA8A}"/>
                  </a:ext>
                </a:extLst>
              </p:cNvPr>
              <p:cNvSpPr/>
              <p:nvPr/>
            </p:nvSpPr>
            <p:spPr>
              <a:xfrm>
                <a:off x="1002190" y="3463914"/>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58" name="Graphic 3">
                <a:extLst>
                  <a:ext uri="{FF2B5EF4-FFF2-40B4-BE49-F238E27FC236}">
                    <a16:creationId xmlns:a16="http://schemas.microsoft.com/office/drawing/2014/main" xmlns="" id="{6A25BD1C-13E9-4949-B89C-2D226A6BCF9A}"/>
                  </a:ext>
                </a:extLst>
              </p:cNvPr>
              <p:cNvSpPr/>
              <p:nvPr/>
            </p:nvSpPr>
            <p:spPr>
              <a:xfrm>
                <a:off x="1002190" y="3916416"/>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59" name="Graphic 3">
                <a:extLst>
                  <a:ext uri="{FF2B5EF4-FFF2-40B4-BE49-F238E27FC236}">
                    <a16:creationId xmlns:a16="http://schemas.microsoft.com/office/drawing/2014/main" xmlns="" id="{C93105C5-E570-4560-BDC9-F5CF512A26AF}"/>
                  </a:ext>
                </a:extLst>
              </p:cNvPr>
              <p:cNvSpPr/>
              <p:nvPr/>
            </p:nvSpPr>
            <p:spPr>
              <a:xfrm>
                <a:off x="1002743" y="4377034"/>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0" name="Graphic 3">
                <a:extLst>
                  <a:ext uri="{FF2B5EF4-FFF2-40B4-BE49-F238E27FC236}">
                    <a16:creationId xmlns:a16="http://schemas.microsoft.com/office/drawing/2014/main" xmlns="" id="{6EBD7B26-2F91-4FF4-B7D3-A988ADABC56E}"/>
                  </a:ext>
                </a:extLst>
              </p:cNvPr>
              <p:cNvSpPr/>
              <p:nvPr/>
            </p:nvSpPr>
            <p:spPr>
              <a:xfrm>
                <a:off x="1002190" y="4827599"/>
                <a:ext cx="48444" cy="9223"/>
              </a:xfrm>
              <a:custGeom>
                <a:avLst/>
                <a:gdLst>
                  <a:gd name="connsiteX0" fmla="*/ 0 w 48444"/>
                  <a:gd name="connsiteY0" fmla="*/ 0 h 9223"/>
                  <a:gd name="connsiteX1" fmla="*/ 48445 w 48444"/>
                  <a:gd name="connsiteY1" fmla="*/ 0 h 9223"/>
                </a:gdLst>
                <a:ahLst/>
                <a:cxnLst>
                  <a:cxn ang="0">
                    <a:pos x="connsiteX0" y="connsiteY0"/>
                  </a:cxn>
                  <a:cxn ang="0">
                    <a:pos x="connsiteX1" y="connsiteY1"/>
                  </a:cxn>
                </a:cxnLst>
                <a:rect l="l" t="t" r="r" b="b"/>
                <a:pathLst>
                  <a:path w="48444" h="9223">
                    <a:moveTo>
                      <a:pt x="0" y="0"/>
                    </a:moveTo>
                    <a:lnTo>
                      <a:pt x="48445" y="0"/>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1" name="Graphic 3">
                <a:extLst>
                  <a:ext uri="{FF2B5EF4-FFF2-40B4-BE49-F238E27FC236}">
                    <a16:creationId xmlns:a16="http://schemas.microsoft.com/office/drawing/2014/main" xmlns="" id="{66860B1A-8283-47D6-BC56-7C5B9B3BE94C}"/>
                  </a:ext>
                </a:extLst>
              </p:cNvPr>
              <p:cNvSpPr/>
              <p:nvPr/>
            </p:nvSpPr>
            <p:spPr>
              <a:xfrm>
                <a:off x="1050634"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2" name="Graphic 3">
                <a:extLst>
                  <a:ext uri="{FF2B5EF4-FFF2-40B4-BE49-F238E27FC236}">
                    <a16:creationId xmlns:a16="http://schemas.microsoft.com/office/drawing/2014/main" xmlns="" id="{7EF47256-80F1-49E2-AB61-1AFF21DE8AEC}"/>
                  </a:ext>
                </a:extLst>
              </p:cNvPr>
              <p:cNvSpPr/>
              <p:nvPr/>
            </p:nvSpPr>
            <p:spPr>
              <a:xfrm>
                <a:off x="7115514"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3" name="Graphic 3">
                <a:extLst>
                  <a:ext uri="{FF2B5EF4-FFF2-40B4-BE49-F238E27FC236}">
                    <a16:creationId xmlns:a16="http://schemas.microsoft.com/office/drawing/2014/main" xmlns="" id="{84F3A921-BDDF-4866-9B47-1AE375F4C0D1}"/>
                  </a:ext>
                </a:extLst>
              </p:cNvPr>
              <p:cNvSpPr/>
              <p:nvPr/>
            </p:nvSpPr>
            <p:spPr>
              <a:xfrm>
                <a:off x="6894633"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4" name="Graphic 3">
                <a:extLst>
                  <a:ext uri="{FF2B5EF4-FFF2-40B4-BE49-F238E27FC236}">
                    <a16:creationId xmlns:a16="http://schemas.microsoft.com/office/drawing/2014/main" xmlns="" id="{80E34AB1-6021-430E-937C-665B03EBF74C}"/>
                  </a:ext>
                </a:extLst>
              </p:cNvPr>
              <p:cNvSpPr/>
              <p:nvPr/>
            </p:nvSpPr>
            <p:spPr>
              <a:xfrm>
                <a:off x="6669850"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5" name="Graphic 3">
                <a:extLst>
                  <a:ext uri="{FF2B5EF4-FFF2-40B4-BE49-F238E27FC236}">
                    <a16:creationId xmlns:a16="http://schemas.microsoft.com/office/drawing/2014/main" xmlns="" id="{0938F559-88AE-4F69-9268-651A1A39F16A}"/>
                  </a:ext>
                </a:extLst>
              </p:cNvPr>
              <p:cNvSpPr/>
              <p:nvPr/>
            </p:nvSpPr>
            <p:spPr>
              <a:xfrm>
                <a:off x="6445066"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6" name="Graphic 3">
                <a:extLst>
                  <a:ext uri="{FF2B5EF4-FFF2-40B4-BE49-F238E27FC236}">
                    <a16:creationId xmlns:a16="http://schemas.microsoft.com/office/drawing/2014/main" xmlns="" id="{1C7C7065-7B01-4360-8E82-7AB6218D8E33}"/>
                  </a:ext>
                </a:extLst>
              </p:cNvPr>
              <p:cNvSpPr/>
              <p:nvPr/>
            </p:nvSpPr>
            <p:spPr>
              <a:xfrm>
                <a:off x="6220283"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7" name="Graphic 3">
                <a:extLst>
                  <a:ext uri="{FF2B5EF4-FFF2-40B4-BE49-F238E27FC236}">
                    <a16:creationId xmlns:a16="http://schemas.microsoft.com/office/drawing/2014/main" xmlns="" id="{D5FEDF04-D622-4EF4-A8D0-20468DED773E}"/>
                  </a:ext>
                </a:extLst>
              </p:cNvPr>
              <p:cNvSpPr/>
              <p:nvPr/>
            </p:nvSpPr>
            <p:spPr>
              <a:xfrm>
                <a:off x="5995500"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8" name="Graphic 3">
                <a:extLst>
                  <a:ext uri="{FF2B5EF4-FFF2-40B4-BE49-F238E27FC236}">
                    <a16:creationId xmlns:a16="http://schemas.microsoft.com/office/drawing/2014/main" xmlns="" id="{C594CBAF-311B-4973-9625-078046F7573F}"/>
                  </a:ext>
                </a:extLst>
              </p:cNvPr>
              <p:cNvSpPr/>
              <p:nvPr/>
            </p:nvSpPr>
            <p:spPr>
              <a:xfrm>
                <a:off x="5770809"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69" name="Graphic 3">
                <a:extLst>
                  <a:ext uri="{FF2B5EF4-FFF2-40B4-BE49-F238E27FC236}">
                    <a16:creationId xmlns:a16="http://schemas.microsoft.com/office/drawing/2014/main" xmlns="" id="{8AF6D4B5-9AA7-479C-A0C2-F37A12B0BAC3}"/>
                  </a:ext>
                </a:extLst>
              </p:cNvPr>
              <p:cNvSpPr/>
              <p:nvPr/>
            </p:nvSpPr>
            <p:spPr>
              <a:xfrm>
                <a:off x="5546025"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0" name="Graphic 3">
                <a:extLst>
                  <a:ext uri="{FF2B5EF4-FFF2-40B4-BE49-F238E27FC236}">
                    <a16:creationId xmlns:a16="http://schemas.microsoft.com/office/drawing/2014/main" xmlns="" id="{90499571-6436-49B7-A401-E3DD2C64990F}"/>
                  </a:ext>
                </a:extLst>
              </p:cNvPr>
              <p:cNvSpPr/>
              <p:nvPr/>
            </p:nvSpPr>
            <p:spPr>
              <a:xfrm>
                <a:off x="5321242"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1" name="Graphic 3">
                <a:extLst>
                  <a:ext uri="{FF2B5EF4-FFF2-40B4-BE49-F238E27FC236}">
                    <a16:creationId xmlns:a16="http://schemas.microsoft.com/office/drawing/2014/main" xmlns="" id="{4A4E0318-4B74-4A7E-9C0E-5B8963580594}"/>
                  </a:ext>
                </a:extLst>
              </p:cNvPr>
              <p:cNvSpPr/>
              <p:nvPr/>
            </p:nvSpPr>
            <p:spPr>
              <a:xfrm>
                <a:off x="5096458"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2" name="Graphic 3">
                <a:extLst>
                  <a:ext uri="{FF2B5EF4-FFF2-40B4-BE49-F238E27FC236}">
                    <a16:creationId xmlns:a16="http://schemas.microsoft.com/office/drawing/2014/main" xmlns="" id="{40F138B5-1464-4ACE-A481-E18CEF45AF48}"/>
                  </a:ext>
                </a:extLst>
              </p:cNvPr>
              <p:cNvSpPr/>
              <p:nvPr/>
            </p:nvSpPr>
            <p:spPr>
              <a:xfrm>
                <a:off x="4871675"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3" name="Graphic 3">
                <a:extLst>
                  <a:ext uri="{FF2B5EF4-FFF2-40B4-BE49-F238E27FC236}">
                    <a16:creationId xmlns:a16="http://schemas.microsoft.com/office/drawing/2014/main" xmlns="" id="{507663BE-5A7F-45F8-BD03-1A4569B4D7DC}"/>
                  </a:ext>
                </a:extLst>
              </p:cNvPr>
              <p:cNvSpPr/>
              <p:nvPr/>
            </p:nvSpPr>
            <p:spPr>
              <a:xfrm>
                <a:off x="4646892"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4" name="Graphic 3">
                <a:extLst>
                  <a:ext uri="{FF2B5EF4-FFF2-40B4-BE49-F238E27FC236}">
                    <a16:creationId xmlns:a16="http://schemas.microsoft.com/office/drawing/2014/main" xmlns="" id="{AEDCC005-4634-458B-8874-AE0A71643A13}"/>
                  </a:ext>
                </a:extLst>
              </p:cNvPr>
              <p:cNvSpPr/>
              <p:nvPr/>
            </p:nvSpPr>
            <p:spPr>
              <a:xfrm>
                <a:off x="4422200"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5" name="Graphic 3">
                <a:extLst>
                  <a:ext uri="{FF2B5EF4-FFF2-40B4-BE49-F238E27FC236}">
                    <a16:creationId xmlns:a16="http://schemas.microsoft.com/office/drawing/2014/main" xmlns="" id="{24DBE7A6-3576-4B04-A845-C58161CA1C7B}"/>
                  </a:ext>
                </a:extLst>
              </p:cNvPr>
              <p:cNvSpPr/>
              <p:nvPr/>
            </p:nvSpPr>
            <p:spPr>
              <a:xfrm>
                <a:off x="4197417"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6" name="Graphic 3">
                <a:extLst>
                  <a:ext uri="{FF2B5EF4-FFF2-40B4-BE49-F238E27FC236}">
                    <a16:creationId xmlns:a16="http://schemas.microsoft.com/office/drawing/2014/main" xmlns="" id="{F3696876-A9FA-4A9A-8A29-811AB2D62F28}"/>
                  </a:ext>
                </a:extLst>
              </p:cNvPr>
              <p:cNvSpPr/>
              <p:nvPr/>
            </p:nvSpPr>
            <p:spPr>
              <a:xfrm>
                <a:off x="3972634"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7" name="Graphic 3">
                <a:extLst>
                  <a:ext uri="{FF2B5EF4-FFF2-40B4-BE49-F238E27FC236}">
                    <a16:creationId xmlns:a16="http://schemas.microsoft.com/office/drawing/2014/main" xmlns="" id="{3AD0D29E-CD6B-4D56-AE56-3E150C140431}"/>
                  </a:ext>
                </a:extLst>
              </p:cNvPr>
              <p:cNvSpPr/>
              <p:nvPr/>
            </p:nvSpPr>
            <p:spPr>
              <a:xfrm>
                <a:off x="3747850"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8" name="Graphic 3">
                <a:extLst>
                  <a:ext uri="{FF2B5EF4-FFF2-40B4-BE49-F238E27FC236}">
                    <a16:creationId xmlns:a16="http://schemas.microsoft.com/office/drawing/2014/main" xmlns="" id="{44B017C0-A548-4184-9BAA-8B34F7394672}"/>
                  </a:ext>
                </a:extLst>
              </p:cNvPr>
              <p:cNvSpPr/>
              <p:nvPr/>
            </p:nvSpPr>
            <p:spPr>
              <a:xfrm>
                <a:off x="3523067"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79" name="Graphic 3">
                <a:extLst>
                  <a:ext uri="{FF2B5EF4-FFF2-40B4-BE49-F238E27FC236}">
                    <a16:creationId xmlns:a16="http://schemas.microsoft.com/office/drawing/2014/main" xmlns="" id="{F26D9C6C-8C37-4A34-9B77-84541558EB50}"/>
                  </a:ext>
                </a:extLst>
              </p:cNvPr>
              <p:cNvSpPr/>
              <p:nvPr/>
            </p:nvSpPr>
            <p:spPr>
              <a:xfrm>
                <a:off x="3298376"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0" name="Graphic 3">
                <a:extLst>
                  <a:ext uri="{FF2B5EF4-FFF2-40B4-BE49-F238E27FC236}">
                    <a16:creationId xmlns:a16="http://schemas.microsoft.com/office/drawing/2014/main" xmlns="" id="{3DADDE92-84D4-49BA-BAD4-9F4EC522781C}"/>
                  </a:ext>
                </a:extLst>
              </p:cNvPr>
              <p:cNvSpPr/>
              <p:nvPr/>
            </p:nvSpPr>
            <p:spPr>
              <a:xfrm>
                <a:off x="3073592"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1" name="Graphic 3">
                <a:extLst>
                  <a:ext uri="{FF2B5EF4-FFF2-40B4-BE49-F238E27FC236}">
                    <a16:creationId xmlns:a16="http://schemas.microsoft.com/office/drawing/2014/main" xmlns="" id="{3CDAFA4B-431F-4EFB-B24B-A1205A5FECA3}"/>
                  </a:ext>
                </a:extLst>
              </p:cNvPr>
              <p:cNvSpPr/>
              <p:nvPr/>
            </p:nvSpPr>
            <p:spPr>
              <a:xfrm>
                <a:off x="2848809"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2" name="Graphic 3">
                <a:extLst>
                  <a:ext uri="{FF2B5EF4-FFF2-40B4-BE49-F238E27FC236}">
                    <a16:creationId xmlns:a16="http://schemas.microsoft.com/office/drawing/2014/main" xmlns="" id="{07460786-DCAB-4DA8-B364-3F289F955990}"/>
                  </a:ext>
                </a:extLst>
              </p:cNvPr>
              <p:cNvSpPr/>
              <p:nvPr/>
            </p:nvSpPr>
            <p:spPr>
              <a:xfrm>
                <a:off x="2624026"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3" name="Graphic 3">
                <a:extLst>
                  <a:ext uri="{FF2B5EF4-FFF2-40B4-BE49-F238E27FC236}">
                    <a16:creationId xmlns:a16="http://schemas.microsoft.com/office/drawing/2014/main" xmlns="" id="{4FEA9462-D181-4AD0-AF48-A91BB346D440}"/>
                  </a:ext>
                </a:extLst>
              </p:cNvPr>
              <p:cNvSpPr/>
              <p:nvPr/>
            </p:nvSpPr>
            <p:spPr>
              <a:xfrm>
                <a:off x="2399242"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4" name="Graphic 3">
                <a:extLst>
                  <a:ext uri="{FF2B5EF4-FFF2-40B4-BE49-F238E27FC236}">
                    <a16:creationId xmlns:a16="http://schemas.microsoft.com/office/drawing/2014/main" xmlns="" id="{FCE23045-C33B-4DD0-B0BE-83C5A041B2A1}"/>
                  </a:ext>
                </a:extLst>
              </p:cNvPr>
              <p:cNvSpPr/>
              <p:nvPr/>
            </p:nvSpPr>
            <p:spPr>
              <a:xfrm>
                <a:off x="2174459"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5" name="Graphic 3">
                <a:extLst>
                  <a:ext uri="{FF2B5EF4-FFF2-40B4-BE49-F238E27FC236}">
                    <a16:creationId xmlns:a16="http://schemas.microsoft.com/office/drawing/2014/main" xmlns="" id="{0519D272-201F-4DD9-9A3D-571FB0BE0820}"/>
                  </a:ext>
                </a:extLst>
              </p:cNvPr>
              <p:cNvSpPr/>
              <p:nvPr/>
            </p:nvSpPr>
            <p:spPr>
              <a:xfrm>
                <a:off x="1949768"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6" name="Graphic 3">
                <a:extLst>
                  <a:ext uri="{FF2B5EF4-FFF2-40B4-BE49-F238E27FC236}">
                    <a16:creationId xmlns:a16="http://schemas.microsoft.com/office/drawing/2014/main" xmlns="" id="{D187D0F3-06F9-4E86-B762-4CC09D31BC5D}"/>
                  </a:ext>
                </a:extLst>
              </p:cNvPr>
              <p:cNvSpPr/>
              <p:nvPr/>
            </p:nvSpPr>
            <p:spPr>
              <a:xfrm>
                <a:off x="1724984"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7" name="Graphic 3">
                <a:extLst>
                  <a:ext uri="{FF2B5EF4-FFF2-40B4-BE49-F238E27FC236}">
                    <a16:creationId xmlns:a16="http://schemas.microsoft.com/office/drawing/2014/main" xmlns="" id="{0052BA38-A59A-4C1F-95C0-15288E8FA7B3}"/>
                  </a:ext>
                </a:extLst>
              </p:cNvPr>
              <p:cNvSpPr/>
              <p:nvPr/>
            </p:nvSpPr>
            <p:spPr>
              <a:xfrm>
                <a:off x="1500201"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sp>
            <p:nvSpPr>
              <p:cNvPr id="88" name="Graphic 3">
                <a:extLst>
                  <a:ext uri="{FF2B5EF4-FFF2-40B4-BE49-F238E27FC236}">
                    <a16:creationId xmlns:a16="http://schemas.microsoft.com/office/drawing/2014/main" xmlns="" id="{74A04898-E348-4DAE-8656-78E0AA4ADECA}"/>
                  </a:ext>
                </a:extLst>
              </p:cNvPr>
              <p:cNvSpPr/>
              <p:nvPr/>
            </p:nvSpPr>
            <p:spPr>
              <a:xfrm>
                <a:off x="1275418" y="5280654"/>
                <a:ext cx="9227" cy="48515"/>
              </a:xfrm>
              <a:custGeom>
                <a:avLst/>
                <a:gdLst>
                  <a:gd name="connsiteX0" fmla="*/ 0 w 9227"/>
                  <a:gd name="connsiteY0" fmla="*/ 0 h 48515"/>
                  <a:gd name="connsiteX1" fmla="*/ 0 w 9227"/>
                  <a:gd name="connsiteY1" fmla="*/ 48515 h 48515"/>
                </a:gdLst>
                <a:ahLst/>
                <a:cxnLst>
                  <a:cxn ang="0">
                    <a:pos x="connsiteX0" y="connsiteY0"/>
                  </a:cxn>
                  <a:cxn ang="0">
                    <a:pos x="connsiteX1" y="connsiteY1"/>
                  </a:cxn>
                </a:cxnLst>
                <a:rect l="l" t="t" r="r" b="b"/>
                <a:pathLst>
                  <a:path w="9227" h="48515">
                    <a:moveTo>
                      <a:pt x="0" y="0"/>
                    </a:moveTo>
                    <a:lnTo>
                      <a:pt x="0" y="48515"/>
                    </a:lnTo>
                  </a:path>
                </a:pathLst>
              </a:custGeom>
              <a:ln w="15875" cap="flat">
                <a:solidFill>
                  <a:schemeClr val="tx1"/>
                </a:solidFill>
                <a:prstDash val="solid"/>
                <a:miter/>
              </a:ln>
            </p:spPr>
            <p:txBody>
              <a:bodyPr rtlCol="0" anchor="ctr"/>
              <a:lstStyle/>
              <a:p>
                <a:pPr defTabSz="685783"/>
                <a:endParaRPr lang="en-US" sz="1350" dirty="0">
                  <a:solidFill>
                    <a:srgbClr val="000000"/>
                  </a:solidFill>
                  <a:latin typeface="Arial"/>
                </a:endParaRPr>
              </a:p>
            </p:txBody>
          </p:sp>
        </p:grpSp>
      </p:grpSp>
      <p:sp>
        <p:nvSpPr>
          <p:cNvPr id="140" name="Подзаголовок 4">
            <a:extLst>
              <a:ext uri="{FF2B5EF4-FFF2-40B4-BE49-F238E27FC236}">
                <a16:creationId xmlns:a16="http://schemas.microsoft.com/office/drawing/2014/main" xmlns="" id="{F29291C0-46C7-4944-8F3D-A3DFC408DC6D}"/>
              </a:ext>
            </a:extLst>
          </p:cNvPr>
          <p:cNvSpPr txBox="1">
            <a:spLocks/>
          </p:cNvSpPr>
          <p:nvPr/>
        </p:nvSpPr>
        <p:spPr>
          <a:xfrm>
            <a:off x="376149" y="4360312"/>
            <a:ext cx="6778562" cy="727919"/>
          </a:xfrm>
          <a:prstGeom prst="rect">
            <a:avLst/>
          </a:prstGeom>
        </p:spPr>
        <p:txBody>
          <a:bodyPr vert="horz" lIns="68580" tIns="34290" rIns="68580" bIns="34290" rtlCol="0" anchor="b" anchorCtr="0">
            <a:normAutofit/>
          </a:bodyPr>
          <a:lstStyle>
            <a:lvl1pPr marL="0" indent="0" algn="r" defTabSz="914400" rtl="0" eaLnBrk="1" latinLnBrk="0" hangingPunct="1">
              <a:lnSpc>
                <a:spcPct val="90000"/>
              </a:lnSpc>
              <a:spcBef>
                <a:spcPts val="1000"/>
              </a:spcBef>
              <a:buFont typeface="Arial" panose="020B0604020202020204" pitchFamily="34" charset="0"/>
              <a:buNone/>
              <a:defRPr sz="1800" b="0" kern="1200">
                <a:solidFill>
                  <a:schemeClr val="accent2"/>
                </a:solidFill>
                <a:latin typeface="Arial" panose="020B0604020202020204" pitchFamily="34" charset="0"/>
                <a:ea typeface="Verdana" panose="020B0604030504040204" pitchFamily="34" charset="0"/>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85800">
              <a:spcBef>
                <a:spcPts val="0"/>
              </a:spcBef>
              <a:spcAft>
                <a:spcPts val="150"/>
              </a:spcAft>
            </a:pPr>
            <a:r>
              <a:rPr lang="en-US" sz="600" dirty="0">
                <a:solidFill>
                  <a:schemeClr val="tx1"/>
                </a:solidFill>
              </a:rPr>
              <a:t>1.Chmielecki J, et al. Oncologist 2015;20:7–12; 2. Kim EK, et al. </a:t>
            </a:r>
            <a:r>
              <a:rPr lang="en-US" sz="600" dirty="0" err="1">
                <a:solidFill>
                  <a:schemeClr val="tx1"/>
                </a:solidFill>
              </a:rPr>
              <a:t>PLoS</a:t>
            </a:r>
            <a:r>
              <a:rPr lang="en-US" sz="600" dirty="0">
                <a:solidFill>
                  <a:schemeClr val="tx1"/>
                </a:solidFill>
              </a:rPr>
              <a:t> One 2017;12:e0171280; 3. </a:t>
            </a:r>
            <a:r>
              <a:rPr lang="en-US" sz="600" dirty="0" err="1">
                <a:solidFill>
                  <a:schemeClr val="tx1"/>
                </a:solidFill>
              </a:rPr>
              <a:t>Skoulidis</a:t>
            </a:r>
            <a:r>
              <a:rPr lang="en-US" sz="600" dirty="0">
                <a:solidFill>
                  <a:schemeClr val="tx1"/>
                </a:solidFill>
              </a:rPr>
              <a:t> F, J V </a:t>
            </a:r>
            <a:r>
              <a:rPr lang="en-US" sz="600" dirty="0" err="1">
                <a:solidFill>
                  <a:schemeClr val="tx1"/>
                </a:solidFill>
              </a:rPr>
              <a:t>Heymatch</a:t>
            </a:r>
            <a:r>
              <a:rPr lang="en-US" sz="600" dirty="0">
                <a:solidFill>
                  <a:schemeClr val="tx1"/>
                </a:solidFill>
              </a:rPr>
              <a:t>. Nat Rev Cancer 2019;19:495–509 4. Jordan EJ, et al. Cancer Discover 2017;7:596–609; 5. Peters S, Zimmermann S. </a:t>
            </a:r>
            <a:r>
              <a:rPr lang="en-US" sz="600" dirty="0" err="1">
                <a:solidFill>
                  <a:schemeClr val="tx1"/>
                </a:solidFill>
              </a:rPr>
              <a:t>Transl</a:t>
            </a:r>
            <a:r>
              <a:rPr lang="en-US" sz="600" dirty="0">
                <a:solidFill>
                  <a:schemeClr val="tx1"/>
                </a:solidFill>
              </a:rPr>
              <a:t> Lung Cancer Res 2014;3:848; 6. Ricciardi GRR, et al. J </a:t>
            </a:r>
            <a:r>
              <a:rPr lang="en-US" sz="600" dirty="0" err="1">
                <a:solidFill>
                  <a:schemeClr val="tx1"/>
                </a:solidFill>
              </a:rPr>
              <a:t>Thorac</a:t>
            </a:r>
            <a:r>
              <a:rPr lang="en-US" sz="600" dirty="0">
                <a:solidFill>
                  <a:schemeClr val="tx1"/>
                </a:solidFill>
              </a:rPr>
              <a:t> Oncol 2014;9:175062</a:t>
            </a:r>
          </a:p>
        </p:txBody>
      </p:sp>
    </p:spTree>
    <p:extLst>
      <p:ext uri="{BB962C8B-B14F-4D97-AF65-F5344CB8AC3E}">
        <p14:creationId xmlns:p14="http://schemas.microsoft.com/office/powerpoint/2010/main" val="14688871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92F980C-A99F-4C31-8ACA-248B1AAE00BB}"/>
              </a:ext>
            </a:extLst>
          </p:cNvPr>
          <p:cNvSpPr>
            <a:spLocks noGrp="1"/>
          </p:cNvSpPr>
          <p:nvPr>
            <p:ph type="title"/>
          </p:nvPr>
        </p:nvSpPr>
        <p:spPr>
          <a:xfrm>
            <a:off x="133080" y="10835"/>
            <a:ext cx="7634795" cy="770400"/>
          </a:xfrm>
        </p:spPr>
        <p:txBody>
          <a:bodyPr/>
          <a:lstStyle/>
          <a:p>
            <a:r>
              <a:rPr lang="ru-RU" dirty="0"/>
              <a:t>Мутации HER2 (ERBB2) при опухолях различных локализаций</a:t>
            </a:r>
            <a:endParaRPr lang="en-US" dirty="0"/>
          </a:p>
        </p:txBody>
      </p:sp>
      <p:sp>
        <p:nvSpPr>
          <p:cNvPr id="4" name="Text Placeholder 4">
            <a:extLst>
              <a:ext uri="{FF2B5EF4-FFF2-40B4-BE49-F238E27FC236}">
                <a16:creationId xmlns:a16="http://schemas.microsoft.com/office/drawing/2014/main" xmlns="" id="{C1092A67-4450-4B6C-ACEE-00B0EB29ED01}"/>
              </a:ext>
            </a:extLst>
          </p:cNvPr>
          <p:cNvSpPr txBox="1">
            <a:spLocks/>
          </p:cNvSpPr>
          <p:nvPr/>
        </p:nvSpPr>
        <p:spPr>
          <a:xfrm>
            <a:off x="133081" y="4532911"/>
            <a:ext cx="8416116" cy="540365"/>
          </a:xfrm>
          <a:prstGeom prst="rect">
            <a:avLst/>
          </a:prstGeom>
        </p:spPr>
        <p:txBody>
          <a:bodyPr lIns="0" rIns="0" anchor="b"/>
          <a:lstStyle>
            <a:lvl1pPr marL="0" indent="0" algn="l" defTabSz="609570" rtl="0" eaLnBrk="1" latinLnBrk="0" hangingPunct="1">
              <a:spcBef>
                <a:spcPct val="20000"/>
              </a:spcBef>
              <a:buFont typeface="Arial" panose="020B0604020202020204" pitchFamily="34" charset="0"/>
              <a:buNone/>
              <a:defRPr kumimoji="1" sz="8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kumimoji="1"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kumimoji="1"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60957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GB" sz="600" b="0" i="0" u="none" strike="noStrike" kern="1200" cap="none" spc="0" normalizeH="0" baseline="30000" noProof="0" dirty="0">
                <a:ln>
                  <a:noFill/>
                </a:ln>
                <a:solidFill>
                  <a:srgbClr val="000000"/>
                </a:solidFill>
                <a:effectLst/>
                <a:uLnTx/>
                <a:uFillTx/>
                <a:latin typeface="Arial"/>
                <a:ea typeface="+mn-ea"/>
                <a:cs typeface="+mn-cs"/>
              </a:rPr>
              <a:t>a</a:t>
            </a:r>
            <a:r>
              <a:rPr kumimoji="1" lang="ru-RU" sz="600" b="0" i="0" u="none" strike="noStrike" kern="1200" cap="none" spc="0" normalizeH="0" baseline="30000" noProof="0" dirty="0">
                <a:ln>
                  <a:noFill/>
                </a:ln>
                <a:solidFill>
                  <a:srgbClr val="000000"/>
                </a:solidFill>
                <a:effectLst/>
                <a:uLnTx/>
                <a:uFillTx/>
                <a:latin typeface="Arial"/>
                <a:ea typeface="+mn-ea"/>
                <a:cs typeface="+mn-cs"/>
              </a:rPr>
              <a:t> </a:t>
            </a:r>
            <a:r>
              <a:rPr kumimoji="1" lang="ru-RU" sz="600" b="0" i="0" u="none" strike="noStrike" kern="1200" cap="none" spc="0" normalizeH="0" baseline="0" noProof="0" dirty="0">
                <a:ln>
                  <a:noFill/>
                </a:ln>
                <a:solidFill>
                  <a:srgbClr val="000000"/>
                </a:solidFill>
                <a:effectLst/>
                <a:uLnTx/>
                <a:uFillTx/>
                <a:latin typeface="Arial"/>
                <a:ea typeface="+mn-ea"/>
                <a:cs typeface="+mn-cs"/>
              </a:rPr>
              <a:t>Размер круга пропорционален частоте типа опухоли и </a:t>
            </a:r>
            <a:r>
              <a:rPr kumimoji="1" lang="ru-RU" sz="600" b="0" i="0" u="none" strike="noStrike" kern="1200" cap="none" spc="0" normalizeH="0" baseline="0" noProof="0" dirty="0" err="1">
                <a:ln>
                  <a:noFill/>
                </a:ln>
                <a:solidFill>
                  <a:srgbClr val="000000"/>
                </a:solidFill>
                <a:effectLst/>
                <a:uLnTx/>
                <a:uFillTx/>
                <a:latin typeface="Arial"/>
                <a:ea typeface="+mn-ea"/>
                <a:cs typeface="+mn-cs"/>
              </a:rPr>
              <a:t>аллеля</a:t>
            </a:r>
            <a:r>
              <a:rPr kumimoji="1" lang="ru-RU" sz="600" b="0" i="0" u="none" strike="noStrike" kern="1200" cap="none" spc="0" normalizeH="0" baseline="0" noProof="0" dirty="0">
                <a:ln>
                  <a:noFill/>
                </a:ln>
                <a:solidFill>
                  <a:srgbClr val="000000"/>
                </a:solidFill>
                <a:effectLst/>
                <a:uLnTx/>
                <a:uFillTx/>
                <a:latin typeface="Arial"/>
                <a:ea typeface="+mn-ea"/>
                <a:cs typeface="+mn-cs"/>
              </a:rPr>
              <a:t>/домена; цвет круга отражает медиану наилучшего процентного изменения </a:t>
            </a:r>
            <a:r>
              <a:rPr kumimoji="1" lang="ru-RU" sz="600" b="0" i="0" u="none" strike="noStrike" kern="1200" cap="none" spc="0" normalizeH="0" baseline="0" noProof="0" dirty="0" err="1">
                <a:ln>
                  <a:noFill/>
                </a:ln>
                <a:solidFill>
                  <a:srgbClr val="000000"/>
                </a:solidFill>
                <a:effectLst/>
                <a:uLnTx/>
                <a:uFillTx/>
                <a:latin typeface="Arial"/>
                <a:ea typeface="+mn-ea"/>
                <a:cs typeface="+mn-cs"/>
              </a:rPr>
              <a:t>таргетного</a:t>
            </a:r>
            <a:r>
              <a:rPr kumimoji="1" lang="ru-RU" sz="600" b="0" i="0" u="none" strike="noStrike" kern="1200" cap="none" spc="0" normalizeH="0" baseline="0" noProof="0" dirty="0">
                <a:ln>
                  <a:noFill/>
                </a:ln>
                <a:solidFill>
                  <a:srgbClr val="000000"/>
                </a:solidFill>
                <a:effectLst/>
                <a:uLnTx/>
                <a:uFillTx/>
                <a:latin typeface="Arial"/>
                <a:ea typeface="+mn-ea"/>
                <a:cs typeface="+mn-cs"/>
              </a:rPr>
              <a:t> очага (любое положительное изменение отмечено белым цветом)</a:t>
            </a:r>
            <a:r>
              <a:rPr kumimoji="1" lang="en-GB" sz="600" b="0" i="0" u="none" strike="noStrike" kern="1200" cap="none" spc="0" normalizeH="0" baseline="0" noProof="0" dirty="0">
                <a:ln>
                  <a:noFill/>
                </a:ln>
                <a:solidFill>
                  <a:srgbClr val="000000"/>
                </a:solidFill>
                <a:effectLst/>
                <a:uLnTx/>
                <a:uFillTx/>
                <a:latin typeface="Arial"/>
                <a:ea typeface="+mn-ea"/>
                <a:cs typeface="+mn-cs"/>
              </a:rPr>
              <a:t/>
            </a:r>
            <a:br>
              <a:rPr kumimoji="1" lang="en-GB" sz="600" b="0" i="0" u="none" strike="noStrike" kern="1200" cap="none" spc="0" normalizeH="0" baseline="0" noProof="0" dirty="0">
                <a:ln>
                  <a:noFill/>
                </a:ln>
                <a:solidFill>
                  <a:srgbClr val="000000"/>
                </a:solidFill>
                <a:effectLst/>
                <a:uLnTx/>
                <a:uFillTx/>
                <a:latin typeface="Arial"/>
                <a:ea typeface="+mn-ea"/>
                <a:cs typeface="+mn-cs"/>
              </a:rPr>
            </a:br>
            <a:r>
              <a:rPr kumimoji="1" lang="en-GB" sz="600" b="0" i="0" u="none" strike="noStrike" kern="1200" cap="none" spc="0" normalizeH="0" baseline="0" noProof="0" dirty="0">
                <a:ln>
                  <a:noFill/>
                </a:ln>
                <a:solidFill>
                  <a:srgbClr val="000000"/>
                </a:solidFill>
                <a:effectLst/>
                <a:uLnTx/>
                <a:uFillTx/>
                <a:latin typeface="Arial"/>
                <a:ea typeface="+mn-ea"/>
                <a:cs typeface="+mn-cs"/>
              </a:rPr>
              <a:t>ECD – </a:t>
            </a:r>
            <a:r>
              <a:rPr kumimoji="1" lang="ru-RU" sz="600" b="0" i="0" u="none" strike="noStrike" kern="1200" cap="none" spc="0" normalizeH="0" baseline="0" noProof="0" dirty="0">
                <a:ln>
                  <a:noFill/>
                </a:ln>
                <a:solidFill>
                  <a:srgbClr val="000000"/>
                </a:solidFill>
                <a:effectLst/>
                <a:uLnTx/>
                <a:uFillTx/>
                <a:latin typeface="Arial"/>
                <a:ea typeface="+mn-ea"/>
                <a:cs typeface="+mn-cs"/>
              </a:rPr>
              <a:t>внеклеточный домен, </a:t>
            </a:r>
            <a:r>
              <a:rPr kumimoji="1" lang="en-GB" sz="600" b="0" i="0" u="none" strike="noStrike" kern="1200" cap="none" spc="0" normalizeH="0" baseline="0" noProof="0" dirty="0">
                <a:ln>
                  <a:noFill/>
                </a:ln>
                <a:solidFill>
                  <a:srgbClr val="000000"/>
                </a:solidFill>
                <a:effectLst/>
                <a:uLnTx/>
                <a:uFillTx/>
                <a:latin typeface="Arial"/>
                <a:ea typeface="+mn-ea"/>
                <a:cs typeface="+mn-cs"/>
              </a:rPr>
              <a:t>Kinase domain – </a:t>
            </a:r>
            <a:r>
              <a:rPr kumimoji="1" lang="ru-RU" sz="600" b="0" i="0" u="none" strike="noStrike" kern="1200" cap="none" spc="0" normalizeH="0" baseline="0" noProof="0" dirty="0" err="1">
                <a:ln>
                  <a:noFill/>
                </a:ln>
                <a:solidFill>
                  <a:srgbClr val="000000"/>
                </a:solidFill>
                <a:effectLst/>
                <a:uLnTx/>
                <a:uFillTx/>
                <a:latin typeface="Arial"/>
                <a:ea typeface="+mn-ea"/>
                <a:cs typeface="+mn-cs"/>
              </a:rPr>
              <a:t>киназный</a:t>
            </a:r>
            <a:r>
              <a:rPr kumimoji="1" lang="ru-RU" sz="600" b="0" i="0" u="none" strike="noStrike" kern="1200" cap="none" spc="0" normalizeH="0" baseline="0" noProof="0" dirty="0">
                <a:ln>
                  <a:noFill/>
                </a:ln>
                <a:solidFill>
                  <a:srgbClr val="000000"/>
                </a:solidFill>
                <a:effectLst/>
                <a:uLnTx/>
                <a:uFillTx/>
                <a:latin typeface="Arial"/>
                <a:ea typeface="+mn-ea"/>
                <a:cs typeface="+mn-cs"/>
              </a:rPr>
              <a:t> домен, </a:t>
            </a:r>
            <a:r>
              <a:rPr kumimoji="1" lang="en-GB" sz="600" b="0" i="0" u="none" strike="noStrike" kern="1200" cap="none" spc="0" normalizeH="0" baseline="0" noProof="0" dirty="0">
                <a:ln>
                  <a:noFill/>
                </a:ln>
                <a:solidFill>
                  <a:srgbClr val="000000"/>
                </a:solidFill>
                <a:effectLst/>
                <a:uLnTx/>
                <a:uFillTx/>
                <a:latin typeface="Arial"/>
                <a:ea typeface="+mn-ea"/>
                <a:cs typeface="+mn-cs"/>
              </a:rPr>
              <a:t>TMD/ICD – </a:t>
            </a:r>
            <a:r>
              <a:rPr kumimoji="1" lang="ru-RU" sz="600" b="0" i="0" u="none" strike="noStrike" kern="1200" cap="none" spc="0" normalizeH="0" baseline="0" noProof="0" dirty="0">
                <a:ln>
                  <a:noFill/>
                </a:ln>
                <a:solidFill>
                  <a:srgbClr val="000000"/>
                </a:solidFill>
                <a:effectLst/>
                <a:uLnTx/>
                <a:uFillTx/>
                <a:latin typeface="Arial"/>
                <a:ea typeface="+mn-ea"/>
                <a:cs typeface="+mn-cs"/>
              </a:rPr>
              <a:t>трансмембранный/внутриклеточный домен, </a:t>
            </a:r>
            <a:r>
              <a:rPr kumimoji="1" lang="en-GB" sz="600" b="0" i="0" u="none" strike="noStrike" kern="1200" cap="none" spc="0" normalizeH="0" baseline="0" noProof="0" dirty="0">
                <a:ln>
                  <a:noFill/>
                </a:ln>
                <a:solidFill>
                  <a:srgbClr val="000000"/>
                </a:solidFill>
                <a:effectLst/>
                <a:uLnTx/>
                <a:uFillTx/>
                <a:latin typeface="Arial"/>
                <a:ea typeface="+mn-ea"/>
                <a:cs typeface="+mn-cs"/>
              </a:rPr>
              <a:t>HER2 (human epidermal growth factor receptor 2) - </a:t>
            </a:r>
            <a:r>
              <a:rPr kumimoji="1" lang="ru-RU" sz="600" b="0" i="0" u="none" strike="noStrike" kern="1200" cap="none" spc="0" normalizeH="0" baseline="0" noProof="0" dirty="0">
                <a:ln>
                  <a:noFill/>
                </a:ln>
                <a:solidFill>
                  <a:srgbClr val="000000"/>
                </a:solidFill>
                <a:effectLst/>
                <a:uLnTx/>
                <a:uFillTx/>
                <a:latin typeface="Arial"/>
                <a:ea typeface="+mn-ea"/>
                <a:cs typeface="+mn-cs"/>
              </a:rPr>
              <a:t>рецептор эпидермального фактора роста человека 2-го типа, КРР – </a:t>
            </a:r>
            <a:r>
              <a:rPr kumimoji="1" lang="ru-RU" sz="600" b="0" i="0" u="none" strike="noStrike" kern="1200" cap="none" spc="0" normalizeH="0" baseline="0" noProof="0" dirty="0" err="1">
                <a:ln>
                  <a:noFill/>
                </a:ln>
                <a:solidFill>
                  <a:srgbClr val="000000"/>
                </a:solidFill>
                <a:effectLst/>
                <a:uLnTx/>
                <a:uFillTx/>
                <a:latin typeface="Arial"/>
                <a:ea typeface="+mn-ea"/>
                <a:cs typeface="+mn-cs"/>
              </a:rPr>
              <a:t>колоректальный</a:t>
            </a:r>
            <a:r>
              <a:rPr kumimoji="1" lang="ru-RU" sz="600" b="0" i="0" u="none" strike="noStrike" kern="1200" cap="none" spc="0" normalizeH="0" baseline="0" noProof="0" dirty="0">
                <a:ln>
                  <a:noFill/>
                </a:ln>
                <a:solidFill>
                  <a:srgbClr val="000000"/>
                </a:solidFill>
                <a:effectLst/>
                <a:uLnTx/>
                <a:uFillTx/>
                <a:latin typeface="Arial"/>
                <a:ea typeface="+mn-ea"/>
                <a:cs typeface="+mn-cs"/>
              </a:rPr>
              <a:t> рак, РМЖ – рак молочной железы</a:t>
            </a:r>
            <a:r>
              <a:rPr kumimoji="1" lang="en-GB" sz="600" b="0" i="0" u="none" strike="noStrike" kern="1200" cap="none" spc="0" normalizeH="0" baseline="0" noProof="0" dirty="0">
                <a:ln>
                  <a:noFill/>
                </a:ln>
                <a:solidFill>
                  <a:srgbClr val="000000"/>
                </a:solidFill>
                <a:effectLst/>
                <a:uLnTx/>
                <a:uFillTx/>
                <a:latin typeface="Arial"/>
                <a:ea typeface="+mn-ea"/>
                <a:cs typeface="+mn-cs"/>
              </a:rPr>
              <a:t/>
            </a:r>
            <a:br>
              <a:rPr kumimoji="1" lang="en-GB" sz="600" b="0" i="0" u="none" strike="noStrike" kern="1200" cap="none" spc="0" normalizeH="0" baseline="0" noProof="0" dirty="0">
                <a:ln>
                  <a:noFill/>
                </a:ln>
                <a:solidFill>
                  <a:srgbClr val="000000"/>
                </a:solidFill>
                <a:effectLst/>
                <a:uLnTx/>
                <a:uFillTx/>
                <a:latin typeface="Arial"/>
                <a:ea typeface="+mn-ea"/>
                <a:cs typeface="+mn-cs"/>
              </a:rPr>
            </a:br>
            <a:r>
              <a:rPr kumimoji="0" lang="ru-RU"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Адаптировано из</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yman DM, et al. Nature 2018;554:189–94; </a:t>
            </a:r>
            <a:r>
              <a:rPr kumimoji="0" lang="en-US"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obichaux</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JP, et al. Cancer Cell 2019;36:444</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7.e7</a:t>
            </a:r>
          </a:p>
        </p:txBody>
      </p:sp>
      <p:pic>
        <p:nvPicPr>
          <p:cNvPr id="32" name="Picture 31">
            <a:extLst>
              <a:ext uri="{FF2B5EF4-FFF2-40B4-BE49-F238E27FC236}">
                <a16:creationId xmlns:a16="http://schemas.microsoft.com/office/drawing/2014/main" xmlns="" id="{BB4557AF-9FC6-42CD-A5FC-089EDFE0C7AF}"/>
              </a:ext>
            </a:extLst>
          </p:cNvPr>
          <p:cNvPicPr>
            <a:picLocks noChangeAspect="1"/>
          </p:cNvPicPr>
          <p:nvPr/>
        </p:nvPicPr>
        <p:blipFill>
          <a:blip r:embed="rId2"/>
          <a:stretch>
            <a:fillRect/>
          </a:stretch>
        </p:blipFill>
        <p:spPr>
          <a:xfrm>
            <a:off x="0" y="737810"/>
            <a:ext cx="9144000" cy="3667880"/>
          </a:xfrm>
          <a:prstGeom prst="rect">
            <a:avLst/>
          </a:prstGeom>
        </p:spPr>
      </p:pic>
    </p:spTree>
    <p:extLst>
      <p:ext uri="{BB962C8B-B14F-4D97-AF65-F5344CB8AC3E}">
        <p14:creationId xmlns:p14="http://schemas.microsoft.com/office/powerpoint/2010/main" val="33354548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FF3A22-F725-4CA3-B524-23484367613A}"/>
              </a:ext>
            </a:extLst>
          </p:cNvPr>
          <p:cNvSpPr>
            <a:spLocks noGrp="1"/>
          </p:cNvSpPr>
          <p:nvPr>
            <p:ph type="title"/>
          </p:nvPr>
        </p:nvSpPr>
        <p:spPr>
          <a:xfrm>
            <a:off x="120467" y="0"/>
            <a:ext cx="8765651" cy="504000"/>
          </a:xfrm>
        </p:spPr>
        <p:txBody>
          <a:bodyPr/>
          <a:lstStyle/>
          <a:p>
            <a:r>
              <a:rPr lang="ru-RU" dirty="0"/>
              <a:t>Амплификация и мутация HER2 при НМРЛ редко совпадают</a:t>
            </a:r>
            <a:endParaRPr lang="en-US" dirty="0"/>
          </a:p>
        </p:txBody>
      </p:sp>
      <p:pic>
        <p:nvPicPr>
          <p:cNvPr id="3" name="Picture 2">
            <a:extLst>
              <a:ext uri="{FF2B5EF4-FFF2-40B4-BE49-F238E27FC236}">
                <a16:creationId xmlns:a16="http://schemas.microsoft.com/office/drawing/2014/main" xmlns="" id="{7C8F4EDE-9D91-4052-9962-6D55BDA0BC5B}"/>
              </a:ext>
            </a:extLst>
          </p:cNvPr>
          <p:cNvPicPr>
            <a:picLocks noChangeAspect="1"/>
          </p:cNvPicPr>
          <p:nvPr/>
        </p:nvPicPr>
        <p:blipFill>
          <a:blip r:embed="rId3"/>
          <a:stretch>
            <a:fillRect/>
          </a:stretch>
        </p:blipFill>
        <p:spPr>
          <a:xfrm>
            <a:off x="189173" y="814797"/>
            <a:ext cx="8628238" cy="3669428"/>
          </a:xfrm>
          <a:prstGeom prst="rect">
            <a:avLst/>
          </a:prstGeom>
        </p:spPr>
      </p:pic>
      <p:sp>
        <p:nvSpPr>
          <p:cNvPr id="5" name="Text Placeholder 4">
            <a:extLst>
              <a:ext uri="{FF2B5EF4-FFF2-40B4-BE49-F238E27FC236}">
                <a16:creationId xmlns:a16="http://schemas.microsoft.com/office/drawing/2014/main" xmlns="" id="{E5D82C5F-D065-4930-9E0E-85B528CA5D41}"/>
              </a:ext>
            </a:extLst>
          </p:cNvPr>
          <p:cNvSpPr txBox="1">
            <a:spLocks/>
          </p:cNvSpPr>
          <p:nvPr/>
        </p:nvSpPr>
        <p:spPr>
          <a:xfrm>
            <a:off x="120468" y="4543022"/>
            <a:ext cx="8433598" cy="504000"/>
          </a:xfrm>
          <a:prstGeom prst="rect">
            <a:avLst/>
          </a:prstGeom>
        </p:spPr>
        <p:txBody>
          <a:bodyPr lIns="0" rIns="0" anchor="b"/>
          <a:lstStyle>
            <a:lvl1pPr marL="0" indent="0" algn="l" defTabSz="609570" rtl="0" eaLnBrk="1" latinLnBrk="0" hangingPunct="1">
              <a:spcBef>
                <a:spcPct val="20000"/>
              </a:spcBef>
              <a:buFont typeface="Arial" panose="020B0604020202020204" pitchFamily="34" charset="0"/>
              <a:buNone/>
              <a:defRPr kumimoji="1" sz="800"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kumimoji="1"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kumimoji="1"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60957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GB" sz="600" b="0" i="0" u="none" strike="noStrike" kern="1200" cap="none" spc="0" normalizeH="0" baseline="0" noProof="0" dirty="0">
                <a:ln>
                  <a:noFill/>
                </a:ln>
                <a:solidFill>
                  <a:srgbClr val="000000"/>
                </a:solidFill>
                <a:effectLst/>
                <a:uLnTx/>
                <a:uFillTx/>
                <a:latin typeface="Arial"/>
                <a:ea typeface="+mn-ea"/>
                <a:cs typeface="+mn-cs"/>
              </a:rPr>
              <a:t>DISH=</a:t>
            </a:r>
            <a:r>
              <a:rPr kumimoji="1" lang="ru-RU" sz="600" b="0" i="0" u="none" strike="noStrike" kern="1200" cap="none" spc="0" normalizeH="0" baseline="0" noProof="0" dirty="0">
                <a:ln>
                  <a:noFill/>
                </a:ln>
                <a:solidFill>
                  <a:srgbClr val="000000"/>
                </a:solidFill>
                <a:effectLst/>
                <a:uLnTx/>
                <a:uFillTx/>
                <a:latin typeface="Arial"/>
                <a:ea typeface="+mn-ea"/>
                <a:cs typeface="+mn-cs"/>
              </a:rPr>
              <a:t>двойная гибридизация</a:t>
            </a:r>
            <a:r>
              <a:rPr kumimoji="1" lang="en-GB" sz="600" b="0" i="0" u="none" strike="noStrike" kern="1200" cap="none" spc="0" normalizeH="0" baseline="0" noProof="0" dirty="0">
                <a:ln>
                  <a:noFill/>
                </a:ln>
                <a:solidFill>
                  <a:srgbClr val="000000"/>
                </a:solidFill>
                <a:effectLst/>
                <a:uLnTx/>
                <a:uFillTx/>
                <a:latin typeface="Arial"/>
                <a:ea typeface="+mn-ea"/>
                <a:cs typeface="+mn-cs"/>
              </a:rPr>
              <a:t> </a:t>
            </a:r>
            <a:r>
              <a:rPr kumimoji="1" lang="en-GB" sz="600" b="0" i="1" u="none" strike="noStrike" kern="1200" cap="none" spc="0" normalizeH="0" baseline="0" noProof="0" dirty="0">
                <a:ln>
                  <a:noFill/>
                </a:ln>
                <a:solidFill>
                  <a:srgbClr val="000000"/>
                </a:solidFill>
                <a:effectLst/>
                <a:uLnTx/>
                <a:uFillTx/>
                <a:latin typeface="Arial"/>
                <a:ea typeface="+mn-ea"/>
                <a:cs typeface="+mn-cs"/>
              </a:rPr>
              <a:t>in situ </a:t>
            </a:r>
            <a:r>
              <a:rPr kumimoji="1" lang="en-GB" sz="600" b="0" i="0" u="none" strike="noStrike" kern="1200" cap="none" spc="0" normalizeH="0" baseline="0" noProof="0" dirty="0">
                <a:ln>
                  <a:noFill/>
                </a:ln>
                <a:solidFill>
                  <a:srgbClr val="000000"/>
                </a:solidFill>
                <a:effectLst/>
                <a:uLnTx/>
                <a:uFillTx/>
                <a:latin typeface="Arial"/>
                <a:ea typeface="+mn-ea"/>
                <a:cs typeface="+mn-cs"/>
              </a:rPr>
              <a:t>; FISH=</a:t>
            </a:r>
            <a:r>
              <a:rPr kumimoji="1" lang="ru-RU" sz="600" b="0" i="0" u="none" strike="noStrike" kern="1200" cap="none" spc="0" normalizeH="0" baseline="0" noProof="0" dirty="0">
                <a:ln>
                  <a:noFill/>
                </a:ln>
                <a:solidFill>
                  <a:srgbClr val="000000"/>
                </a:solidFill>
                <a:effectLst/>
                <a:uLnTx/>
                <a:uFillTx/>
                <a:latin typeface="Arial"/>
                <a:ea typeface="+mn-ea"/>
                <a:cs typeface="+mn-cs"/>
              </a:rPr>
              <a:t>флюоресцентная гибридизация</a:t>
            </a:r>
            <a:r>
              <a:rPr kumimoji="1" lang="en-GB" sz="600" b="0" i="0" u="none" strike="noStrike" kern="1200" cap="none" spc="0" normalizeH="0" baseline="0" noProof="0" dirty="0">
                <a:ln>
                  <a:noFill/>
                </a:ln>
                <a:solidFill>
                  <a:srgbClr val="000000"/>
                </a:solidFill>
                <a:effectLst/>
                <a:uLnTx/>
                <a:uFillTx/>
                <a:latin typeface="Arial"/>
                <a:ea typeface="+mn-ea"/>
                <a:cs typeface="+mn-cs"/>
              </a:rPr>
              <a:t> </a:t>
            </a:r>
            <a:r>
              <a:rPr kumimoji="1" lang="en-GB" sz="600" b="0" i="1" u="none" strike="noStrike" kern="1200" cap="none" spc="0" normalizeH="0" baseline="0" noProof="0" dirty="0">
                <a:ln>
                  <a:noFill/>
                </a:ln>
                <a:solidFill>
                  <a:srgbClr val="000000"/>
                </a:solidFill>
                <a:effectLst/>
                <a:uLnTx/>
                <a:uFillTx/>
                <a:latin typeface="Arial"/>
                <a:ea typeface="+mn-ea"/>
                <a:cs typeface="+mn-cs"/>
              </a:rPr>
              <a:t>in situ</a:t>
            </a:r>
            <a:r>
              <a:rPr kumimoji="1" lang="en-GB" sz="600" b="0" i="0" u="none" strike="noStrike" kern="1200" cap="none" spc="0" normalizeH="0" baseline="0" noProof="0" dirty="0">
                <a:ln>
                  <a:noFill/>
                </a:ln>
                <a:solidFill>
                  <a:srgbClr val="000000"/>
                </a:solidFill>
                <a:effectLst/>
                <a:uLnTx/>
                <a:uFillTx/>
                <a:latin typeface="Arial"/>
                <a:ea typeface="+mn-ea"/>
                <a:cs typeface="+mn-cs"/>
              </a:rPr>
              <a:t>; HER2=</a:t>
            </a:r>
            <a:r>
              <a:rPr kumimoji="1" lang="ru-RU" sz="600" b="0" i="0" u="none" strike="noStrike" kern="1200" cap="none" spc="0" normalizeH="0" baseline="0" noProof="0" dirty="0">
                <a:ln>
                  <a:noFill/>
                </a:ln>
                <a:solidFill>
                  <a:srgbClr val="000000"/>
                </a:solidFill>
                <a:effectLst/>
                <a:uLnTx/>
                <a:uFillTx/>
                <a:latin typeface="Arial"/>
                <a:ea typeface="+mn-ea"/>
                <a:cs typeface="+mn-cs"/>
              </a:rPr>
              <a:t>рецептор эпидермального фактора роста человека 2-го типа</a:t>
            </a:r>
            <a:r>
              <a:rPr kumimoji="1" lang="en-GB" sz="600" b="0" i="0" u="none" strike="noStrike" kern="1200" cap="none" spc="0" normalizeH="0" baseline="0" noProof="0" dirty="0">
                <a:ln>
                  <a:noFill/>
                </a:ln>
                <a:solidFill>
                  <a:srgbClr val="000000"/>
                </a:solidFill>
                <a:effectLst/>
                <a:uLnTx/>
                <a:uFillTx/>
                <a:latin typeface="Arial"/>
                <a:ea typeface="+mn-ea"/>
                <a:cs typeface="+mn-cs"/>
              </a:rPr>
              <a:t>; ISH=</a:t>
            </a:r>
            <a:r>
              <a:rPr kumimoji="1" lang="ru-RU" sz="600" b="0" i="0" u="none" strike="noStrike" kern="1200" cap="none" spc="0" normalizeH="0" baseline="0" noProof="0" dirty="0">
                <a:ln>
                  <a:noFill/>
                </a:ln>
                <a:solidFill>
                  <a:srgbClr val="000000"/>
                </a:solidFill>
                <a:effectLst/>
                <a:uLnTx/>
                <a:uFillTx/>
                <a:latin typeface="Arial"/>
                <a:ea typeface="+mn-ea"/>
                <a:cs typeface="+mn-cs"/>
              </a:rPr>
              <a:t>гибридизация</a:t>
            </a:r>
            <a:r>
              <a:rPr kumimoji="1" lang="en-GB" sz="600" b="0" i="0" u="none" strike="noStrike" kern="1200" cap="none" spc="0" normalizeH="0" baseline="0" noProof="0" dirty="0">
                <a:ln>
                  <a:noFill/>
                </a:ln>
                <a:solidFill>
                  <a:srgbClr val="000000"/>
                </a:solidFill>
                <a:effectLst/>
                <a:uLnTx/>
                <a:uFillTx/>
                <a:latin typeface="Arial"/>
                <a:ea typeface="+mn-ea"/>
                <a:cs typeface="+mn-cs"/>
              </a:rPr>
              <a:t> </a:t>
            </a:r>
            <a:r>
              <a:rPr kumimoji="1" lang="en-GB" sz="600" b="0" i="1" u="none" strike="noStrike" kern="1200" cap="none" spc="0" normalizeH="0" baseline="0" noProof="0" dirty="0">
                <a:ln>
                  <a:noFill/>
                </a:ln>
                <a:solidFill>
                  <a:srgbClr val="000000"/>
                </a:solidFill>
                <a:effectLst/>
                <a:uLnTx/>
                <a:uFillTx/>
                <a:latin typeface="Arial"/>
                <a:ea typeface="+mn-ea"/>
                <a:cs typeface="+mn-cs"/>
              </a:rPr>
              <a:t>in situ</a:t>
            </a:r>
            <a:r>
              <a:rPr kumimoji="1" lang="en-GB" sz="600" b="0" i="0" u="none" strike="noStrike" kern="1200" cap="none" spc="0" normalizeH="0" baseline="0" noProof="0" dirty="0">
                <a:ln>
                  <a:noFill/>
                </a:ln>
                <a:solidFill>
                  <a:srgbClr val="000000"/>
                </a:solidFill>
                <a:effectLst/>
                <a:uLnTx/>
                <a:uFillTx/>
                <a:latin typeface="Arial"/>
                <a:ea typeface="+mn-ea"/>
                <a:cs typeface="+mn-cs"/>
              </a:rPr>
              <a:t>; NGS=</a:t>
            </a:r>
            <a:r>
              <a:rPr kumimoji="1" lang="ru-RU" sz="600" b="0" i="0" u="none" strike="noStrike" kern="1200" cap="none" spc="0" normalizeH="0" baseline="0" noProof="0" dirty="0">
                <a:ln>
                  <a:noFill/>
                </a:ln>
                <a:solidFill>
                  <a:srgbClr val="000000"/>
                </a:solidFill>
                <a:effectLst/>
                <a:uLnTx/>
                <a:uFillTx/>
                <a:latin typeface="Arial"/>
                <a:ea typeface="+mn-ea"/>
                <a:cs typeface="+mn-cs"/>
              </a:rPr>
              <a:t>секвенирование нового поколения</a:t>
            </a:r>
            <a:r>
              <a:rPr kumimoji="1" lang="en-GB" sz="600" b="0" i="0" u="none" strike="noStrike" kern="1200" cap="none" spc="0" normalizeH="0" baseline="0" noProof="0" dirty="0">
                <a:ln>
                  <a:noFill/>
                </a:ln>
                <a:solidFill>
                  <a:srgbClr val="000000"/>
                </a:solidFill>
                <a:effectLst/>
                <a:uLnTx/>
                <a:uFillTx/>
                <a:latin typeface="Arial"/>
                <a:ea typeface="+mn-ea"/>
                <a:cs typeface="+mn-cs"/>
              </a:rPr>
              <a:t>; </a:t>
            </a:r>
            <a:r>
              <a:rPr kumimoji="1" lang="ru-RU" sz="600" b="0" i="0" u="none" strike="noStrike" kern="1200" cap="none" spc="0" normalizeH="0" baseline="0" noProof="0" dirty="0">
                <a:ln>
                  <a:noFill/>
                </a:ln>
                <a:solidFill>
                  <a:srgbClr val="000000"/>
                </a:solidFill>
                <a:effectLst/>
                <a:uLnTx/>
                <a:uFillTx/>
                <a:latin typeface="Arial"/>
                <a:ea typeface="+mn-ea"/>
                <a:cs typeface="+mn-cs"/>
              </a:rPr>
              <a:t>НМРЛ – </a:t>
            </a:r>
            <a:r>
              <a:rPr kumimoji="1" lang="ru-RU" sz="600" b="0" i="0" u="none" strike="noStrike" kern="1200" cap="none" spc="0" normalizeH="0" baseline="0" noProof="0" dirty="0" err="1">
                <a:ln>
                  <a:noFill/>
                </a:ln>
                <a:solidFill>
                  <a:srgbClr val="000000"/>
                </a:solidFill>
                <a:effectLst/>
                <a:uLnTx/>
                <a:uFillTx/>
                <a:latin typeface="Arial"/>
                <a:ea typeface="+mn-ea"/>
                <a:cs typeface="+mn-cs"/>
              </a:rPr>
              <a:t>немелкоклеточный</a:t>
            </a:r>
            <a:r>
              <a:rPr kumimoji="1" lang="ru-RU" sz="600" b="0" i="0" u="none" strike="noStrike" kern="1200" cap="none" spc="0" normalizeH="0" baseline="0" noProof="0" dirty="0">
                <a:ln>
                  <a:noFill/>
                </a:ln>
                <a:solidFill>
                  <a:srgbClr val="000000"/>
                </a:solidFill>
                <a:effectLst/>
                <a:uLnTx/>
                <a:uFillTx/>
                <a:latin typeface="Arial"/>
                <a:ea typeface="+mn-ea"/>
                <a:cs typeface="+mn-cs"/>
              </a:rPr>
              <a:t> рак легкого</a:t>
            </a:r>
            <a:r>
              <a:rPr kumimoji="1" lang="en-GB" sz="600" b="0" i="0" u="none" strike="noStrike" kern="1200" cap="none" spc="0" normalizeH="0" baseline="0" noProof="0" dirty="0">
                <a:ln>
                  <a:noFill/>
                </a:ln>
                <a:solidFill>
                  <a:srgbClr val="000000"/>
                </a:solidFill>
                <a:effectLst/>
                <a:uLnTx/>
                <a:uFillTx/>
                <a:latin typeface="Arial"/>
                <a:ea typeface="+mn-ea"/>
                <a:cs typeface="+mn-cs"/>
              </a:rPr>
              <a:t>; TCGA=The Cancer Genome Atlas </a:t>
            </a:r>
            <a:endParaRPr kumimoji="1" lang="ru-RU" sz="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0957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1" lang="en-GB" sz="600" b="0" i="0" u="none" strike="noStrike" kern="1200" cap="none" spc="0" normalizeH="0" baseline="0" noProof="0" dirty="0">
                <a:ln>
                  <a:noFill/>
                </a:ln>
                <a:solidFill>
                  <a:srgbClr val="000000"/>
                </a:solidFill>
                <a:effectLst/>
                <a:uLnTx/>
                <a:uFillTx/>
                <a:latin typeface="Arial"/>
                <a:ea typeface="+mn-ea"/>
                <a:cs typeface="+mn-cs"/>
              </a:rPr>
              <a:t/>
            </a:r>
            <a:br>
              <a:rPr kumimoji="1" lang="en-GB" sz="600" b="0" i="0" u="none" strike="noStrike" kern="1200" cap="none" spc="0" normalizeH="0" baseline="0" noProof="0" dirty="0">
                <a:ln>
                  <a:noFill/>
                </a:ln>
                <a:solidFill>
                  <a:srgbClr val="000000"/>
                </a:solidFill>
                <a:effectLst/>
                <a:uLnTx/>
                <a:uFillTx/>
                <a:latin typeface="Arial"/>
                <a:ea typeface="+mn-ea"/>
                <a:cs typeface="+mn-cs"/>
              </a:rPr>
            </a:br>
            <a:r>
              <a:rPr kumimoji="1" lang="en-GB" sz="600" b="0" i="0" u="none" strike="noStrike" kern="1200" cap="none" spc="0" normalizeH="0" baseline="0" noProof="0" dirty="0">
                <a:ln>
                  <a:noFill/>
                </a:ln>
                <a:solidFill>
                  <a:srgbClr val="000000"/>
                </a:solidFill>
                <a:effectLst/>
                <a:uLnTx/>
                <a:uFillTx/>
                <a:latin typeface="Arial"/>
                <a:ea typeface="+mn-ea"/>
                <a:cs typeface="+mn-cs"/>
              </a:rPr>
              <a:t>1. Li BT, et al. J </a:t>
            </a:r>
            <a:r>
              <a:rPr kumimoji="1" lang="en-GB" sz="600" b="0" i="0" u="none" strike="noStrike" kern="1200" cap="none" spc="0" normalizeH="0" baseline="0" noProof="0" dirty="0" err="1">
                <a:ln>
                  <a:noFill/>
                </a:ln>
                <a:solidFill>
                  <a:srgbClr val="000000"/>
                </a:solidFill>
                <a:effectLst/>
                <a:uLnTx/>
                <a:uFillTx/>
                <a:latin typeface="Arial"/>
                <a:ea typeface="+mn-ea"/>
                <a:cs typeface="+mn-cs"/>
              </a:rPr>
              <a:t>Thorac</a:t>
            </a:r>
            <a:r>
              <a:rPr kumimoji="1" lang="en-GB" sz="600" b="0" i="0" u="none" strike="noStrike" kern="1200" cap="none" spc="0" normalizeH="0" baseline="0" noProof="0" dirty="0">
                <a:ln>
                  <a:noFill/>
                </a:ln>
                <a:solidFill>
                  <a:srgbClr val="000000"/>
                </a:solidFill>
                <a:effectLst/>
                <a:uLnTx/>
                <a:uFillTx/>
                <a:latin typeface="Arial"/>
                <a:ea typeface="+mn-ea"/>
                <a:cs typeface="+mn-cs"/>
              </a:rPr>
              <a:t> Oncol 2016;11:414</a:t>
            </a:r>
            <a:r>
              <a:rPr kumimoji="1" lang="en-GB" sz="600" b="0" i="0" u="none" strike="noStrike" kern="1200" cap="none" spc="0" normalizeH="0" baseline="0" noProof="0" dirty="0">
                <a:ln>
                  <a:noFill/>
                </a:ln>
                <a:solidFill>
                  <a:srgbClr val="000000"/>
                </a:solidFill>
                <a:effectLst/>
                <a:uLnTx/>
                <a:uFillTx/>
                <a:latin typeface="Arial"/>
                <a:ea typeface="+mn-ea"/>
                <a:cs typeface="+mn-cs"/>
                <a:sym typeface="Symbol" panose="05050102010706020507" pitchFamily="18" charset="2"/>
              </a:rPr>
              <a:t></a:t>
            </a:r>
            <a:r>
              <a:rPr kumimoji="1" lang="en-GB" sz="600" b="0" i="0" u="none" strike="noStrike" kern="1200" cap="none" spc="0" normalizeH="0" baseline="0" noProof="0" dirty="0">
                <a:ln>
                  <a:noFill/>
                </a:ln>
                <a:solidFill>
                  <a:srgbClr val="000000"/>
                </a:solidFill>
                <a:effectLst/>
                <a:uLnTx/>
                <a:uFillTx/>
                <a:latin typeface="Arial"/>
                <a:ea typeface="+mn-ea"/>
                <a:cs typeface="+mn-cs"/>
              </a:rPr>
              <a:t>9; 2. Cancer Genome Atlas Research Network. Nature 2014;511:543</a:t>
            </a:r>
            <a:r>
              <a:rPr kumimoji="1" lang="en-GB" sz="600" b="0" i="0" u="none" strike="noStrike" kern="1200" cap="none" spc="0" normalizeH="0" baseline="0" noProof="0" dirty="0">
                <a:ln>
                  <a:noFill/>
                </a:ln>
                <a:solidFill>
                  <a:srgbClr val="000000"/>
                </a:solidFill>
                <a:effectLst/>
                <a:uLnTx/>
                <a:uFillTx/>
                <a:latin typeface="Arial"/>
                <a:ea typeface="+mn-ea"/>
                <a:cs typeface="+mn-cs"/>
                <a:sym typeface="Symbol" panose="05050102010706020507" pitchFamily="18" charset="2"/>
              </a:rPr>
              <a:t></a:t>
            </a:r>
            <a:r>
              <a:rPr kumimoji="1" lang="en-GB" sz="600" b="0" i="0" u="none" strike="noStrike" kern="1200" cap="none" spc="0" normalizeH="0" baseline="0" noProof="0" dirty="0">
                <a:ln>
                  <a:noFill/>
                </a:ln>
                <a:solidFill>
                  <a:srgbClr val="000000"/>
                </a:solidFill>
                <a:effectLst/>
                <a:uLnTx/>
                <a:uFillTx/>
                <a:latin typeface="Arial"/>
                <a:ea typeface="+mn-ea"/>
                <a:cs typeface="+mn-cs"/>
              </a:rPr>
              <a:t>50; 3. </a:t>
            </a:r>
            <a:r>
              <a:rPr kumimoji="1" lang="fr-FR" sz="600" b="0" i="0" u="none" strike="noStrike" kern="1200" cap="none" spc="0" normalizeH="0" baseline="0" noProof="0" dirty="0" err="1">
                <a:ln>
                  <a:noFill/>
                </a:ln>
                <a:solidFill>
                  <a:srgbClr val="000000"/>
                </a:solidFill>
                <a:effectLst/>
                <a:uLnTx/>
                <a:uFillTx/>
                <a:latin typeface="Arial"/>
                <a:ea typeface="+mn-ea"/>
                <a:cs typeface="+mn-cs"/>
              </a:rPr>
              <a:t>Arcila</a:t>
            </a:r>
            <a:r>
              <a:rPr kumimoji="1" lang="fr-FR" sz="600" b="0" i="0" u="none" strike="noStrike" kern="1200" cap="none" spc="0" normalizeH="0" baseline="0" noProof="0" dirty="0">
                <a:ln>
                  <a:noFill/>
                </a:ln>
                <a:solidFill>
                  <a:srgbClr val="000000"/>
                </a:solidFill>
                <a:effectLst/>
                <a:uLnTx/>
                <a:uFillTx/>
                <a:latin typeface="Arial"/>
                <a:ea typeface="+mn-ea"/>
                <a:cs typeface="+mn-cs"/>
              </a:rPr>
              <a:t> ME, et al. Clin Cancer </a:t>
            </a:r>
            <a:r>
              <a:rPr kumimoji="1" lang="fr-FR" sz="600" b="0" i="0" u="none" strike="noStrike" kern="1200" cap="none" spc="0" normalizeH="0" baseline="0" noProof="0" dirty="0" err="1">
                <a:ln>
                  <a:noFill/>
                </a:ln>
                <a:solidFill>
                  <a:srgbClr val="000000"/>
                </a:solidFill>
                <a:effectLst/>
                <a:uLnTx/>
                <a:uFillTx/>
                <a:latin typeface="Arial"/>
                <a:ea typeface="+mn-ea"/>
                <a:cs typeface="+mn-cs"/>
              </a:rPr>
              <a:t>Res</a:t>
            </a:r>
            <a:r>
              <a:rPr kumimoji="1" lang="fr-FR" sz="600" b="0" i="0" u="none" strike="noStrike" kern="1200" cap="none" spc="0" normalizeH="0" baseline="0" noProof="0" dirty="0">
                <a:ln>
                  <a:noFill/>
                </a:ln>
                <a:solidFill>
                  <a:srgbClr val="000000"/>
                </a:solidFill>
                <a:effectLst/>
                <a:uLnTx/>
                <a:uFillTx/>
                <a:latin typeface="Arial"/>
                <a:ea typeface="+mn-ea"/>
                <a:cs typeface="+mn-cs"/>
              </a:rPr>
              <a:t> 2012;18:4910–8; 4. Li C, et al. J </a:t>
            </a:r>
            <a:r>
              <a:rPr kumimoji="1" lang="fr-FR" sz="600" b="0" i="0" u="none" strike="noStrike" kern="1200" cap="none" spc="0" normalizeH="0" baseline="0" noProof="0" dirty="0" err="1">
                <a:ln>
                  <a:noFill/>
                </a:ln>
                <a:solidFill>
                  <a:srgbClr val="000000"/>
                </a:solidFill>
                <a:effectLst/>
                <a:uLnTx/>
                <a:uFillTx/>
                <a:latin typeface="Arial"/>
                <a:ea typeface="+mn-ea"/>
                <a:cs typeface="+mn-cs"/>
              </a:rPr>
              <a:t>Thorac</a:t>
            </a:r>
            <a:r>
              <a:rPr kumimoji="1" lang="fr-FR" sz="600" b="0" i="0" u="none" strike="noStrike" kern="1200" cap="none" spc="0" normalizeH="0" baseline="0" noProof="0" dirty="0">
                <a:ln>
                  <a:noFill/>
                </a:ln>
                <a:solidFill>
                  <a:srgbClr val="000000"/>
                </a:solidFill>
                <a:effectLst/>
                <a:uLnTx/>
                <a:uFillTx/>
                <a:latin typeface="Arial"/>
                <a:ea typeface="+mn-ea"/>
                <a:cs typeface="+mn-cs"/>
              </a:rPr>
              <a:t> Oncol 2012;7:85</a:t>
            </a:r>
            <a:r>
              <a:rPr kumimoji="1" lang="fr-FR" sz="600" b="0" i="0" u="none" strike="noStrike" kern="1200" cap="none" spc="0" normalizeH="0" baseline="0" noProof="0" dirty="0">
                <a:ln>
                  <a:noFill/>
                </a:ln>
                <a:solidFill>
                  <a:srgbClr val="000000"/>
                </a:solidFill>
                <a:effectLst/>
                <a:uLnTx/>
                <a:uFillTx/>
                <a:latin typeface="Arial"/>
                <a:ea typeface="+mn-ea"/>
                <a:cs typeface="+mn-cs"/>
                <a:sym typeface="Symbol" panose="05050102010706020507" pitchFamily="18" charset="2"/>
              </a:rPr>
              <a:t></a:t>
            </a:r>
            <a:r>
              <a:rPr kumimoji="1" lang="fr-FR" sz="600" b="0" i="0" u="none" strike="noStrike" kern="1200" cap="none" spc="0" normalizeH="0" baseline="0" noProof="0" dirty="0">
                <a:ln>
                  <a:noFill/>
                </a:ln>
                <a:solidFill>
                  <a:srgbClr val="000000"/>
                </a:solidFill>
                <a:effectLst/>
                <a:uLnTx/>
                <a:uFillTx/>
                <a:latin typeface="Arial"/>
                <a:ea typeface="+mn-ea"/>
                <a:cs typeface="+mn-cs"/>
              </a:rPr>
              <a:t>9; 5. Mazi</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ères J, et al. J Clin </a:t>
            </a:r>
            <a:r>
              <a:rPr kumimoji="1" lang="fr-FR" sz="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ncol</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3;31:1997</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03; 6. Yoshizawa A, et al. Lung Cancer 2014;85:373</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 7. Suzuki M, et al. Lung Cancer 2015;87:14</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Symbol" panose="05050102010706020507" pitchFamily="18" charset="2"/>
              </a:rPr>
              <a:t></a:t>
            </a:r>
            <a:r>
              <a:rPr kumimoji="1" lang="fr-FR"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endParaRPr kumimoji="1" lang="en-GB" sz="6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458115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xmlns="" id="{1BC165F5-D65E-9C93-6A9C-251F194FBCF5}"/>
              </a:ext>
            </a:extLst>
          </p:cNvPr>
          <p:cNvSpPr>
            <a:spLocks noGrp="1"/>
          </p:cNvSpPr>
          <p:nvPr>
            <p:ph type="title"/>
          </p:nvPr>
        </p:nvSpPr>
        <p:spPr/>
        <p:txBody>
          <a:bodyPr/>
          <a:lstStyle/>
          <a:p>
            <a:r>
              <a:rPr lang="ru-RU" dirty="0"/>
              <a:t>Мутации </a:t>
            </a:r>
            <a:r>
              <a:rPr lang="ru-RU" i="1" dirty="0"/>
              <a:t>HER2</a:t>
            </a:r>
            <a:r>
              <a:rPr lang="ru-RU" dirty="0"/>
              <a:t> при НМРЛ могут иметь различную локализацию</a:t>
            </a:r>
          </a:p>
        </p:txBody>
      </p:sp>
      <p:sp>
        <p:nvSpPr>
          <p:cNvPr id="6" name="Text Placeholder 15">
            <a:extLst>
              <a:ext uri="{FF2B5EF4-FFF2-40B4-BE49-F238E27FC236}">
                <a16:creationId xmlns:a16="http://schemas.microsoft.com/office/drawing/2014/main" xmlns="" id="{EED6A1DE-BBC0-DC1C-67B2-23E0D4EB2398}"/>
              </a:ext>
            </a:extLst>
          </p:cNvPr>
          <p:cNvSpPr txBox="1">
            <a:spLocks/>
          </p:cNvSpPr>
          <p:nvPr/>
        </p:nvSpPr>
        <p:spPr>
          <a:xfrm>
            <a:off x="326514" y="4482025"/>
            <a:ext cx="8189272" cy="562457"/>
          </a:xfrm>
          <a:prstGeom prst="rect">
            <a:avLst/>
          </a:prstGeom>
        </p:spPr>
        <p:txBody>
          <a:bodyPr vert="horz" lIns="0" tIns="45720" rIns="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 sz="600" i="1" dirty="0"/>
              <a:t>HER2</a:t>
            </a:r>
            <a:r>
              <a:rPr lang="en" sz="600" dirty="0"/>
              <a:t> — рецептор эпидермального фактора роста человека 2-го типа; НМРЛ — немелкоклеточный рак легкого.</a:t>
            </a:r>
            <a:r>
              <a:rPr lang="ru-RU" sz="600" dirty="0"/>
              <a:t> ТМ- трансмембранный домен</a:t>
            </a:r>
            <a:r>
              <a:rPr lang="en" sz="600" dirty="0"/>
              <a:t> 
</a:t>
            </a:r>
            <a:r>
              <a:rPr lang="ru" sz="600" dirty="0"/>
              <a:t>1. Jebbink M et al. Cancer Treat Rev 2020; 86:101996. [Epub]. 2. Pillai RN et al. Cancer. 2017;123(21):4099-4105. 3. Mazières J et al. J Clin Oncol. 2013;31(16):1997-2003. 4. Wang SE et al. Cancer Cell. 2006; 10(1): 25-38. </a:t>
            </a:r>
          </a:p>
        </p:txBody>
      </p:sp>
      <p:sp>
        <p:nvSpPr>
          <p:cNvPr id="7" name="Text Placeholder 18">
            <a:extLst>
              <a:ext uri="{FF2B5EF4-FFF2-40B4-BE49-F238E27FC236}">
                <a16:creationId xmlns:a16="http://schemas.microsoft.com/office/drawing/2014/main" xmlns="" id="{EDF66BD9-40CB-C028-C2CD-F51FCD24B163}"/>
              </a:ext>
            </a:extLst>
          </p:cNvPr>
          <p:cNvSpPr txBox="1">
            <a:spLocks/>
          </p:cNvSpPr>
          <p:nvPr/>
        </p:nvSpPr>
        <p:spPr>
          <a:xfrm>
            <a:off x="256942" y="978233"/>
            <a:ext cx="7937897" cy="406551"/>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ru" sz="1125" b="1" dirty="0"/>
              <a:t>При НМРЛ может возникать множество мутаций </a:t>
            </a:r>
            <a:r>
              <a:rPr lang="en" sz="1125" b="1" i="1" dirty="0"/>
              <a:t>HER2</a:t>
            </a:r>
            <a:r>
              <a:rPr lang="en" sz="1125" b="1" dirty="0"/>
              <a:t>, однако большинство из них — вставки экзона 20</a:t>
            </a:r>
            <a:r>
              <a:rPr lang="ru-RU" sz="1125" b="1" baseline="30000" dirty="0"/>
              <a:t>1</a:t>
            </a:r>
            <a:r>
              <a:rPr lang="en" sz="1125" b="1" dirty="0"/>
              <a:t> </a:t>
            </a:r>
          </a:p>
        </p:txBody>
      </p:sp>
      <p:sp>
        <p:nvSpPr>
          <p:cNvPr id="11" name="Прямоугольник 10">
            <a:extLst>
              <a:ext uri="{FF2B5EF4-FFF2-40B4-BE49-F238E27FC236}">
                <a16:creationId xmlns:a16="http://schemas.microsoft.com/office/drawing/2014/main" xmlns="" id="{DC905BD3-6C48-F3A7-2D13-D529C07D2ED3}"/>
              </a:ext>
            </a:extLst>
          </p:cNvPr>
          <p:cNvSpPr/>
          <p:nvPr/>
        </p:nvSpPr>
        <p:spPr>
          <a:xfrm>
            <a:off x="1412190" y="2151341"/>
            <a:ext cx="490271" cy="61555"/>
          </a:xfrm>
          <a:prstGeom prst="rect">
            <a:avLst/>
          </a:prstGeom>
        </p:spPr>
        <p:txBody>
          <a:bodyPr wrap="square" lIns="0" tIns="0" rIns="0" bIns="0" rtlCol="0">
            <a:spAutoFit/>
          </a:bodyPr>
          <a:lstStyle/>
          <a:p>
            <a:pPr algn="ctr" defTabSz="457189">
              <a:defRPr/>
            </a:pPr>
            <a:r>
              <a:rPr lang="ru" sz="400">
                <a:solidFill>
                  <a:srgbClr val="000000"/>
                </a:solidFill>
                <a:latin typeface="Arial"/>
              </a:rPr>
              <a:t>Домен рецептора L</a:t>
            </a:r>
            <a:endParaRPr lang="ru-RU" sz="400" dirty="0">
              <a:solidFill>
                <a:srgbClr val="000000"/>
              </a:solidFill>
              <a:latin typeface="Arial"/>
            </a:endParaRPr>
          </a:p>
        </p:txBody>
      </p:sp>
      <p:sp>
        <p:nvSpPr>
          <p:cNvPr id="12" name="Прямоугольник 11">
            <a:extLst>
              <a:ext uri="{FF2B5EF4-FFF2-40B4-BE49-F238E27FC236}">
                <a16:creationId xmlns:a16="http://schemas.microsoft.com/office/drawing/2014/main" xmlns="" id="{E90EF753-48D9-2923-9A8E-5C1BCA1D9052}"/>
              </a:ext>
            </a:extLst>
          </p:cNvPr>
          <p:cNvSpPr/>
          <p:nvPr/>
        </p:nvSpPr>
        <p:spPr>
          <a:xfrm>
            <a:off x="2870150" y="2151341"/>
            <a:ext cx="490271" cy="61555"/>
          </a:xfrm>
          <a:prstGeom prst="rect">
            <a:avLst/>
          </a:prstGeom>
        </p:spPr>
        <p:txBody>
          <a:bodyPr wrap="square" lIns="0" tIns="0" rIns="0" bIns="0" rtlCol="0">
            <a:spAutoFit/>
          </a:bodyPr>
          <a:lstStyle/>
          <a:p>
            <a:pPr algn="ctr" defTabSz="457189">
              <a:defRPr/>
            </a:pPr>
            <a:r>
              <a:rPr lang="ru" sz="400">
                <a:solidFill>
                  <a:srgbClr val="000000"/>
                </a:solidFill>
                <a:latin typeface="Arial"/>
              </a:rPr>
              <a:t>Домен рецептора L</a:t>
            </a:r>
            <a:endParaRPr lang="ru-RU" sz="400" dirty="0">
              <a:solidFill>
                <a:srgbClr val="000000"/>
              </a:solidFill>
              <a:latin typeface="Arial"/>
            </a:endParaRPr>
          </a:p>
        </p:txBody>
      </p:sp>
      <p:sp>
        <p:nvSpPr>
          <p:cNvPr id="13" name="Прямоугольник 12">
            <a:extLst>
              <a:ext uri="{FF2B5EF4-FFF2-40B4-BE49-F238E27FC236}">
                <a16:creationId xmlns:a16="http://schemas.microsoft.com/office/drawing/2014/main" xmlns="" id="{88095DE6-3EB3-6C9C-55A8-1C29408CEAAF}"/>
              </a:ext>
            </a:extLst>
          </p:cNvPr>
          <p:cNvSpPr/>
          <p:nvPr/>
        </p:nvSpPr>
        <p:spPr>
          <a:xfrm>
            <a:off x="2131010" y="2089786"/>
            <a:ext cx="490271" cy="184666"/>
          </a:xfrm>
          <a:prstGeom prst="rect">
            <a:avLst/>
          </a:prstGeom>
        </p:spPr>
        <p:txBody>
          <a:bodyPr wrap="square" lIns="0" tIns="0" rIns="0" bIns="0" rtlCol="0">
            <a:spAutoFit/>
          </a:bodyPr>
          <a:lstStyle/>
          <a:p>
            <a:pPr algn="ctr" defTabSz="457189">
              <a:defRPr/>
            </a:pPr>
            <a:r>
              <a:rPr lang="ru" sz="400" dirty="0">
                <a:solidFill>
                  <a:srgbClr val="000000"/>
                </a:solidFill>
                <a:latin typeface="Arial"/>
              </a:rPr>
              <a:t>Фуриноподобный домен, богатый цистеином</a:t>
            </a:r>
            <a:endParaRPr lang="ru-RU" sz="400" dirty="0">
              <a:solidFill>
                <a:srgbClr val="000000"/>
              </a:solidFill>
              <a:latin typeface="Arial"/>
            </a:endParaRPr>
          </a:p>
        </p:txBody>
      </p:sp>
      <p:sp>
        <p:nvSpPr>
          <p:cNvPr id="14" name="Прямоугольник 13">
            <a:extLst>
              <a:ext uri="{FF2B5EF4-FFF2-40B4-BE49-F238E27FC236}">
                <a16:creationId xmlns:a16="http://schemas.microsoft.com/office/drawing/2014/main" xmlns="" id="{39026D58-0CC8-4BF4-B1BD-B9193AF6EB39}"/>
              </a:ext>
            </a:extLst>
          </p:cNvPr>
          <p:cNvSpPr/>
          <p:nvPr/>
        </p:nvSpPr>
        <p:spPr>
          <a:xfrm>
            <a:off x="3507690" y="2120563"/>
            <a:ext cx="604571" cy="123111"/>
          </a:xfrm>
          <a:prstGeom prst="rect">
            <a:avLst/>
          </a:prstGeom>
        </p:spPr>
        <p:txBody>
          <a:bodyPr wrap="square" lIns="0" tIns="0" rIns="0" bIns="0" rtlCol="0">
            <a:spAutoFit/>
          </a:bodyPr>
          <a:lstStyle/>
          <a:p>
            <a:pPr algn="ctr" defTabSz="457189">
              <a:defRPr/>
            </a:pPr>
            <a:r>
              <a:rPr lang="ru" sz="400">
                <a:solidFill>
                  <a:srgbClr val="000000"/>
                </a:solidFill>
                <a:latin typeface="Arial"/>
              </a:rPr>
              <a:t>Домен IV рецептора фактора роста</a:t>
            </a:r>
            <a:endParaRPr lang="ru-RU" sz="400" dirty="0">
              <a:solidFill>
                <a:srgbClr val="000000"/>
              </a:solidFill>
              <a:latin typeface="Arial"/>
            </a:endParaRPr>
          </a:p>
        </p:txBody>
      </p:sp>
      <p:sp>
        <p:nvSpPr>
          <p:cNvPr id="15" name="Прямоугольник 14">
            <a:extLst>
              <a:ext uri="{FF2B5EF4-FFF2-40B4-BE49-F238E27FC236}">
                <a16:creationId xmlns:a16="http://schemas.microsoft.com/office/drawing/2014/main" xmlns="" id="{56BC5DAC-D19D-9109-FFED-D82FD92C0D5E}"/>
              </a:ext>
            </a:extLst>
          </p:cNvPr>
          <p:cNvSpPr/>
          <p:nvPr/>
        </p:nvSpPr>
        <p:spPr>
          <a:xfrm>
            <a:off x="4262540" y="2151341"/>
            <a:ext cx="144780" cy="61555"/>
          </a:xfrm>
          <a:prstGeom prst="rect">
            <a:avLst/>
          </a:prstGeom>
        </p:spPr>
        <p:txBody>
          <a:bodyPr wrap="square" lIns="0" tIns="0" rIns="0" bIns="0" rtlCol="0">
            <a:spAutoFit/>
          </a:bodyPr>
          <a:lstStyle/>
          <a:p>
            <a:pPr algn="ctr" defTabSz="457189">
              <a:defRPr/>
            </a:pPr>
            <a:r>
              <a:rPr lang="ru" sz="400">
                <a:solidFill>
                  <a:srgbClr val="000000"/>
                </a:solidFill>
                <a:latin typeface="Arial"/>
              </a:rPr>
              <a:t>TM</a:t>
            </a:r>
            <a:endParaRPr lang="ru-RU" sz="400" dirty="0">
              <a:solidFill>
                <a:srgbClr val="000000"/>
              </a:solidFill>
              <a:latin typeface="Arial"/>
            </a:endParaRPr>
          </a:p>
        </p:txBody>
      </p:sp>
      <p:sp>
        <p:nvSpPr>
          <p:cNvPr id="16" name="Прямоугольник 15">
            <a:extLst>
              <a:ext uri="{FF2B5EF4-FFF2-40B4-BE49-F238E27FC236}">
                <a16:creationId xmlns:a16="http://schemas.microsoft.com/office/drawing/2014/main" xmlns="" id="{FF023B98-52FA-9D58-AB4B-DF3D6D244D3C}"/>
              </a:ext>
            </a:extLst>
          </p:cNvPr>
          <p:cNvSpPr/>
          <p:nvPr/>
        </p:nvSpPr>
        <p:spPr>
          <a:xfrm>
            <a:off x="5180261" y="2151341"/>
            <a:ext cx="1120191" cy="61555"/>
          </a:xfrm>
          <a:prstGeom prst="rect">
            <a:avLst/>
          </a:prstGeom>
        </p:spPr>
        <p:txBody>
          <a:bodyPr wrap="square" lIns="0" tIns="0" rIns="0" bIns="0" rtlCol="0">
            <a:spAutoFit/>
          </a:bodyPr>
          <a:lstStyle/>
          <a:p>
            <a:pPr algn="ctr" defTabSz="457189">
              <a:defRPr/>
            </a:pPr>
            <a:r>
              <a:rPr lang="ru-RU" sz="400" dirty="0">
                <a:solidFill>
                  <a:srgbClr val="000000"/>
                </a:solidFill>
                <a:latin typeface="Arial"/>
              </a:rPr>
              <a:t>Т</a:t>
            </a:r>
            <a:r>
              <a:rPr lang="ru" sz="400" dirty="0">
                <a:solidFill>
                  <a:srgbClr val="000000"/>
                </a:solidFill>
                <a:latin typeface="Arial"/>
              </a:rPr>
              <a:t>ирозинкиназный домен</a:t>
            </a:r>
            <a:endParaRPr lang="ru-RU" sz="400" dirty="0">
              <a:solidFill>
                <a:srgbClr val="000000"/>
              </a:solidFill>
              <a:latin typeface="Arial"/>
            </a:endParaRPr>
          </a:p>
        </p:txBody>
      </p:sp>
      <p:sp>
        <p:nvSpPr>
          <p:cNvPr id="17" name="Прямоугольник 16">
            <a:extLst>
              <a:ext uri="{FF2B5EF4-FFF2-40B4-BE49-F238E27FC236}">
                <a16:creationId xmlns:a16="http://schemas.microsoft.com/office/drawing/2014/main" xmlns="" id="{CC8E622D-6A94-189E-8206-30A3A81ABDAF}"/>
              </a:ext>
            </a:extLst>
          </p:cNvPr>
          <p:cNvSpPr/>
          <p:nvPr/>
        </p:nvSpPr>
        <p:spPr>
          <a:xfrm>
            <a:off x="5057090" y="2392641"/>
            <a:ext cx="330251" cy="92333"/>
          </a:xfrm>
          <a:prstGeom prst="rect">
            <a:avLst/>
          </a:prstGeom>
        </p:spPr>
        <p:txBody>
          <a:bodyPr wrap="square" lIns="0" tIns="0" rIns="0" bIns="0" rtlCol="0">
            <a:spAutoFit/>
          </a:bodyPr>
          <a:lstStyle/>
          <a:p>
            <a:pPr algn="ctr" defTabSz="457189">
              <a:defRPr/>
            </a:pPr>
            <a:r>
              <a:rPr lang="ru" sz="600" dirty="0">
                <a:solidFill>
                  <a:srgbClr val="000000"/>
                </a:solidFill>
                <a:latin typeface="Arial"/>
              </a:rPr>
              <a:t>экзон 20</a:t>
            </a:r>
            <a:endParaRPr lang="ru-RU" sz="600" dirty="0">
              <a:solidFill>
                <a:srgbClr val="000000"/>
              </a:solidFill>
              <a:latin typeface="Arial"/>
            </a:endParaRPr>
          </a:p>
        </p:txBody>
      </p:sp>
      <p:grpSp>
        <p:nvGrpSpPr>
          <p:cNvPr id="28" name="Group 27">
            <a:extLst>
              <a:ext uri="{FF2B5EF4-FFF2-40B4-BE49-F238E27FC236}">
                <a16:creationId xmlns:a16="http://schemas.microsoft.com/office/drawing/2014/main" xmlns="" id="{31667BDD-4A0E-4180-992C-806FCB1C5F84}"/>
              </a:ext>
            </a:extLst>
          </p:cNvPr>
          <p:cNvGrpSpPr/>
          <p:nvPr/>
        </p:nvGrpSpPr>
        <p:grpSpPr>
          <a:xfrm>
            <a:off x="315459" y="1147683"/>
            <a:ext cx="7995919" cy="3489542"/>
            <a:chOff x="985521" y="1147683"/>
            <a:chExt cx="7995919" cy="3489542"/>
          </a:xfrm>
        </p:grpSpPr>
        <p:pic>
          <p:nvPicPr>
            <p:cNvPr id="5" name="Picture 2">
              <a:extLst>
                <a:ext uri="{FF2B5EF4-FFF2-40B4-BE49-F238E27FC236}">
                  <a16:creationId xmlns:a16="http://schemas.microsoft.com/office/drawing/2014/main" xmlns="" id="{39C1D26B-6492-D7F1-A580-EB7CD841F691}"/>
                </a:ext>
              </a:extLst>
            </p:cNvPr>
            <p:cNvPicPr>
              <a:picLocks noChangeAspect="1" noChangeArrowheads="1"/>
            </p:cNvPicPr>
            <p:nvPr/>
          </p:nvPicPr>
          <p:blipFill>
            <a:blip r:embed="rId3" cstate="print"/>
            <a:srcRect/>
            <a:stretch>
              <a:fillRect/>
            </a:stretch>
          </p:blipFill>
          <p:spPr bwMode="auto">
            <a:xfrm>
              <a:off x="985521" y="1147683"/>
              <a:ext cx="6843600" cy="3391065"/>
            </a:xfrm>
            <a:prstGeom prst="rect">
              <a:avLst/>
            </a:prstGeom>
            <a:noFill/>
            <a:ln w="9525">
              <a:noFill/>
              <a:miter lim="800000"/>
              <a:headEnd/>
              <a:tailEnd/>
            </a:ln>
          </p:spPr>
        </p:pic>
        <p:sp>
          <p:nvSpPr>
            <p:cNvPr id="8" name="Right Bracket 10">
              <a:extLst>
                <a:ext uri="{FF2B5EF4-FFF2-40B4-BE49-F238E27FC236}">
                  <a16:creationId xmlns:a16="http://schemas.microsoft.com/office/drawing/2014/main" xmlns="" id="{E81EFF81-2ADB-9BF1-F251-A44D158877A3}"/>
                </a:ext>
              </a:extLst>
            </p:cNvPr>
            <p:cNvSpPr/>
            <p:nvPr/>
          </p:nvSpPr>
          <p:spPr>
            <a:xfrm>
              <a:off x="6324601" y="2638902"/>
              <a:ext cx="161925" cy="1949877"/>
            </a:xfrm>
            <a:prstGeom prst="rightBracket">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189">
                <a:defRPr/>
              </a:pPr>
              <a:endParaRPr lang="en-GB" dirty="0">
                <a:solidFill>
                  <a:srgbClr val="000000"/>
                </a:solidFill>
                <a:latin typeface="Arial"/>
              </a:endParaRPr>
            </a:p>
          </p:txBody>
        </p:sp>
        <p:sp>
          <p:nvSpPr>
            <p:cNvPr id="9" name="TextBox 8">
              <a:extLst>
                <a:ext uri="{FF2B5EF4-FFF2-40B4-BE49-F238E27FC236}">
                  <a16:creationId xmlns:a16="http://schemas.microsoft.com/office/drawing/2014/main" xmlns="" id="{6CC0B785-3E97-446D-8AF7-41670846E3FA}"/>
                </a:ext>
              </a:extLst>
            </p:cNvPr>
            <p:cNvSpPr txBox="1"/>
            <p:nvPr/>
          </p:nvSpPr>
          <p:spPr>
            <a:xfrm>
              <a:off x="6620277" y="2948495"/>
              <a:ext cx="2209398" cy="1331134"/>
            </a:xfrm>
            <a:prstGeom prst="rect">
              <a:avLst/>
            </a:prstGeom>
            <a:noFill/>
          </p:spPr>
          <p:txBody>
            <a:bodyPr wrap="square" rtlCol="0">
              <a:spAutoFit/>
            </a:bodyPr>
            <a:lstStyle/>
            <a:p>
              <a:pPr defTabSz="457189">
                <a:defRPr/>
              </a:pPr>
              <a:r>
                <a:rPr lang="ru" sz="1050" dirty="0">
                  <a:latin typeface="Arial"/>
                </a:rPr>
                <a:t>Соматические мутации чаще всего представляют собой </a:t>
              </a:r>
              <a:r>
                <a:rPr lang="ru" sz="1050" b="1" dirty="0">
                  <a:latin typeface="Arial"/>
                </a:rPr>
                <a:t>вставки экзона 20</a:t>
              </a:r>
              <a:r>
                <a:rPr lang="ru" sz="1050" baseline="30000" dirty="0">
                  <a:latin typeface="Arial"/>
                </a:rPr>
                <a:t>2,3</a:t>
              </a:r>
            </a:p>
            <a:p>
              <a:pPr defTabSz="457189">
                <a:defRPr/>
              </a:pPr>
              <a:endParaRPr lang="en-US" sz="1050" baseline="30000" dirty="0">
                <a:latin typeface="Arial"/>
              </a:endParaRPr>
            </a:p>
            <a:p>
              <a:pPr defTabSz="457189">
                <a:defRPr/>
              </a:pPr>
              <a:r>
                <a:rPr lang="ru" sz="1050" dirty="0">
                  <a:latin typeface="Arial"/>
                </a:rPr>
                <a:t>Мутации приводят к </a:t>
              </a:r>
              <a:r>
                <a:rPr lang="ru" sz="1050" b="1" dirty="0">
                  <a:latin typeface="Arial"/>
                </a:rPr>
                <a:t>усилению киназной активности или гомо- и гетеродимеризации рецептора</a:t>
              </a:r>
              <a:r>
                <a:rPr lang="ru" sz="1050" b="1" baseline="30000" dirty="0">
                  <a:latin typeface="Arial"/>
                </a:rPr>
                <a:t>4</a:t>
              </a:r>
              <a:endParaRPr lang="en-US" sz="1050" b="1" baseline="30000" dirty="0">
                <a:highlight>
                  <a:srgbClr val="FFFF00"/>
                </a:highlight>
                <a:latin typeface="Arial"/>
              </a:endParaRPr>
            </a:p>
          </p:txBody>
        </p:sp>
        <p:sp>
          <p:nvSpPr>
            <p:cNvPr id="10" name="TextBox 9">
              <a:extLst>
                <a:ext uri="{FF2B5EF4-FFF2-40B4-BE49-F238E27FC236}">
                  <a16:creationId xmlns:a16="http://schemas.microsoft.com/office/drawing/2014/main" xmlns="" id="{B083281C-A3F1-307A-5AE3-B23B47F03270}"/>
                </a:ext>
              </a:extLst>
            </p:cNvPr>
            <p:cNvSpPr txBox="1"/>
            <p:nvPr/>
          </p:nvSpPr>
          <p:spPr>
            <a:xfrm>
              <a:off x="6632448" y="4437170"/>
              <a:ext cx="2348992" cy="200055"/>
            </a:xfrm>
            <a:prstGeom prst="rect">
              <a:avLst/>
            </a:prstGeom>
            <a:noFill/>
          </p:spPr>
          <p:txBody>
            <a:bodyPr wrap="square" lIns="91440" tIns="45720" rIns="91440" bIns="45720" rtlCol="0" anchor="t">
              <a:spAutoFit/>
            </a:bodyPr>
            <a:lstStyle/>
            <a:p>
              <a:pPr defTabSz="457189">
                <a:defRPr/>
              </a:pPr>
              <a:r>
                <a:rPr lang="ru" sz="700">
                  <a:solidFill>
                    <a:srgbClr val="000000"/>
                  </a:solidFill>
                  <a:latin typeface="Arial"/>
                </a:rPr>
                <a:t>По материалам Jebbink M et al. 2020.</a:t>
              </a:r>
              <a:endParaRPr lang="en-GB" sz="700" dirty="0">
                <a:solidFill>
                  <a:srgbClr val="000000"/>
                </a:solidFill>
                <a:latin typeface="Arial"/>
                <a:cs typeface="Arial"/>
              </a:endParaRPr>
            </a:p>
          </p:txBody>
        </p:sp>
        <p:sp>
          <p:nvSpPr>
            <p:cNvPr id="18" name="Прямоугольник 17">
              <a:extLst>
                <a:ext uri="{FF2B5EF4-FFF2-40B4-BE49-F238E27FC236}">
                  <a16:creationId xmlns:a16="http://schemas.microsoft.com/office/drawing/2014/main" xmlns="" id="{86B38BBD-F5E6-55F4-63B4-F6EC4EF6A153}"/>
                </a:ext>
              </a:extLst>
            </p:cNvPr>
            <p:cNvSpPr/>
            <p:nvPr/>
          </p:nvSpPr>
          <p:spPr>
            <a:xfrm>
              <a:off x="5936736" y="3606761"/>
              <a:ext cx="184666" cy="188476"/>
            </a:xfrm>
            <a:prstGeom prst="rect">
              <a:avLst/>
            </a:prstGeom>
          </p:spPr>
          <p:txBody>
            <a:bodyPr vert="vert" wrap="square" lIns="0" tIns="0" rIns="0" bIns="0" rtlCol="0">
              <a:spAutoFit/>
            </a:bodyPr>
            <a:lstStyle/>
            <a:p>
              <a:pPr defTabSz="457189">
                <a:defRPr/>
              </a:pPr>
              <a:r>
                <a:rPr lang="ru" sz="600">
                  <a:solidFill>
                    <a:srgbClr val="000000"/>
                  </a:solidFill>
                  <a:latin typeface="Arial"/>
                </a:rPr>
                <a:t>8,7 %</a:t>
              </a:r>
              <a:endParaRPr lang="ru-RU" sz="600" dirty="0">
                <a:solidFill>
                  <a:srgbClr val="000000"/>
                </a:solidFill>
                <a:latin typeface="Arial"/>
              </a:endParaRPr>
            </a:p>
          </p:txBody>
        </p:sp>
        <p:sp>
          <p:nvSpPr>
            <p:cNvPr id="19" name="Прямоугольник 18">
              <a:extLst>
                <a:ext uri="{FF2B5EF4-FFF2-40B4-BE49-F238E27FC236}">
                  <a16:creationId xmlns:a16="http://schemas.microsoft.com/office/drawing/2014/main" xmlns="" id="{AA1192A0-6769-471B-65BB-149831417876}"/>
                </a:ext>
              </a:extLst>
            </p:cNvPr>
            <p:cNvSpPr/>
            <p:nvPr/>
          </p:nvSpPr>
          <p:spPr>
            <a:xfrm>
              <a:off x="5388096" y="3492461"/>
              <a:ext cx="184666" cy="188476"/>
            </a:xfrm>
            <a:prstGeom prst="rect">
              <a:avLst/>
            </a:prstGeom>
          </p:spPr>
          <p:txBody>
            <a:bodyPr vert="vert" wrap="square" lIns="0" tIns="0" rIns="0" bIns="0" rtlCol="0">
              <a:spAutoFit/>
            </a:bodyPr>
            <a:lstStyle/>
            <a:p>
              <a:pPr defTabSz="457189">
                <a:defRPr/>
              </a:pPr>
              <a:r>
                <a:rPr lang="ru" sz="600">
                  <a:solidFill>
                    <a:srgbClr val="000000"/>
                  </a:solidFill>
                  <a:latin typeface="Arial"/>
                </a:rPr>
                <a:t>2,2 %</a:t>
              </a:r>
              <a:endParaRPr lang="ru-RU" sz="600" dirty="0">
                <a:solidFill>
                  <a:srgbClr val="000000"/>
                </a:solidFill>
                <a:latin typeface="Arial"/>
              </a:endParaRPr>
            </a:p>
          </p:txBody>
        </p:sp>
        <p:sp>
          <p:nvSpPr>
            <p:cNvPr id="20" name="Прямоугольник 19">
              <a:extLst>
                <a:ext uri="{FF2B5EF4-FFF2-40B4-BE49-F238E27FC236}">
                  <a16:creationId xmlns:a16="http://schemas.microsoft.com/office/drawing/2014/main" xmlns="" id="{1520223E-2EAF-D993-E104-978413B4F579}"/>
                </a:ext>
              </a:extLst>
            </p:cNvPr>
            <p:cNvSpPr/>
            <p:nvPr/>
          </p:nvSpPr>
          <p:spPr>
            <a:xfrm>
              <a:off x="5274689" y="3627080"/>
              <a:ext cx="92333" cy="259596"/>
            </a:xfrm>
            <a:prstGeom prst="rect">
              <a:avLst/>
            </a:prstGeom>
          </p:spPr>
          <p:txBody>
            <a:bodyPr vert="vert" wrap="square" lIns="0" tIns="0" rIns="0" bIns="0" rtlCol="0">
              <a:spAutoFit/>
            </a:bodyPr>
            <a:lstStyle/>
            <a:p>
              <a:pPr defTabSz="457189">
                <a:defRPr/>
              </a:pPr>
              <a:r>
                <a:rPr lang="ru" sz="600">
                  <a:solidFill>
                    <a:srgbClr val="000000"/>
                  </a:solidFill>
                  <a:latin typeface="Arial"/>
                </a:rPr>
                <a:t>10,0 %</a:t>
              </a:r>
              <a:endParaRPr lang="ru-RU" sz="600" dirty="0">
                <a:solidFill>
                  <a:srgbClr val="000000"/>
                </a:solidFill>
                <a:latin typeface="Arial"/>
              </a:endParaRPr>
            </a:p>
          </p:txBody>
        </p:sp>
        <p:sp>
          <p:nvSpPr>
            <p:cNvPr id="21" name="Прямоугольник 20">
              <a:extLst>
                <a:ext uri="{FF2B5EF4-FFF2-40B4-BE49-F238E27FC236}">
                  <a16:creationId xmlns:a16="http://schemas.microsoft.com/office/drawing/2014/main" xmlns="" id="{DE6416FE-45EE-0E32-172A-3C7D5D554455}"/>
                </a:ext>
              </a:extLst>
            </p:cNvPr>
            <p:cNvSpPr/>
            <p:nvPr/>
          </p:nvSpPr>
          <p:spPr>
            <a:xfrm>
              <a:off x="5086728" y="4310340"/>
              <a:ext cx="92333" cy="259596"/>
            </a:xfrm>
            <a:prstGeom prst="rect">
              <a:avLst/>
            </a:prstGeom>
          </p:spPr>
          <p:txBody>
            <a:bodyPr vert="vert" wrap="square" lIns="0" tIns="0" rIns="0" bIns="0" rtlCol="0">
              <a:spAutoFit/>
            </a:bodyPr>
            <a:lstStyle/>
            <a:p>
              <a:pPr defTabSz="457189">
                <a:defRPr/>
              </a:pPr>
              <a:r>
                <a:rPr lang="ru" sz="600">
                  <a:solidFill>
                    <a:srgbClr val="000000"/>
                  </a:solidFill>
                  <a:latin typeface="Arial"/>
                </a:rPr>
                <a:t>50,0 %</a:t>
              </a:r>
              <a:endParaRPr lang="ru-RU" sz="600" dirty="0">
                <a:solidFill>
                  <a:srgbClr val="000000"/>
                </a:solidFill>
                <a:latin typeface="Arial"/>
              </a:endParaRPr>
            </a:p>
          </p:txBody>
        </p:sp>
      </p:grpSp>
      <p:sp>
        <p:nvSpPr>
          <p:cNvPr id="22" name="Прямоугольник 21">
            <a:extLst>
              <a:ext uri="{FF2B5EF4-FFF2-40B4-BE49-F238E27FC236}">
                <a16:creationId xmlns:a16="http://schemas.microsoft.com/office/drawing/2014/main" xmlns="" id="{3472A0DA-956B-DECD-1CCE-7273353F7233}"/>
              </a:ext>
            </a:extLst>
          </p:cNvPr>
          <p:cNvSpPr/>
          <p:nvPr/>
        </p:nvSpPr>
        <p:spPr>
          <a:xfrm>
            <a:off x="2381250" y="1253450"/>
            <a:ext cx="313690" cy="184666"/>
          </a:xfrm>
          <a:prstGeom prst="rect">
            <a:avLst/>
          </a:prstGeom>
        </p:spPr>
        <p:txBody>
          <a:bodyPr wrap="square" lIns="0" tIns="0" rIns="0" bIns="0" rtlCol="0">
            <a:spAutoFit/>
          </a:bodyPr>
          <a:lstStyle/>
          <a:p>
            <a:pPr algn="ctr" defTabSz="457189">
              <a:defRPr/>
            </a:pPr>
            <a:r>
              <a:rPr lang="ru" sz="600">
                <a:solidFill>
                  <a:srgbClr val="000000"/>
                </a:solidFill>
                <a:latin typeface="Arial"/>
              </a:rPr>
              <a:t>S310F</a:t>
            </a:r>
          </a:p>
          <a:p>
            <a:pPr algn="ctr" defTabSz="457189">
              <a:defRPr/>
            </a:pPr>
            <a:r>
              <a:rPr lang="ru" sz="600">
                <a:solidFill>
                  <a:srgbClr val="000000"/>
                </a:solidFill>
                <a:latin typeface="Arial"/>
              </a:rPr>
              <a:t>(10,9 %)</a:t>
            </a:r>
            <a:endParaRPr lang="ru-RU" sz="600" dirty="0">
              <a:solidFill>
                <a:srgbClr val="000000"/>
              </a:solidFill>
              <a:latin typeface="Arial"/>
            </a:endParaRPr>
          </a:p>
        </p:txBody>
      </p:sp>
      <p:sp>
        <p:nvSpPr>
          <p:cNvPr id="23" name="Прямоугольник 22">
            <a:extLst>
              <a:ext uri="{FF2B5EF4-FFF2-40B4-BE49-F238E27FC236}">
                <a16:creationId xmlns:a16="http://schemas.microsoft.com/office/drawing/2014/main" xmlns="" id="{BFFF7DC1-55C7-071A-41AA-35492411ECBE}"/>
              </a:ext>
            </a:extLst>
          </p:cNvPr>
          <p:cNvSpPr/>
          <p:nvPr/>
        </p:nvSpPr>
        <p:spPr>
          <a:xfrm>
            <a:off x="2209800" y="1676360"/>
            <a:ext cx="313690" cy="184666"/>
          </a:xfrm>
          <a:prstGeom prst="rect">
            <a:avLst/>
          </a:prstGeom>
        </p:spPr>
        <p:txBody>
          <a:bodyPr wrap="square" lIns="0" tIns="0" rIns="0" bIns="0" rtlCol="0">
            <a:spAutoFit/>
          </a:bodyPr>
          <a:lstStyle/>
          <a:p>
            <a:pPr algn="ctr" defTabSz="457189">
              <a:defRPr/>
            </a:pPr>
            <a:r>
              <a:rPr lang="ru" sz="600">
                <a:solidFill>
                  <a:srgbClr val="000000"/>
                </a:solidFill>
                <a:latin typeface="Arial"/>
              </a:rPr>
              <a:t>D277Y</a:t>
            </a:r>
          </a:p>
          <a:p>
            <a:pPr algn="ctr" defTabSz="457189">
              <a:defRPr/>
            </a:pPr>
            <a:r>
              <a:rPr lang="ru" sz="600">
                <a:solidFill>
                  <a:srgbClr val="000000"/>
                </a:solidFill>
                <a:latin typeface="Arial"/>
              </a:rPr>
              <a:t>(2,2 %)</a:t>
            </a:r>
            <a:endParaRPr lang="ru-RU" sz="600" dirty="0">
              <a:solidFill>
                <a:srgbClr val="000000"/>
              </a:solidFill>
              <a:latin typeface="Arial"/>
            </a:endParaRPr>
          </a:p>
        </p:txBody>
      </p:sp>
      <p:sp>
        <p:nvSpPr>
          <p:cNvPr id="24" name="Прямоугольник 23">
            <a:extLst>
              <a:ext uri="{FF2B5EF4-FFF2-40B4-BE49-F238E27FC236}">
                <a16:creationId xmlns:a16="http://schemas.microsoft.com/office/drawing/2014/main" xmlns="" id="{FA2F3BAA-3B03-73D6-318C-A8B947AFAC6C}"/>
              </a:ext>
            </a:extLst>
          </p:cNvPr>
          <p:cNvSpPr/>
          <p:nvPr/>
        </p:nvSpPr>
        <p:spPr>
          <a:xfrm>
            <a:off x="2308860" y="2487890"/>
            <a:ext cx="313690" cy="184666"/>
          </a:xfrm>
          <a:prstGeom prst="rect">
            <a:avLst/>
          </a:prstGeom>
        </p:spPr>
        <p:txBody>
          <a:bodyPr wrap="square" lIns="0" tIns="0" rIns="0" bIns="0" rtlCol="0">
            <a:spAutoFit/>
          </a:bodyPr>
          <a:lstStyle/>
          <a:p>
            <a:pPr algn="ctr" defTabSz="457189">
              <a:defRPr/>
            </a:pPr>
            <a:r>
              <a:rPr lang="ru" sz="600">
                <a:solidFill>
                  <a:srgbClr val="000000"/>
                </a:solidFill>
                <a:latin typeface="Arial"/>
              </a:rPr>
              <a:t>A293P</a:t>
            </a:r>
          </a:p>
          <a:p>
            <a:pPr algn="ctr" defTabSz="457189">
              <a:defRPr/>
            </a:pPr>
            <a:r>
              <a:rPr lang="ru" sz="600">
                <a:solidFill>
                  <a:srgbClr val="000000"/>
                </a:solidFill>
                <a:latin typeface="Arial"/>
              </a:rPr>
              <a:t>(2,2 %)</a:t>
            </a:r>
            <a:endParaRPr lang="ru-RU" sz="600" dirty="0">
              <a:solidFill>
                <a:srgbClr val="000000"/>
              </a:solidFill>
              <a:latin typeface="Arial"/>
            </a:endParaRPr>
          </a:p>
        </p:txBody>
      </p:sp>
      <p:sp>
        <p:nvSpPr>
          <p:cNvPr id="25" name="Прямоугольник 24">
            <a:extLst>
              <a:ext uri="{FF2B5EF4-FFF2-40B4-BE49-F238E27FC236}">
                <a16:creationId xmlns:a16="http://schemas.microsoft.com/office/drawing/2014/main" xmlns="" id="{0A04B690-A6BD-25ED-F531-0C1C9C9EA4F5}"/>
              </a:ext>
            </a:extLst>
          </p:cNvPr>
          <p:cNvSpPr/>
          <p:nvPr/>
        </p:nvSpPr>
        <p:spPr>
          <a:xfrm>
            <a:off x="4171950" y="1470620"/>
            <a:ext cx="313690" cy="184666"/>
          </a:xfrm>
          <a:prstGeom prst="rect">
            <a:avLst/>
          </a:prstGeom>
        </p:spPr>
        <p:txBody>
          <a:bodyPr wrap="square" lIns="0" tIns="0" rIns="0" bIns="0" rtlCol="0">
            <a:spAutoFit/>
          </a:bodyPr>
          <a:lstStyle/>
          <a:p>
            <a:pPr algn="ctr" defTabSz="457189">
              <a:defRPr/>
            </a:pPr>
            <a:r>
              <a:rPr lang="ru" sz="600">
                <a:solidFill>
                  <a:srgbClr val="000000"/>
                </a:solidFill>
                <a:latin typeface="Arial"/>
              </a:rPr>
              <a:t>V659E</a:t>
            </a:r>
          </a:p>
          <a:p>
            <a:pPr algn="ctr" defTabSz="457189">
              <a:defRPr/>
            </a:pPr>
            <a:r>
              <a:rPr lang="ru" sz="600">
                <a:solidFill>
                  <a:srgbClr val="000000"/>
                </a:solidFill>
                <a:latin typeface="Arial"/>
              </a:rPr>
              <a:t>(6,5 %)</a:t>
            </a:r>
            <a:endParaRPr lang="ru-RU" sz="600" dirty="0">
              <a:solidFill>
                <a:srgbClr val="000000"/>
              </a:solidFill>
              <a:latin typeface="Arial"/>
            </a:endParaRPr>
          </a:p>
        </p:txBody>
      </p:sp>
      <p:sp>
        <p:nvSpPr>
          <p:cNvPr id="26" name="Прямоугольник 25">
            <a:extLst>
              <a:ext uri="{FF2B5EF4-FFF2-40B4-BE49-F238E27FC236}">
                <a16:creationId xmlns:a16="http://schemas.microsoft.com/office/drawing/2014/main" xmlns="" id="{42E53E7C-41E0-386A-34C2-33AFF1048B21}"/>
              </a:ext>
            </a:extLst>
          </p:cNvPr>
          <p:cNvSpPr/>
          <p:nvPr/>
        </p:nvSpPr>
        <p:spPr>
          <a:xfrm>
            <a:off x="4442460" y="1687790"/>
            <a:ext cx="313690" cy="184666"/>
          </a:xfrm>
          <a:prstGeom prst="rect">
            <a:avLst/>
          </a:prstGeom>
        </p:spPr>
        <p:txBody>
          <a:bodyPr wrap="square" lIns="0" tIns="0" rIns="0" bIns="0" rtlCol="0">
            <a:spAutoFit/>
          </a:bodyPr>
          <a:lstStyle/>
          <a:p>
            <a:pPr algn="ctr" defTabSz="457189">
              <a:defRPr/>
            </a:pPr>
            <a:r>
              <a:rPr lang="ru" sz="600">
                <a:solidFill>
                  <a:srgbClr val="000000"/>
                </a:solidFill>
                <a:latin typeface="Arial"/>
              </a:rPr>
              <a:t>V657L</a:t>
            </a:r>
          </a:p>
          <a:p>
            <a:pPr algn="ctr" defTabSz="457189">
              <a:defRPr/>
            </a:pPr>
            <a:r>
              <a:rPr lang="ru" sz="600">
                <a:solidFill>
                  <a:srgbClr val="000000"/>
                </a:solidFill>
                <a:latin typeface="Arial"/>
              </a:rPr>
              <a:t>(2,2 %)</a:t>
            </a:r>
            <a:endParaRPr lang="ru-RU" sz="600" dirty="0">
              <a:solidFill>
                <a:srgbClr val="000000"/>
              </a:solidFill>
              <a:latin typeface="Arial"/>
            </a:endParaRPr>
          </a:p>
        </p:txBody>
      </p:sp>
      <p:sp>
        <p:nvSpPr>
          <p:cNvPr id="27" name="Прямоугольник 26">
            <a:extLst>
              <a:ext uri="{FF2B5EF4-FFF2-40B4-BE49-F238E27FC236}">
                <a16:creationId xmlns:a16="http://schemas.microsoft.com/office/drawing/2014/main" xmlns="" id="{3B56FC13-E17A-5DCA-B3DB-B96FD7DF9E48}"/>
              </a:ext>
            </a:extLst>
          </p:cNvPr>
          <p:cNvSpPr/>
          <p:nvPr/>
        </p:nvSpPr>
        <p:spPr>
          <a:xfrm>
            <a:off x="4773930" y="1595260"/>
            <a:ext cx="313690" cy="184666"/>
          </a:xfrm>
          <a:prstGeom prst="rect">
            <a:avLst/>
          </a:prstGeom>
        </p:spPr>
        <p:txBody>
          <a:bodyPr wrap="square" lIns="0" tIns="0" rIns="0" bIns="0" rtlCol="0">
            <a:spAutoFit/>
          </a:bodyPr>
          <a:lstStyle/>
          <a:p>
            <a:pPr algn="ctr" defTabSz="457189">
              <a:defRPr/>
            </a:pPr>
            <a:r>
              <a:rPr lang="ru" sz="600" dirty="0">
                <a:solidFill>
                  <a:srgbClr val="000000"/>
                </a:solidFill>
                <a:latin typeface="Arial"/>
              </a:rPr>
              <a:t>L755A/P</a:t>
            </a:r>
          </a:p>
          <a:p>
            <a:pPr algn="ctr" defTabSz="457189">
              <a:defRPr/>
            </a:pPr>
            <a:r>
              <a:rPr lang="ru" sz="600" dirty="0">
                <a:solidFill>
                  <a:srgbClr val="000000"/>
                </a:solidFill>
                <a:latin typeface="Arial"/>
              </a:rPr>
              <a:t>(4,3 %)</a:t>
            </a:r>
            <a:endParaRPr lang="ru-RU" sz="600" dirty="0">
              <a:solidFill>
                <a:srgbClr val="000000"/>
              </a:solidFill>
              <a:latin typeface="Arial"/>
            </a:endParaRPr>
          </a:p>
        </p:txBody>
      </p:sp>
      <mc:AlternateContent xmlns:mc="http://schemas.openxmlformats.org/markup-compatibility/2006">
        <mc:Choice xmlns:p14="http://schemas.microsoft.com/office/powerpoint/2010/main" xmlns:aink="http://schemas.microsoft.com/office/drawing/2016/ink" xmlns="" Requires="p14 aink">
          <p:contentPart p14:bwMode="auto" r:id="rId4">
            <p14:nvContentPartPr>
              <p14:cNvPr id="2" name="Рукописный ввод 1">
                <a:extLst>
                  <a:ext uri="{FF2B5EF4-FFF2-40B4-BE49-F238E27FC236}">
                    <a16:creationId xmlns:a16="http://schemas.microsoft.com/office/drawing/2014/main" id="{3EBB742E-65F6-4C43-A21C-2FF6B43A4D0D}"/>
                  </a:ext>
                </a:extLst>
              </p14:cNvPr>
              <p14:cNvContentPartPr/>
              <p14:nvPr/>
            </p14:nvContentPartPr>
            <p14:xfrm>
              <a:off x="2927070" y="-277573"/>
              <a:ext cx="270" cy="270"/>
            </p14:xfrm>
          </p:contentPart>
        </mc:Choice>
        <mc:Fallback>
          <p:pic>
            <p:nvPicPr>
              <p:cNvPr id="2" name="Рукописный ввод 1">
                <a:extLst>
                  <a:ext uri="{FF2B5EF4-FFF2-40B4-BE49-F238E27FC236}">
                    <a16:creationId xmlns:a16="http://schemas.microsoft.com/office/drawing/2014/main" xmlns="" xmlns:aink="http://schemas.microsoft.com/office/drawing/2016/ink" xmlns:p14="http://schemas.microsoft.com/office/powerpoint/2010/main" id="{3EBB742E-65F6-4C43-A21C-2FF6B43A4D0D}"/>
                  </a:ext>
                </a:extLst>
              </p:cNvPr>
              <p:cNvPicPr/>
              <p:nvPr/>
            </p:nvPicPr>
            <p:blipFill>
              <a:blip r:embed="rId5"/>
              <a:stretch>
                <a:fillRect/>
              </a:stretch>
            </p:blipFill>
            <p:spPr>
              <a:xfrm>
                <a:off x="2913570" y="-358573"/>
                <a:ext cx="27000" cy="162000"/>
              </a:xfrm>
              <a:prstGeom prst="rect">
                <a:avLst/>
              </a:prstGeom>
            </p:spPr>
          </p:pic>
        </mc:Fallback>
      </mc:AlternateContent>
      <p:grpSp>
        <p:nvGrpSpPr>
          <p:cNvPr id="33" name="Группа 32">
            <a:extLst>
              <a:ext uri="{FF2B5EF4-FFF2-40B4-BE49-F238E27FC236}">
                <a16:creationId xmlns:a16="http://schemas.microsoft.com/office/drawing/2014/main" xmlns="" id="{812E9F48-F363-1503-CD8B-327EAF82D598}"/>
              </a:ext>
            </a:extLst>
          </p:cNvPr>
          <p:cNvGrpSpPr/>
          <p:nvPr/>
        </p:nvGrpSpPr>
        <p:grpSpPr>
          <a:xfrm>
            <a:off x="3358260" y="-221726"/>
            <a:ext cx="270" cy="270"/>
            <a:chOff x="4477680" y="-295635"/>
            <a:chExt cx="360" cy="360"/>
          </a:xfrm>
        </p:grpSpPr>
        <mc:AlternateContent xmlns:mc="http://schemas.openxmlformats.org/markup-compatibility/2006" xmlns:p14="http://schemas.microsoft.com/office/powerpoint/2010/main">
          <mc:Choice Requires="p14">
            <p:contentPart p14:bwMode="auto" r:id="rId6">
              <p14:nvContentPartPr>
                <p14:cNvPr id="3" name="Рукописный ввод 2">
                  <a:extLst>
                    <a:ext uri="{FF2B5EF4-FFF2-40B4-BE49-F238E27FC236}">
                      <a16:creationId xmlns:a16="http://schemas.microsoft.com/office/drawing/2014/main" xmlns="" id="{C63B25E0-E3F9-DFF2-C86A-659839A0FF45}"/>
                    </a:ext>
                  </a:extLst>
                </p14:cNvPr>
                <p14:cNvContentPartPr/>
                <p14:nvPr/>
              </p14:nvContentPartPr>
              <p14:xfrm>
                <a:off x="4477680" y="-295635"/>
                <a:ext cx="360" cy="360"/>
              </p14:xfrm>
            </p:contentPart>
          </mc:Choice>
          <mc:Fallback xmlns="">
            <p:pic>
              <p:nvPicPr>
                <p:cNvPr id="3" name="Рукописный ввод 2">
                  <a:extLst>
                    <a:ext uri="{FF2B5EF4-FFF2-40B4-BE49-F238E27FC236}">
                      <a16:creationId xmlns:a16="http://schemas.microsoft.com/office/drawing/2014/main" id="{C63B25E0-E3F9-DFF2-C86A-659839A0FF45}"/>
                    </a:ext>
                  </a:extLst>
                </p:cNvPr>
                <p:cNvPicPr/>
                <p:nvPr/>
              </p:nvPicPr>
              <p:blipFill>
                <a:blip r:embed="rId8"/>
                <a:stretch>
                  <a:fillRect/>
                </a:stretch>
              </p:blipFill>
              <p:spPr>
                <a:xfrm>
                  <a:off x="4473360" y="-2999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31" name="Рукописный ввод 30">
                  <a:extLst>
                    <a:ext uri="{FF2B5EF4-FFF2-40B4-BE49-F238E27FC236}">
                      <a16:creationId xmlns:a16="http://schemas.microsoft.com/office/drawing/2014/main" xmlns="" id="{65A15BFD-2D52-4743-8493-E11FCB8D89A3}"/>
                    </a:ext>
                  </a:extLst>
                </p14:cNvPr>
                <p14:cNvContentPartPr/>
                <p14:nvPr/>
              </p14:nvContentPartPr>
              <p14:xfrm>
                <a:off x="4477680" y="-295635"/>
                <a:ext cx="360" cy="360"/>
              </p14:xfrm>
            </p:contentPart>
          </mc:Choice>
          <mc:Fallback xmlns="">
            <p:pic>
              <p:nvPicPr>
                <p:cNvPr id="31" name="Рукописный ввод 30">
                  <a:extLst>
                    <a:ext uri="{FF2B5EF4-FFF2-40B4-BE49-F238E27FC236}">
                      <a16:creationId xmlns:a16="http://schemas.microsoft.com/office/drawing/2014/main" id="{65A15BFD-2D52-4743-8493-E11FCB8D89A3}"/>
                    </a:ext>
                  </a:extLst>
                </p:cNvPr>
                <p:cNvPicPr/>
                <p:nvPr/>
              </p:nvPicPr>
              <p:blipFill>
                <a:blip r:embed="rId8"/>
                <a:stretch>
                  <a:fillRect/>
                </a:stretch>
              </p:blipFill>
              <p:spPr>
                <a:xfrm>
                  <a:off x="4473360" y="-299955"/>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2" name="Рукописный ввод 31">
                  <a:extLst>
                    <a:ext uri="{FF2B5EF4-FFF2-40B4-BE49-F238E27FC236}">
                      <a16:creationId xmlns:a16="http://schemas.microsoft.com/office/drawing/2014/main" xmlns="" id="{D594D7BA-4517-58ED-5496-FFB112C56F28}"/>
                    </a:ext>
                  </a:extLst>
                </p14:cNvPr>
                <p14:cNvContentPartPr/>
                <p14:nvPr/>
              </p14:nvContentPartPr>
              <p14:xfrm>
                <a:off x="4477680" y="-295635"/>
                <a:ext cx="360" cy="360"/>
              </p14:xfrm>
            </p:contentPart>
          </mc:Choice>
          <mc:Fallback xmlns="">
            <p:pic>
              <p:nvPicPr>
                <p:cNvPr id="32" name="Рукописный ввод 31">
                  <a:extLst>
                    <a:ext uri="{FF2B5EF4-FFF2-40B4-BE49-F238E27FC236}">
                      <a16:creationId xmlns:a16="http://schemas.microsoft.com/office/drawing/2014/main" id="{D594D7BA-4517-58ED-5496-FFB112C56F28}"/>
                    </a:ext>
                  </a:extLst>
                </p:cNvPr>
                <p:cNvPicPr/>
                <p:nvPr/>
              </p:nvPicPr>
              <p:blipFill>
                <a:blip r:embed="rId8"/>
                <a:stretch>
                  <a:fillRect/>
                </a:stretch>
              </p:blipFill>
              <p:spPr>
                <a:xfrm>
                  <a:off x="4473360" y="-299955"/>
                  <a:ext cx="9000" cy="9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1">
            <p14:nvContentPartPr>
              <p14:cNvPr id="34" name="Рукописный ввод 33">
                <a:extLst>
                  <a:ext uri="{FF2B5EF4-FFF2-40B4-BE49-F238E27FC236}">
                    <a16:creationId xmlns:a16="http://schemas.microsoft.com/office/drawing/2014/main" xmlns="" id="{8733A5A7-1078-2267-679D-16C5AA28E5BB}"/>
                  </a:ext>
                </a:extLst>
              </p14:cNvPr>
              <p14:cNvContentPartPr/>
              <p14:nvPr/>
            </p14:nvContentPartPr>
            <p14:xfrm>
              <a:off x="2573370" y="-116383"/>
              <a:ext cx="270" cy="270"/>
            </p14:xfrm>
          </p:contentPart>
        </mc:Choice>
        <mc:Fallback xmlns="">
          <p:pic>
            <p:nvPicPr>
              <p:cNvPr id="34" name="Рукописный ввод 33">
                <a:extLst>
                  <a:ext uri="{FF2B5EF4-FFF2-40B4-BE49-F238E27FC236}">
                    <a16:creationId xmlns:a16="http://schemas.microsoft.com/office/drawing/2014/main" id="{8733A5A7-1078-2267-679D-16C5AA28E5BB}"/>
                  </a:ext>
                </a:extLst>
              </p:cNvPr>
              <p:cNvPicPr/>
              <p:nvPr/>
            </p:nvPicPr>
            <p:blipFill>
              <a:blip r:embed="rId12"/>
              <a:stretch>
                <a:fillRect/>
              </a:stretch>
            </p:blipFill>
            <p:spPr>
              <a:xfrm>
                <a:off x="2566620" y="-123133"/>
                <a:ext cx="13500" cy="13500"/>
              </a:xfrm>
              <a:prstGeom prst="rect">
                <a:avLst/>
              </a:prstGeom>
            </p:spPr>
          </p:pic>
        </mc:Fallback>
      </mc:AlternateContent>
      <p:sp>
        <p:nvSpPr>
          <p:cNvPr id="29" name="TextBox 28">
            <a:extLst>
              <a:ext uri="{FF2B5EF4-FFF2-40B4-BE49-F238E27FC236}">
                <a16:creationId xmlns:a16="http://schemas.microsoft.com/office/drawing/2014/main" xmlns="" id="{92A209E5-0082-D9F8-CD80-F59AF7498C49}"/>
              </a:ext>
            </a:extLst>
          </p:cNvPr>
          <p:cNvSpPr txBox="1"/>
          <p:nvPr/>
        </p:nvSpPr>
        <p:spPr>
          <a:xfrm>
            <a:off x="302346" y="4312773"/>
            <a:ext cx="3053330" cy="225426"/>
          </a:xfrm>
          <a:prstGeom prst="rect">
            <a:avLst/>
          </a:prstGeom>
          <a:noFill/>
          <a:ln>
            <a:solidFill>
              <a:schemeClr val="bg1"/>
            </a:solidFill>
          </a:ln>
        </p:spPr>
        <p:txBody>
          <a:bodyPr wrap="none" rtlCol="0">
            <a:noAutofit/>
          </a:bodyPr>
          <a:lstStyle/>
          <a:p>
            <a:pPr algn="l">
              <a:lnSpc>
                <a:spcPct val="90000"/>
              </a:lnSpc>
              <a:spcAft>
                <a:spcPts val="600"/>
              </a:spcAft>
            </a:pPr>
            <a:r>
              <a:rPr lang="ru-RU" sz="700" dirty="0"/>
              <a:t>НМРЛ – </a:t>
            </a:r>
            <a:r>
              <a:rPr lang="ru-RU" sz="700" i="1" dirty="0" err="1"/>
              <a:t>немелкоклеточный</a:t>
            </a:r>
            <a:r>
              <a:rPr lang="ru-RU" sz="700" dirty="0"/>
              <a:t> рак легкого</a:t>
            </a:r>
            <a:endParaRPr lang="ru-RU" sz="700" dirty="0">
              <a:latin typeface="Arial"/>
            </a:endParaRPr>
          </a:p>
        </p:txBody>
      </p:sp>
    </p:spTree>
    <p:extLst>
      <p:ext uri="{BB962C8B-B14F-4D97-AF65-F5344CB8AC3E}">
        <p14:creationId xmlns:p14="http://schemas.microsoft.com/office/powerpoint/2010/main" val="754589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77C7E2DB-36EC-48B2-C547-D7C228CAFE4A}"/>
              </a:ext>
            </a:extLst>
          </p:cNvPr>
          <p:cNvSpPr>
            <a:spLocks noGrp="1"/>
          </p:cNvSpPr>
          <p:nvPr>
            <p:ph type="title"/>
          </p:nvPr>
        </p:nvSpPr>
        <p:spPr>
          <a:xfrm>
            <a:off x="237062" y="241206"/>
            <a:ext cx="8765651" cy="504000"/>
          </a:xfrm>
        </p:spPr>
        <p:txBody>
          <a:bodyPr/>
          <a:lstStyle/>
          <a:p>
            <a:r>
              <a:rPr lang="ru-RU" dirty="0"/>
              <a:t>Метод определения мутации </a:t>
            </a:r>
            <a:r>
              <a:rPr lang="en-US" i="1" dirty="0"/>
              <a:t>HER2</a:t>
            </a:r>
            <a:r>
              <a:rPr lang="en-US" dirty="0"/>
              <a:t> </a:t>
            </a:r>
            <a:r>
              <a:rPr lang="ru-RU" dirty="0"/>
              <a:t>при НМРЛ</a:t>
            </a:r>
          </a:p>
        </p:txBody>
      </p:sp>
      <p:sp>
        <p:nvSpPr>
          <p:cNvPr id="3" name="Text Placeholder 2">
            <a:extLst>
              <a:ext uri="{FF2B5EF4-FFF2-40B4-BE49-F238E27FC236}">
                <a16:creationId xmlns:a16="http://schemas.microsoft.com/office/drawing/2014/main" xmlns="" id="{D5A62B4B-9064-D0EA-739F-A82B8AF4C99A}"/>
              </a:ext>
            </a:extLst>
          </p:cNvPr>
          <p:cNvSpPr txBox="1">
            <a:spLocks/>
          </p:cNvSpPr>
          <p:nvPr/>
        </p:nvSpPr>
        <p:spPr>
          <a:xfrm>
            <a:off x="261912" y="1044986"/>
            <a:ext cx="8010820" cy="2632853"/>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lumMod val="75000"/>
                </a:schemeClr>
              </a:buClr>
            </a:pPr>
            <a:r>
              <a:rPr lang="ru" sz="1350" dirty="0"/>
              <a:t>Статус мутации </a:t>
            </a:r>
            <a:r>
              <a:rPr lang="ru" sz="1350" i="1" dirty="0"/>
              <a:t>HER2</a:t>
            </a:r>
            <a:r>
              <a:rPr lang="ru" sz="1350" dirty="0"/>
              <a:t> при НМРЛ не оценивается с помощью одногенного теста </a:t>
            </a:r>
            <a:br>
              <a:rPr lang="ru" sz="1350" dirty="0"/>
            </a:br>
            <a:r>
              <a:rPr lang="ru" sz="1350" dirty="0"/>
              <a:t>в рутинной практике, поскольку в настоящее время отсутствуют зарегистрированные в РФ таргетные методы лечения HER2</a:t>
            </a:r>
            <a:r>
              <a:rPr lang="en-US" sz="1350" dirty="0"/>
              <a:t>m </a:t>
            </a:r>
            <a:r>
              <a:rPr lang="ru" sz="1350" dirty="0"/>
              <a:t>НМРЛ</a:t>
            </a:r>
            <a:r>
              <a:rPr lang="ru" sz="1350" baseline="30000" dirty="0"/>
              <a:t>1</a:t>
            </a:r>
            <a:r>
              <a:rPr lang="ru" sz="1350" dirty="0"/>
              <a:t> </a:t>
            </a:r>
          </a:p>
          <a:p>
            <a:pPr>
              <a:buClr>
                <a:schemeClr val="accent3">
                  <a:lumMod val="75000"/>
                </a:schemeClr>
              </a:buClr>
            </a:pPr>
            <a:endParaRPr lang="ru" sz="1350" dirty="0"/>
          </a:p>
          <a:p>
            <a:pPr>
              <a:buClr>
                <a:schemeClr val="accent3">
                  <a:lumMod val="75000"/>
                </a:schemeClr>
              </a:buClr>
            </a:pPr>
            <a:r>
              <a:rPr lang="ru" sz="1350" dirty="0"/>
              <a:t>Однако статус мутации </a:t>
            </a:r>
            <a:r>
              <a:rPr lang="ru" sz="1350" i="1" dirty="0"/>
              <a:t>HER2</a:t>
            </a:r>
            <a:r>
              <a:rPr lang="ru" sz="1350" dirty="0"/>
              <a:t> при НМРЛ в настоящее время </a:t>
            </a:r>
            <a:r>
              <a:rPr lang="ru-RU" sz="1350" dirty="0"/>
              <a:t>может определяться </a:t>
            </a:r>
            <a:br>
              <a:rPr lang="ru-RU" sz="1350" dirty="0"/>
            </a:br>
            <a:r>
              <a:rPr lang="ru" sz="1350" dirty="0"/>
              <a:t>в рамках более широкого молекулярного профилирования с использованием</a:t>
            </a:r>
            <a:r>
              <a:rPr lang="en-US" sz="1350" dirty="0"/>
              <a:t> </a:t>
            </a:r>
            <a:r>
              <a:rPr lang="ru-RU" sz="1350" dirty="0"/>
              <a:t>секвенирования нового поколения</a:t>
            </a:r>
            <a:r>
              <a:rPr lang="ru" sz="1350" dirty="0"/>
              <a:t> (</a:t>
            </a:r>
            <a:r>
              <a:rPr lang="en-US" sz="1350" dirty="0"/>
              <a:t>NGS</a:t>
            </a:r>
            <a:r>
              <a:rPr lang="ru-RU" sz="1350" dirty="0"/>
              <a:t>)</a:t>
            </a:r>
            <a:r>
              <a:rPr lang="ru" sz="1350" dirty="0"/>
              <a:t> </a:t>
            </a:r>
          </a:p>
          <a:p>
            <a:pPr>
              <a:buClr>
                <a:schemeClr val="accent3">
                  <a:lumMod val="75000"/>
                </a:schemeClr>
              </a:buClr>
            </a:pPr>
            <a:endParaRPr lang="ru" sz="1350" dirty="0"/>
          </a:p>
          <a:p>
            <a:pPr>
              <a:buClr>
                <a:schemeClr val="accent3">
                  <a:lumMod val="75000"/>
                </a:schemeClr>
              </a:buClr>
            </a:pPr>
            <a:r>
              <a:rPr lang="ru" sz="1350" dirty="0"/>
              <a:t>Мутации </a:t>
            </a:r>
            <a:r>
              <a:rPr lang="en" sz="1350" i="1" dirty="0"/>
              <a:t>HER2</a:t>
            </a:r>
            <a:r>
              <a:rPr lang="en" sz="1350" dirty="0"/>
              <a:t> можно </a:t>
            </a:r>
            <a:r>
              <a:rPr lang="ru-RU" sz="1350" dirty="0"/>
              <a:t>выявить</a:t>
            </a:r>
            <a:r>
              <a:rPr lang="en" sz="1350" dirty="0"/>
              <a:t> с помощью NGS </a:t>
            </a:r>
            <a:r>
              <a:rPr lang="ru-RU" sz="1350" dirty="0"/>
              <a:t>как в</a:t>
            </a:r>
            <a:r>
              <a:rPr lang="en" sz="1350" dirty="0"/>
              <a:t> опухолевой ткани</a:t>
            </a:r>
            <a:r>
              <a:rPr lang="ru-RU" sz="1350" dirty="0"/>
              <a:t>, так и в плазме крови при анализе циркулирующей опухолевой </a:t>
            </a:r>
            <a:r>
              <a:rPr lang="en" sz="1350" dirty="0"/>
              <a:t>ДНК</a:t>
            </a:r>
            <a:endParaRPr lang="ru" sz="1350" dirty="0"/>
          </a:p>
        </p:txBody>
      </p:sp>
      <p:sp>
        <p:nvSpPr>
          <p:cNvPr id="4" name="Text Placeholder 3">
            <a:extLst>
              <a:ext uri="{FF2B5EF4-FFF2-40B4-BE49-F238E27FC236}">
                <a16:creationId xmlns:a16="http://schemas.microsoft.com/office/drawing/2014/main" xmlns="" id="{58970F36-8269-6366-DA1E-107D4696B02C}"/>
              </a:ext>
            </a:extLst>
          </p:cNvPr>
          <p:cNvSpPr txBox="1">
            <a:spLocks/>
          </p:cNvSpPr>
          <p:nvPr/>
        </p:nvSpPr>
        <p:spPr>
          <a:xfrm>
            <a:off x="261912" y="4696094"/>
            <a:ext cx="8150568" cy="347663"/>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ru" sz="525" b="1" dirty="0"/>
              <a:t>1. </a:t>
            </a:r>
            <a:r>
              <a:rPr lang="ru" sz="525" dirty="0"/>
              <a:t>Pennell NA, et al. </a:t>
            </a:r>
            <a:r>
              <a:rPr lang="ru" sz="525" i="1" dirty="0"/>
              <a:t>Am </a:t>
            </a:r>
            <a:r>
              <a:rPr lang="ru" sz="600" i="1" dirty="0"/>
              <a:t>Soc</a:t>
            </a:r>
            <a:r>
              <a:rPr lang="ru" sz="525" i="1" dirty="0"/>
              <a:t> Clin Oncol Educ Book</a:t>
            </a:r>
            <a:r>
              <a:rPr lang="ru" sz="525" dirty="0"/>
              <a:t>. 2019;(39):531-542. </a:t>
            </a:r>
            <a:r>
              <a:rPr lang="ru" sz="525" b="1" dirty="0"/>
              <a:t>2. </a:t>
            </a:r>
            <a:r>
              <a:rPr lang="ru" sz="525" dirty="0"/>
              <a:t>Mar N, et a, </a:t>
            </a:r>
            <a:r>
              <a:rPr lang="ru" sz="525" i="1" dirty="0"/>
              <a:t>Lung Cancer. </a:t>
            </a:r>
            <a:r>
              <a:rPr lang="ru" sz="525" dirty="0"/>
              <a:t>2015;87(3):220-225. </a:t>
            </a:r>
            <a:r>
              <a:rPr lang="ru" sz="525" b="1" dirty="0"/>
              <a:t>3.</a:t>
            </a:r>
            <a:r>
              <a:rPr lang="ru" sz="525" dirty="0"/>
              <a:t> Grob TJ, et al. </a:t>
            </a:r>
            <a:r>
              <a:rPr lang="ru" sz="525" i="1" dirty="0"/>
              <a:t>Mod Pathol</a:t>
            </a:r>
            <a:r>
              <a:rPr lang="ru" sz="525" dirty="0"/>
              <a:t>. 2012;25(12):1566-1573. </a:t>
            </a:r>
          </a:p>
        </p:txBody>
      </p:sp>
      <p:sp>
        <p:nvSpPr>
          <p:cNvPr id="6" name="TextBox 5">
            <a:extLst>
              <a:ext uri="{FF2B5EF4-FFF2-40B4-BE49-F238E27FC236}">
                <a16:creationId xmlns:a16="http://schemas.microsoft.com/office/drawing/2014/main" xmlns="" id="{EF1844BA-30E6-9B6F-A015-23ACAD77DF1D}"/>
              </a:ext>
            </a:extLst>
          </p:cNvPr>
          <p:cNvSpPr txBox="1"/>
          <p:nvPr/>
        </p:nvSpPr>
        <p:spPr>
          <a:xfrm>
            <a:off x="302346" y="4312773"/>
            <a:ext cx="3053330" cy="225426"/>
          </a:xfrm>
          <a:prstGeom prst="rect">
            <a:avLst/>
          </a:prstGeom>
          <a:noFill/>
          <a:ln>
            <a:solidFill>
              <a:schemeClr val="bg1"/>
            </a:solidFill>
          </a:ln>
        </p:spPr>
        <p:txBody>
          <a:bodyPr wrap="none" rtlCol="0">
            <a:noAutofit/>
          </a:bodyPr>
          <a:lstStyle/>
          <a:p>
            <a:pPr algn="l">
              <a:lnSpc>
                <a:spcPct val="90000"/>
              </a:lnSpc>
              <a:spcAft>
                <a:spcPts val="600"/>
              </a:spcAft>
            </a:pPr>
            <a:r>
              <a:rPr lang="ru-RU" sz="700" dirty="0"/>
              <a:t>НМРЛ – </a:t>
            </a:r>
            <a:r>
              <a:rPr lang="ru-RU" sz="700" i="1" dirty="0" err="1"/>
              <a:t>немелкоклеточный</a:t>
            </a:r>
            <a:r>
              <a:rPr lang="ru-RU" sz="700" dirty="0"/>
              <a:t> рак легкого</a:t>
            </a:r>
            <a:endParaRPr lang="ru-RU" sz="700" dirty="0">
              <a:latin typeface="Arial"/>
            </a:endParaRPr>
          </a:p>
        </p:txBody>
      </p:sp>
    </p:spTree>
    <p:extLst>
      <p:ext uri="{BB962C8B-B14F-4D97-AF65-F5344CB8AC3E}">
        <p14:creationId xmlns:p14="http://schemas.microsoft.com/office/powerpoint/2010/main" val="20415072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1519F1E-34F3-8AAA-93BD-506CAF759978}"/>
              </a:ext>
            </a:extLst>
          </p:cNvPr>
          <p:cNvSpPr>
            <a:spLocks noGrp="1"/>
          </p:cNvSpPr>
          <p:nvPr>
            <p:ph type="title"/>
          </p:nvPr>
        </p:nvSpPr>
        <p:spPr/>
        <p:txBody>
          <a:bodyPr/>
          <a:lstStyle/>
          <a:p>
            <a:r>
              <a:rPr lang="ru-RU" dirty="0"/>
              <a:t>Характеристики НМРЛ с мутацией </a:t>
            </a:r>
            <a:r>
              <a:rPr lang="ru-RU" i="1" dirty="0"/>
              <a:t>HER2</a:t>
            </a:r>
          </a:p>
        </p:txBody>
      </p:sp>
      <p:sp>
        <p:nvSpPr>
          <p:cNvPr id="5" name="Text Placeholder 9">
            <a:extLst>
              <a:ext uri="{FF2B5EF4-FFF2-40B4-BE49-F238E27FC236}">
                <a16:creationId xmlns:a16="http://schemas.microsoft.com/office/drawing/2014/main" xmlns="" id="{0CA13E94-2F9B-F5E0-36E3-4B7CEE009727}"/>
              </a:ext>
            </a:extLst>
          </p:cNvPr>
          <p:cNvSpPr txBox="1">
            <a:spLocks/>
          </p:cNvSpPr>
          <p:nvPr/>
        </p:nvSpPr>
        <p:spPr>
          <a:xfrm>
            <a:off x="305256" y="847314"/>
            <a:ext cx="7806928" cy="1996679"/>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defTabSz="685800">
              <a:spcBef>
                <a:spcPts val="225"/>
              </a:spcBef>
              <a:spcAft>
                <a:spcPts val="450"/>
              </a:spcAft>
              <a:buClr>
                <a:srgbClr val="9CD3E3">
                  <a:lumMod val="75000"/>
                </a:srgbClr>
              </a:buClr>
              <a:defRPr/>
            </a:pPr>
            <a:r>
              <a:rPr lang="ru" sz="1200" dirty="0">
                <a:latin typeface="Arial"/>
              </a:rPr>
              <a:t>Мутации</a:t>
            </a:r>
            <a:r>
              <a:rPr lang="ru" sz="1200" i="1" dirty="0">
                <a:latin typeface="Arial"/>
              </a:rPr>
              <a:t> HER2</a:t>
            </a:r>
            <a:r>
              <a:rPr lang="ru" sz="1200" dirty="0">
                <a:latin typeface="Arial"/>
              </a:rPr>
              <a:t> при НМРЛ обычно включают небольшие вставки без сдвига рамки считывания</a:t>
            </a:r>
            <a:br>
              <a:rPr lang="ru" sz="1200" dirty="0">
                <a:latin typeface="Arial"/>
              </a:rPr>
            </a:br>
            <a:r>
              <a:rPr lang="ru" sz="1200" dirty="0">
                <a:latin typeface="Arial"/>
              </a:rPr>
              <a:t>и точечные мутации в экзоне 20</a:t>
            </a:r>
            <a:r>
              <a:rPr lang="ru" sz="1200" baseline="30000" dirty="0">
                <a:latin typeface="Arial"/>
              </a:rPr>
              <a:t>1 </a:t>
            </a:r>
            <a:r>
              <a:rPr lang="en-US" sz="100" dirty="0">
                <a:latin typeface="Arial"/>
              </a:rPr>
              <a:t/>
            </a:r>
            <a:br>
              <a:rPr lang="en-US" sz="100" dirty="0">
                <a:latin typeface="Arial"/>
              </a:rPr>
            </a:br>
            <a:endParaRPr lang="en-US" sz="100" dirty="0">
              <a:latin typeface="Arial"/>
            </a:endParaRPr>
          </a:p>
          <a:p>
            <a:pPr marL="488633" lvl="1" indent="-214313" defTabSz="685800">
              <a:spcBef>
                <a:spcPts val="0"/>
              </a:spcBef>
              <a:spcAft>
                <a:spcPts val="600"/>
              </a:spcAft>
              <a:buClr>
                <a:srgbClr val="9CD3E3">
                  <a:lumMod val="75000"/>
                </a:srgbClr>
              </a:buClr>
              <a:buFont typeface="Arial" panose="020B0604020202020204" pitchFamily="34" charset="0"/>
              <a:buChar char="–"/>
              <a:defRPr/>
            </a:pPr>
            <a:r>
              <a:rPr lang="ru" sz="1050" dirty="0">
                <a:latin typeface="Arial"/>
              </a:rPr>
              <a:t>Большинство мутаций представляют собой дупликации или вставки YVMA в кодоне 776</a:t>
            </a:r>
            <a:r>
              <a:rPr lang="ru" sz="1050" baseline="30000" dirty="0">
                <a:latin typeface="Arial"/>
              </a:rPr>
              <a:t>2</a:t>
            </a:r>
            <a:r>
              <a:rPr lang="ru" sz="1050" dirty="0">
                <a:latin typeface="Arial"/>
              </a:rPr>
              <a:t> </a:t>
            </a:r>
          </a:p>
          <a:p>
            <a:pPr marL="488633" lvl="1" indent="-214313" defTabSz="685800">
              <a:spcBef>
                <a:spcPts val="0"/>
              </a:spcBef>
              <a:spcAft>
                <a:spcPts val="600"/>
              </a:spcAft>
              <a:buClr>
                <a:srgbClr val="9CD3E3">
                  <a:lumMod val="75000"/>
                </a:srgbClr>
              </a:buClr>
              <a:buFont typeface="Arial" panose="020B0604020202020204" pitchFamily="34" charset="0"/>
              <a:buChar char="–"/>
              <a:defRPr/>
            </a:pPr>
            <a:r>
              <a:rPr lang="ru" sz="1050" dirty="0">
                <a:latin typeface="Arial"/>
              </a:rPr>
              <a:t>Мутации экзона 20 в гене </a:t>
            </a:r>
            <a:r>
              <a:rPr lang="ru" sz="1050" i="1" dirty="0">
                <a:latin typeface="Arial"/>
              </a:rPr>
              <a:t>HER2</a:t>
            </a:r>
            <a:r>
              <a:rPr lang="ru" sz="1050" dirty="0">
                <a:latin typeface="Arial"/>
              </a:rPr>
              <a:t> могут приводить к агрессивному фенотипу и служить маркером неблагоприятного прогноза</a:t>
            </a:r>
            <a:r>
              <a:rPr lang="ru" sz="1050" baseline="30000" dirty="0">
                <a:latin typeface="Arial"/>
              </a:rPr>
              <a:t>2</a:t>
            </a:r>
          </a:p>
          <a:p>
            <a:pPr marL="488633" lvl="1" indent="-214313" defTabSz="685800">
              <a:spcBef>
                <a:spcPts val="0"/>
              </a:spcBef>
              <a:spcAft>
                <a:spcPts val="600"/>
              </a:spcAft>
              <a:buClr>
                <a:srgbClr val="9CD3E3">
                  <a:lumMod val="75000"/>
                </a:srgbClr>
              </a:buClr>
              <a:buFont typeface="Arial" panose="020B0604020202020204" pitchFamily="34" charset="0"/>
              <a:buChar char="–"/>
              <a:defRPr/>
            </a:pPr>
            <a:r>
              <a:rPr lang="ru" sz="1050" dirty="0">
                <a:latin typeface="Arial"/>
              </a:rPr>
              <a:t>В исследовании с участием 920 пациентов с аденокарциномой легкого поздних стади</a:t>
            </a:r>
            <a:r>
              <a:rPr lang="ru-RU" sz="1050" dirty="0">
                <a:latin typeface="Arial"/>
              </a:rPr>
              <a:t>и</a:t>
            </a:r>
            <a:r>
              <a:rPr lang="ru" sz="1050" dirty="0">
                <a:latin typeface="Arial"/>
              </a:rPr>
              <a:t> у 2,6% была выявлена мутация </a:t>
            </a:r>
            <a:r>
              <a:rPr lang="ru" sz="1050" i="1" dirty="0">
                <a:latin typeface="Arial"/>
              </a:rPr>
              <a:t>HER2</a:t>
            </a:r>
            <a:r>
              <a:rPr lang="ru" sz="1050" dirty="0">
                <a:latin typeface="Arial"/>
              </a:rPr>
              <a:t>, которая во всех случаях представляла собой вставку в экзоне 20</a:t>
            </a:r>
            <a:r>
              <a:rPr lang="ru" sz="1050" baseline="30000" dirty="0">
                <a:latin typeface="Arial"/>
              </a:rPr>
              <a:t>2 </a:t>
            </a:r>
            <a:r>
              <a:rPr lang="en-US" sz="100" dirty="0">
                <a:latin typeface="Arial"/>
              </a:rPr>
              <a:t/>
            </a:r>
            <a:br>
              <a:rPr lang="en-US" sz="100" dirty="0">
                <a:latin typeface="Arial"/>
              </a:rPr>
            </a:br>
            <a:endParaRPr lang="en-US" sz="100" dirty="0">
              <a:latin typeface="Arial"/>
            </a:endParaRPr>
          </a:p>
          <a:p>
            <a:pPr marL="177800" indent="-177800" defTabSz="685800">
              <a:lnSpc>
                <a:spcPct val="100000"/>
              </a:lnSpc>
              <a:spcBef>
                <a:spcPts val="450"/>
              </a:spcBef>
              <a:buClr>
                <a:srgbClr val="9CD3E3">
                  <a:lumMod val="75000"/>
                </a:srgbClr>
              </a:buClr>
              <a:defRPr/>
            </a:pPr>
            <a:r>
              <a:rPr lang="ru" sz="1200" dirty="0">
                <a:latin typeface="Arial"/>
              </a:rPr>
              <a:t>Как правило, при НМРЛ мутации HER2 не сочетаются с другими распространенными онкогенными драйверами</a:t>
            </a:r>
            <a:r>
              <a:rPr lang="ru" sz="1200" baseline="30000" dirty="0">
                <a:latin typeface="Arial"/>
              </a:rPr>
              <a:t>2,3</a:t>
            </a:r>
          </a:p>
        </p:txBody>
      </p:sp>
      <p:sp>
        <p:nvSpPr>
          <p:cNvPr id="6" name="Text Placeholder 2">
            <a:extLst>
              <a:ext uri="{FF2B5EF4-FFF2-40B4-BE49-F238E27FC236}">
                <a16:creationId xmlns:a16="http://schemas.microsoft.com/office/drawing/2014/main" xmlns="" id="{109BF733-D603-D210-49FE-5BD9917492F8}"/>
              </a:ext>
            </a:extLst>
          </p:cNvPr>
          <p:cNvSpPr txBox="1">
            <a:spLocks/>
          </p:cNvSpPr>
          <p:nvPr/>
        </p:nvSpPr>
        <p:spPr>
          <a:xfrm>
            <a:off x="265392" y="4834702"/>
            <a:ext cx="8283833" cy="309551"/>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ru" sz="600" b="1" dirty="0">
                <a:solidFill>
                  <a:srgbClr val="000000"/>
                </a:solidFill>
                <a:latin typeface="Arial"/>
              </a:rPr>
              <a:t>1. </a:t>
            </a:r>
            <a:r>
              <a:rPr lang="ru" sz="600" dirty="0">
                <a:solidFill>
                  <a:srgbClr val="000000"/>
                </a:solidFill>
                <a:latin typeface="Arial"/>
              </a:rPr>
              <a:t>Zhou J, et al. </a:t>
            </a:r>
            <a:r>
              <a:rPr lang="ru" sz="600" i="1" dirty="0">
                <a:solidFill>
                  <a:srgbClr val="000000"/>
                </a:solidFill>
                <a:latin typeface="Arial"/>
              </a:rPr>
              <a:t>Ther Adv Med Oncol. </a:t>
            </a:r>
            <a:r>
              <a:rPr lang="ru" sz="600" dirty="0">
                <a:solidFill>
                  <a:srgbClr val="000000"/>
                </a:solidFill>
                <a:latin typeface="Arial"/>
              </a:rPr>
              <a:t>2020;12:1758835920936090. </a:t>
            </a:r>
            <a:r>
              <a:rPr lang="ru" sz="600" b="1" dirty="0">
                <a:solidFill>
                  <a:srgbClr val="000000"/>
                </a:solidFill>
                <a:latin typeface="Arial"/>
              </a:rPr>
              <a:t>2. </a:t>
            </a:r>
            <a:r>
              <a:rPr lang="ru" sz="600" dirty="0">
                <a:solidFill>
                  <a:srgbClr val="000000"/>
                </a:solidFill>
                <a:latin typeface="Arial"/>
              </a:rPr>
              <a:t>Pillai RN, et al. </a:t>
            </a:r>
            <a:r>
              <a:rPr lang="ru" sz="600" i="1" dirty="0">
                <a:solidFill>
                  <a:srgbClr val="000000"/>
                </a:solidFill>
                <a:latin typeface="Arial"/>
              </a:rPr>
              <a:t>Cancer</a:t>
            </a:r>
            <a:r>
              <a:rPr lang="ru" sz="600" dirty="0">
                <a:solidFill>
                  <a:srgbClr val="000000"/>
                </a:solidFill>
                <a:latin typeface="Arial"/>
              </a:rPr>
              <a:t>. 2017;123(21):4099-4105. </a:t>
            </a:r>
            <a:r>
              <a:rPr lang="ru" sz="600" b="1" dirty="0">
                <a:solidFill>
                  <a:srgbClr val="000000"/>
                </a:solidFill>
                <a:latin typeface="Arial"/>
              </a:rPr>
              <a:t>3. </a:t>
            </a:r>
            <a:r>
              <a:rPr lang="ru" sz="600" dirty="0">
                <a:solidFill>
                  <a:srgbClr val="000000"/>
                </a:solidFill>
                <a:latin typeface="Arial"/>
              </a:rPr>
              <a:t>Takeda M, et al. </a:t>
            </a:r>
            <a:r>
              <a:rPr lang="ru" sz="600" i="1" dirty="0">
                <a:solidFill>
                  <a:srgbClr val="000000"/>
                </a:solidFill>
                <a:latin typeface="Arial"/>
              </a:rPr>
              <a:t>Oncotarget</a:t>
            </a:r>
            <a:r>
              <a:rPr lang="ru" sz="600" dirty="0">
                <a:solidFill>
                  <a:srgbClr val="000000"/>
                </a:solidFill>
                <a:latin typeface="Arial"/>
              </a:rPr>
              <a:t>. 2018;9(30):21132-21140. </a:t>
            </a:r>
            <a:r>
              <a:rPr lang="ru" sz="600" b="1" dirty="0">
                <a:solidFill>
                  <a:srgbClr val="000000"/>
                </a:solidFill>
                <a:latin typeface="Arial"/>
              </a:rPr>
              <a:t>4. </a:t>
            </a:r>
            <a:r>
              <a:rPr lang="ru" sz="600" dirty="0">
                <a:solidFill>
                  <a:srgbClr val="000000"/>
                </a:solidFill>
                <a:latin typeface="Arial"/>
              </a:rPr>
              <a:t>Mar N, et al. </a:t>
            </a:r>
            <a:r>
              <a:rPr lang="ru" sz="600" i="1" dirty="0">
                <a:solidFill>
                  <a:srgbClr val="000000"/>
                </a:solidFill>
                <a:latin typeface="Arial"/>
              </a:rPr>
              <a:t>Lung Cancer. </a:t>
            </a:r>
            <a:r>
              <a:rPr lang="ru" sz="600" dirty="0">
                <a:solidFill>
                  <a:srgbClr val="000000"/>
                </a:solidFill>
                <a:latin typeface="Arial"/>
              </a:rPr>
              <a:t>2015;87(3):220-225. </a:t>
            </a:r>
          </a:p>
        </p:txBody>
      </p:sp>
      <p:grpSp>
        <p:nvGrpSpPr>
          <p:cNvPr id="44" name="Group 43">
            <a:extLst>
              <a:ext uri="{FF2B5EF4-FFF2-40B4-BE49-F238E27FC236}">
                <a16:creationId xmlns:a16="http://schemas.microsoft.com/office/drawing/2014/main" xmlns="" id="{EDE74664-11B7-452E-9C58-7959A5D235D5}"/>
              </a:ext>
            </a:extLst>
          </p:cNvPr>
          <p:cNvGrpSpPr/>
          <p:nvPr/>
        </p:nvGrpSpPr>
        <p:grpSpPr>
          <a:xfrm>
            <a:off x="193082" y="3005353"/>
            <a:ext cx="8356143" cy="1287293"/>
            <a:chOff x="714376" y="3161289"/>
            <a:chExt cx="8356143" cy="1287293"/>
          </a:xfrm>
        </p:grpSpPr>
        <p:grpSp>
          <p:nvGrpSpPr>
            <p:cNvPr id="7" name="Group 62">
              <a:extLst>
                <a:ext uri="{FF2B5EF4-FFF2-40B4-BE49-F238E27FC236}">
                  <a16:creationId xmlns:a16="http://schemas.microsoft.com/office/drawing/2014/main" xmlns="" id="{215AC21D-716B-E570-0141-0397EBBE6CC0}"/>
                </a:ext>
              </a:extLst>
            </p:cNvPr>
            <p:cNvGrpSpPr/>
            <p:nvPr/>
          </p:nvGrpSpPr>
          <p:grpSpPr>
            <a:xfrm>
              <a:off x="714376" y="3161289"/>
              <a:ext cx="8356143" cy="1287293"/>
              <a:chOff x="625199" y="4129593"/>
              <a:chExt cx="11048996" cy="1716390"/>
            </a:xfrm>
          </p:grpSpPr>
          <p:grpSp>
            <p:nvGrpSpPr>
              <p:cNvPr id="8" name="Group 34">
                <a:extLst>
                  <a:ext uri="{FF2B5EF4-FFF2-40B4-BE49-F238E27FC236}">
                    <a16:creationId xmlns:a16="http://schemas.microsoft.com/office/drawing/2014/main" xmlns="" id="{5FF9F994-1D68-5435-AADE-D87C45571E62}"/>
                  </a:ext>
                </a:extLst>
              </p:cNvPr>
              <p:cNvGrpSpPr/>
              <p:nvPr/>
            </p:nvGrpSpPr>
            <p:grpSpPr>
              <a:xfrm>
                <a:off x="625199" y="4129593"/>
                <a:ext cx="11048996" cy="1716390"/>
                <a:chOff x="625199" y="4535971"/>
                <a:chExt cx="11048996" cy="1716390"/>
              </a:xfrm>
            </p:grpSpPr>
            <p:sp>
              <p:nvSpPr>
                <p:cNvPr id="24" name="Rectangle: Rounded Corners 37">
                  <a:extLst>
                    <a:ext uri="{FF2B5EF4-FFF2-40B4-BE49-F238E27FC236}">
                      <a16:creationId xmlns:a16="http://schemas.microsoft.com/office/drawing/2014/main" xmlns="" id="{399B7EFC-AE01-FAED-936F-661ACE3D5BD2}"/>
                    </a:ext>
                  </a:extLst>
                </p:cNvPr>
                <p:cNvSpPr/>
                <p:nvPr/>
              </p:nvSpPr>
              <p:spPr>
                <a:xfrm>
                  <a:off x="819513" y="4972201"/>
                  <a:ext cx="10230807" cy="1280160"/>
                </a:xfrm>
                <a:prstGeom prst="roundRect">
                  <a:avLst>
                    <a:gd name="adj" fmla="val 12973"/>
                  </a:avLst>
                </a:prstGeom>
                <a:solidFill>
                  <a:srgbClr val="9F9AE2">
                    <a:lumMod val="40000"/>
                    <a:lumOff val="60000"/>
                  </a:srgbClr>
                </a:solidFill>
                <a:ln w="6350" cap="flat" cmpd="sng" algn="ctr">
                  <a:solidFill>
                    <a:srgbClr val="003865"/>
                  </a:solidFill>
                  <a:prstDash val="solid"/>
                  <a:miter lim="800000"/>
                </a:ln>
                <a:effectLst/>
              </p:spPr>
              <p:txBody>
                <a:bodyPr rtlCol="0" anchor="ctr"/>
                <a:lstStyle/>
                <a:p>
                  <a:pPr algn="ctr" defTabSz="685800">
                    <a:defRPr/>
                  </a:pPr>
                  <a:endParaRPr lang="en-US" sz="1350" kern="0" dirty="0">
                    <a:solidFill>
                      <a:srgbClr val="000000"/>
                    </a:solidFill>
                    <a:latin typeface="Arial"/>
                  </a:endParaRPr>
                </a:p>
              </p:txBody>
            </p:sp>
            <p:sp>
              <p:nvSpPr>
                <p:cNvPr id="25" name="Rectangle 38">
                  <a:extLst>
                    <a:ext uri="{FF2B5EF4-FFF2-40B4-BE49-F238E27FC236}">
                      <a16:creationId xmlns:a16="http://schemas.microsoft.com/office/drawing/2014/main" xmlns="" id="{198598B7-EC52-0242-DD46-3F773A93D6A4}"/>
                    </a:ext>
                  </a:extLst>
                </p:cNvPr>
                <p:cNvSpPr/>
                <p:nvPr/>
              </p:nvSpPr>
              <p:spPr>
                <a:xfrm>
                  <a:off x="625199" y="4535971"/>
                  <a:ext cx="11048996" cy="400109"/>
                </a:xfrm>
                <a:prstGeom prst="rect">
                  <a:avLst/>
                </a:prstGeom>
              </p:spPr>
              <p:txBody>
                <a:bodyPr wrap="square" rtlCol="0">
                  <a:spAutoFit/>
                </a:bodyPr>
                <a:lstStyle/>
                <a:p>
                  <a:pPr algn="ctr" defTabSz="685800">
                    <a:defRPr/>
                  </a:pPr>
                  <a:r>
                    <a:rPr lang="ru" sz="1350" b="1" kern="0" dirty="0">
                      <a:solidFill>
                        <a:srgbClr val="003865"/>
                      </a:solidFill>
                    </a:rPr>
                    <a:t>Клинико-патологические характеристики пациентов с НМРЛ с мутацией </a:t>
                  </a:r>
                  <a:r>
                    <a:rPr lang="ru" sz="1350" b="1" i="1" kern="0" dirty="0">
                      <a:solidFill>
                        <a:srgbClr val="003865"/>
                      </a:solidFill>
                    </a:rPr>
                    <a:t>HER2</a:t>
                  </a:r>
                  <a:r>
                    <a:rPr lang="ru" sz="1350" b="1" kern="0" baseline="30000" dirty="0">
                      <a:solidFill>
                        <a:srgbClr val="003865"/>
                      </a:solidFill>
                    </a:rPr>
                    <a:t>1,2</a:t>
                  </a:r>
                </a:p>
              </p:txBody>
            </p:sp>
            <p:sp>
              <p:nvSpPr>
                <p:cNvPr id="26" name="Rectangle 40">
                  <a:extLst>
                    <a:ext uri="{FF2B5EF4-FFF2-40B4-BE49-F238E27FC236}">
                      <a16:creationId xmlns:a16="http://schemas.microsoft.com/office/drawing/2014/main" xmlns="" id="{DCF0C2FA-D87D-340F-766B-C57CC30A12D8}"/>
                    </a:ext>
                  </a:extLst>
                </p:cNvPr>
                <p:cNvSpPr/>
                <p:nvPr/>
              </p:nvSpPr>
              <p:spPr>
                <a:xfrm>
                  <a:off x="1160516" y="4970641"/>
                  <a:ext cx="1662180" cy="317009"/>
                </a:xfrm>
                <a:prstGeom prst="rect">
                  <a:avLst/>
                </a:prstGeom>
              </p:spPr>
              <p:txBody>
                <a:bodyPr wrap="none" rtlCol="0">
                  <a:spAutoFit/>
                </a:bodyPr>
                <a:lstStyle/>
                <a:p>
                  <a:pPr algn="ctr" defTabSz="685800">
                    <a:lnSpc>
                      <a:spcPct val="90000"/>
                    </a:lnSpc>
                    <a:defRPr/>
                  </a:pPr>
                  <a:r>
                    <a:rPr lang="ru" sz="1050" kern="0" dirty="0">
                      <a:solidFill>
                        <a:srgbClr val="000000"/>
                      </a:solidFill>
                    </a:rPr>
                    <a:t>Аденокарцинома</a:t>
                  </a:r>
                </a:p>
              </p:txBody>
            </p:sp>
            <p:sp>
              <p:nvSpPr>
                <p:cNvPr id="27" name="Rectangle 42">
                  <a:extLst>
                    <a:ext uri="{FF2B5EF4-FFF2-40B4-BE49-F238E27FC236}">
                      <a16:creationId xmlns:a16="http://schemas.microsoft.com/office/drawing/2014/main" xmlns="" id="{E7168602-C832-871C-7D8E-A1374356A16B}"/>
                    </a:ext>
                  </a:extLst>
                </p:cNvPr>
                <p:cNvSpPr/>
                <p:nvPr/>
              </p:nvSpPr>
              <p:spPr>
                <a:xfrm>
                  <a:off x="9129559" y="4970641"/>
                  <a:ext cx="1785117" cy="317009"/>
                </a:xfrm>
                <a:prstGeom prst="rect">
                  <a:avLst/>
                </a:prstGeom>
              </p:spPr>
              <p:txBody>
                <a:bodyPr wrap="none" rtlCol="0">
                  <a:spAutoFit/>
                </a:bodyPr>
                <a:lstStyle/>
                <a:p>
                  <a:pPr algn="ctr" defTabSz="685800">
                    <a:lnSpc>
                      <a:spcPct val="90000"/>
                    </a:lnSpc>
                    <a:defRPr/>
                  </a:pPr>
                  <a:r>
                    <a:rPr lang="ru" sz="1050" kern="0" dirty="0">
                      <a:solidFill>
                        <a:srgbClr val="000000"/>
                      </a:solidFill>
                    </a:rPr>
                    <a:t>Никогда не курили</a:t>
                  </a:r>
                  <a:endParaRPr lang="en-US" sz="1050" kern="0" baseline="30000" dirty="0">
                    <a:solidFill>
                      <a:srgbClr val="000000"/>
                    </a:solidFill>
                  </a:endParaRPr>
                </a:p>
              </p:txBody>
            </p:sp>
            <p:sp>
              <p:nvSpPr>
                <p:cNvPr id="28" name="Rectangle 44">
                  <a:extLst>
                    <a:ext uri="{FF2B5EF4-FFF2-40B4-BE49-F238E27FC236}">
                      <a16:creationId xmlns:a16="http://schemas.microsoft.com/office/drawing/2014/main" xmlns="" id="{327DBDF9-4BAA-8ECF-8D21-3A44E5749F63}"/>
                    </a:ext>
                  </a:extLst>
                </p:cNvPr>
                <p:cNvSpPr/>
                <p:nvPr/>
              </p:nvSpPr>
              <p:spPr>
                <a:xfrm>
                  <a:off x="3358015" y="4970641"/>
                  <a:ext cx="2799304" cy="704808"/>
                </a:xfrm>
                <a:prstGeom prst="rect">
                  <a:avLst/>
                </a:prstGeom>
              </p:spPr>
              <p:txBody>
                <a:bodyPr wrap="square" rtlCol="0">
                  <a:spAutoFit/>
                </a:bodyPr>
                <a:lstStyle/>
                <a:p>
                  <a:pPr algn="ctr" defTabSz="685800">
                    <a:lnSpc>
                      <a:spcPct val="90000"/>
                    </a:lnSpc>
                    <a:defRPr/>
                  </a:pPr>
                  <a:r>
                    <a:rPr lang="ru" sz="1050" kern="0" dirty="0">
                      <a:solidFill>
                        <a:srgbClr val="000000"/>
                      </a:solidFill>
                    </a:rPr>
                    <a:t>Более молодой возраст, &lt; 65 лет на момент постановки диагноза</a:t>
                  </a:r>
                  <a:endParaRPr lang="en-US" sz="1050" kern="0" baseline="30000" dirty="0">
                    <a:solidFill>
                      <a:srgbClr val="000000"/>
                    </a:solidFill>
                  </a:endParaRPr>
                </a:p>
              </p:txBody>
            </p:sp>
            <p:sp>
              <p:nvSpPr>
                <p:cNvPr id="29" name="Rectangle 45">
                  <a:extLst>
                    <a:ext uri="{FF2B5EF4-FFF2-40B4-BE49-F238E27FC236}">
                      <a16:creationId xmlns:a16="http://schemas.microsoft.com/office/drawing/2014/main" xmlns="" id="{FB3C84F9-126C-FDE9-1D83-064C40187D62}"/>
                    </a:ext>
                  </a:extLst>
                </p:cNvPr>
                <p:cNvSpPr/>
                <p:nvPr/>
              </p:nvSpPr>
              <p:spPr>
                <a:xfrm>
                  <a:off x="6833609" y="4958970"/>
                  <a:ext cx="1434079" cy="317009"/>
                </a:xfrm>
                <a:prstGeom prst="rect">
                  <a:avLst/>
                </a:prstGeom>
              </p:spPr>
              <p:txBody>
                <a:bodyPr wrap="square" rtlCol="0">
                  <a:spAutoFit/>
                </a:bodyPr>
                <a:lstStyle/>
                <a:p>
                  <a:pPr algn="ctr" defTabSz="685800">
                    <a:lnSpc>
                      <a:spcPct val="90000"/>
                    </a:lnSpc>
                    <a:defRPr/>
                  </a:pPr>
                  <a:r>
                    <a:rPr lang="ru" sz="1050" kern="0" dirty="0">
                      <a:solidFill>
                        <a:srgbClr val="000000"/>
                      </a:solidFill>
                    </a:rPr>
                    <a:t>Женский пол</a:t>
                  </a:r>
                  <a:endParaRPr lang="en-US" sz="1050" kern="0" baseline="30000" dirty="0">
                    <a:solidFill>
                      <a:srgbClr val="000000"/>
                    </a:solidFill>
                  </a:endParaRPr>
                </a:p>
              </p:txBody>
            </p:sp>
          </p:grpSp>
          <p:grpSp>
            <p:nvGrpSpPr>
              <p:cNvPr id="9" name="Group 14">
                <a:extLst>
                  <a:ext uri="{FF2B5EF4-FFF2-40B4-BE49-F238E27FC236}">
                    <a16:creationId xmlns:a16="http://schemas.microsoft.com/office/drawing/2014/main" xmlns="" id="{09AA23A1-7108-0A29-68DA-B4DAAF8D0996}"/>
                  </a:ext>
                </a:extLst>
              </p:cNvPr>
              <p:cNvGrpSpPr/>
              <p:nvPr/>
            </p:nvGrpSpPr>
            <p:grpSpPr>
              <a:xfrm>
                <a:off x="1596496" y="4940460"/>
                <a:ext cx="771742" cy="709892"/>
                <a:chOff x="2588292" y="5079961"/>
                <a:chExt cx="630690" cy="580144"/>
              </a:xfrm>
            </p:grpSpPr>
            <p:sp>
              <p:nvSpPr>
                <p:cNvPr id="17" name="Freeform 46">
                  <a:extLst>
                    <a:ext uri="{FF2B5EF4-FFF2-40B4-BE49-F238E27FC236}">
                      <a16:creationId xmlns:a16="http://schemas.microsoft.com/office/drawing/2014/main" xmlns="" id="{C78A0D6F-F3CB-ABF5-E4AB-5D62E3CC700E}"/>
                    </a:ext>
                  </a:extLst>
                </p:cNvPr>
                <p:cNvSpPr/>
                <p:nvPr/>
              </p:nvSpPr>
              <p:spPr>
                <a:xfrm>
                  <a:off x="2588292" y="5079961"/>
                  <a:ext cx="630690" cy="580144"/>
                </a:xfrm>
                <a:custGeom>
                  <a:avLst/>
                  <a:gdLst>
                    <a:gd name="connsiteX0" fmla="*/ 379415 w 769469"/>
                    <a:gd name="connsiteY0" fmla="*/ 0 h 735393"/>
                    <a:gd name="connsiteX1" fmla="*/ 390056 w 769469"/>
                    <a:gd name="connsiteY1" fmla="*/ 0 h 735393"/>
                    <a:gd name="connsiteX2" fmla="*/ 415608 w 769469"/>
                    <a:gd name="connsiteY2" fmla="*/ 25552 h 735393"/>
                    <a:gd name="connsiteX3" fmla="*/ 415608 w 769469"/>
                    <a:gd name="connsiteY3" fmla="*/ 214552 h 735393"/>
                    <a:gd name="connsiteX4" fmla="*/ 441216 w 769469"/>
                    <a:gd name="connsiteY4" fmla="*/ 233836 h 735393"/>
                    <a:gd name="connsiteX5" fmla="*/ 441249 w 769469"/>
                    <a:gd name="connsiteY5" fmla="*/ 233561 h 735393"/>
                    <a:gd name="connsiteX6" fmla="*/ 490884 w 769469"/>
                    <a:gd name="connsiteY6" fmla="*/ 124999 h 735393"/>
                    <a:gd name="connsiteX7" fmla="*/ 765012 w 769469"/>
                    <a:gd name="connsiteY7" fmla="*/ 431772 h 735393"/>
                    <a:gd name="connsiteX8" fmla="*/ 699923 w 769469"/>
                    <a:gd name="connsiteY8" fmla="*/ 735265 h 735393"/>
                    <a:gd name="connsiteX9" fmla="*/ 426679 w 769469"/>
                    <a:gd name="connsiteY9" fmla="*/ 536764 h 735393"/>
                    <a:gd name="connsiteX10" fmla="*/ 427054 w 769469"/>
                    <a:gd name="connsiteY10" fmla="*/ 433362 h 735393"/>
                    <a:gd name="connsiteX11" fmla="*/ 433350 w 769469"/>
                    <a:gd name="connsiteY11" fmla="*/ 304015 h 735393"/>
                    <a:gd name="connsiteX12" fmla="*/ 384737 w 769469"/>
                    <a:gd name="connsiteY12" fmla="*/ 267407 h 735393"/>
                    <a:gd name="connsiteX13" fmla="*/ 336212 w 769469"/>
                    <a:gd name="connsiteY13" fmla="*/ 303949 h 735393"/>
                    <a:gd name="connsiteX14" fmla="*/ 340296 w 769469"/>
                    <a:gd name="connsiteY14" fmla="*/ 366684 h 735393"/>
                    <a:gd name="connsiteX15" fmla="*/ 342791 w 769469"/>
                    <a:gd name="connsiteY15" fmla="*/ 536764 h 735393"/>
                    <a:gd name="connsiteX16" fmla="*/ 69546 w 769469"/>
                    <a:gd name="connsiteY16" fmla="*/ 735265 h 735393"/>
                    <a:gd name="connsiteX17" fmla="*/ 4457 w 769469"/>
                    <a:gd name="connsiteY17" fmla="*/ 431772 h 735393"/>
                    <a:gd name="connsiteX18" fmla="*/ 278586 w 769469"/>
                    <a:gd name="connsiteY18" fmla="*/ 124999 h 735393"/>
                    <a:gd name="connsiteX19" fmla="*/ 328221 w 769469"/>
                    <a:gd name="connsiteY19" fmla="*/ 233561 h 735393"/>
                    <a:gd name="connsiteX20" fmla="*/ 328253 w 769469"/>
                    <a:gd name="connsiteY20" fmla="*/ 233840 h 735393"/>
                    <a:gd name="connsiteX21" fmla="*/ 353863 w 769469"/>
                    <a:gd name="connsiteY21" fmla="*/ 214554 h 735393"/>
                    <a:gd name="connsiteX22" fmla="*/ 353863 w 769469"/>
                    <a:gd name="connsiteY22" fmla="*/ 25552 h 735393"/>
                    <a:gd name="connsiteX23" fmla="*/ 379415 w 769469"/>
                    <a:gd name="connsiteY23" fmla="*/ 0 h 73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9469" h="735393">
                      <a:moveTo>
                        <a:pt x="379415" y="0"/>
                      </a:moveTo>
                      <a:lnTo>
                        <a:pt x="390056" y="0"/>
                      </a:lnTo>
                      <a:cubicBezTo>
                        <a:pt x="404168" y="0"/>
                        <a:pt x="415608" y="11440"/>
                        <a:pt x="415608" y="25552"/>
                      </a:cubicBezTo>
                      <a:lnTo>
                        <a:pt x="415608" y="214552"/>
                      </a:lnTo>
                      <a:lnTo>
                        <a:pt x="441216" y="233836"/>
                      </a:lnTo>
                      <a:lnTo>
                        <a:pt x="441249" y="233561"/>
                      </a:lnTo>
                      <a:cubicBezTo>
                        <a:pt x="450694" y="173112"/>
                        <a:pt x="466047" y="127870"/>
                        <a:pt x="490884" y="124999"/>
                      </a:cubicBezTo>
                      <a:cubicBezTo>
                        <a:pt x="557116" y="117344"/>
                        <a:pt x="758450" y="304313"/>
                        <a:pt x="765012" y="431772"/>
                      </a:cubicBezTo>
                      <a:cubicBezTo>
                        <a:pt x="771574" y="496893"/>
                        <a:pt x="782560" y="730890"/>
                        <a:pt x="699923" y="735265"/>
                      </a:cubicBezTo>
                      <a:cubicBezTo>
                        <a:pt x="617286" y="739639"/>
                        <a:pt x="427490" y="631913"/>
                        <a:pt x="426679" y="536764"/>
                      </a:cubicBezTo>
                      <a:cubicBezTo>
                        <a:pt x="426476" y="512977"/>
                        <a:pt x="426248" y="475827"/>
                        <a:pt x="427054" y="433362"/>
                      </a:cubicBezTo>
                      <a:lnTo>
                        <a:pt x="433350" y="304015"/>
                      </a:lnTo>
                      <a:lnTo>
                        <a:pt x="384737" y="267407"/>
                      </a:lnTo>
                      <a:lnTo>
                        <a:pt x="336212" y="303949"/>
                      </a:lnTo>
                      <a:lnTo>
                        <a:pt x="340296" y="366684"/>
                      </a:lnTo>
                      <a:cubicBezTo>
                        <a:pt x="343456" y="435335"/>
                        <a:pt x="343095" y="501083"/>
                        <a:pt x="342791" y="536764"/>
                      </a:cubicBezTo>
                      <a:cubicBezTo>
                        <a:pt x="341979" y="631913"/>
                        <a:pt x="152183" y="739639"/>
                        <a:pt x="69546" y="735265"/>
                      </a:cubicBezTo>
                      <a:cubicBezTo>
                        <a:pt x="-13091" y="730890"/>
                        <a:pt x="-2105" y="496893"/>
                        <a:pt x="4457" y="431772"/>
                      </a:cubicBezTo>
                      <a:cubicBezTo>
                        <a:pt x="11019" y="304313"/>
                        <a:pt x="212353" y="117344"/>
                        <a:pt x="278586" y="124999"/>
                      </a:cubicBezTo>
                      <a:cubicBezTo>
                        <a:pt x="303423" y="127870"/>
                        <a:pt x="318775" y="173112"/>
                        <a:pt x="328221" y="233561"/>
                      </a:cubicBezTo>
                      <a:lnTo>
                        <a:pt x="328253" y="233840"/>
                      </a:lnTo>
                      <a:lnTo>
                        <a:pt x="353863" y="214554"/>
                      </a:lnTo>
                      <a:lnTo>
                        <a:pt x="353863" y="25552"/>
                      </a:lnTo>
                      <a:cubicBezTo>
                        <a:pt x="353863" y="11440"/>
                        <a:pt x="365303" y="0"/>
                        <a:pt x="379415" y="0"/>
                      </a:cubicBezTo>
                      <a:close/>
                    </a:path>
                  </a:pathLst>
                </a:custGeom>
                <a:noFill/>
                <a:ln w="38100" cap="flat"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grpSp>
              <p:nvGrpSpPr>
                <p:cNvPr id="18" name="Group 13">
                  <a:extLst>
                    <a:ext uri="{FF2B5EF4-FFF2-40B4-BE49-F238E27FC236}">
                      <a16:creationId xmlns:a16="http://schemas.microsoft.com/office/drawing/2014/main" xmlns="" id="{E92C37E4-6DD2-A49E-AF39-F30E65D6684F}"/>
                    </a:ext>
                  </a:extLst>
                </p:cNvPr>
                <p:cNvGrpSpPr/>
                <p:nvPr/>
              </p:nvGrpSpPr>
              <p:grpSpPr>
                <a:xfrm>
                  <a:off x="2695575" y="5265420"/>
                  <a:ext cx="152399" cy="182880"/>
                  <a:chOff x="2695575" y="5265420"/>
                  <a:chExt cx="152399" cy="182880"/>
                </a:xfrm>
              </p:grpSpPr>
              <p:sp>
                <p:nvSpPr>
                  <p:cNvPr id="22" name="Freeform 11">
                    <a:extLst>
                      <a:ext uri="{FF2B5EF4-FFF2-40B4-BE49-F238E27FC236}">
                        <a16:creationId xmlns:a16="http://schemas.microsoft.com/office/drawing/2014/main" xmlns="" id="{9E2415C9-3E58-6285-FED9-0EBAEB665011}"/>
                      </a:ext>
                    </a:extLst>
                  </p:cNvPr>
                  <p:cNvSpPr/>
                  <p:nvPr/>
                </p:nvSpPr>
                <p:spPr>
                  <a:xfrm>
                    <a:off x="2699385" y="5265420"/>
                    <a:ext cx="148589" cy="182880"/>
                  </a:xfrm>
                  <a:custGeom>
                    <a:avLst/>
                    <a:gdLst>
                      <a:gd name="connsiteX0" fmla="*/ 66040 w 66040"/>
                      <a:gd name="connsiteY0" fmla="*/ 0 h 76200"/>
                      <a:gd name="connsiteX1" fmla="*/ 0 w 66040"/>
                      <a:gd name="connsiteY1" fmla="*/ 76200 h 76200"/>
                    </a:gdLst>
                    <a:ahLst/>
                    <a:cxnLst>
                      <a:cxn ang="0">
                        <a:pos x="connsiteX0" y="connsiteY0"/>
                      </a:cxn>
                      <a:cxn ang="0">
                        <a:pos x="connsiteX1" y="connsiteY1"/>
                      </a:cxn>
                    </a:cxnLst>
                    <a:rect l="l" t="t" r="r" b="b"/>
                    <a:pathLst>
                      <a:path w="66040" h="76200">
                        <a:moveTo>
                          <a:pt x="66040" y="0"/>
                        </a:moveTo>
                        <a:lnTo>
                          <a:pt x="0" y="76200"/>
                        </a:lnTo>
                      </a:path>
                    </a:pathLst>
                  </a:custGeom>
                  <a:noFill/>
                  <a:ln w="28575" cap="rnd"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sp>
                <p:nvSpPr>
                  <p:cNvPr id="23" name="Freeform 12">
                    <a:extLst>
                      <a:ext uri="{FF2B5EF4-FFF2-40B4-BE49-F238E27FC236}">
                        <a16:creationId xmlns:a16="http://schemas.microsoft.com/office/drawing/2014/main" xmlns="" id="{3E82BB8B-49E8-E8E6-AD10-C170857E3241}"/>
                      </a:ext>
                    </a:extLst>
                  </p:cNvPr>
                  <p:cNvSpPr/>
                  <p:nvPr/>
                </p:nvSpPr>
                <p:spPr>
                  <a:xfrm>
                    <a:off x="2695575" y="5353050"/>
                    <a:ext cx="97155" cy="89535"/>
                  </a:xfrm>
                  <a:custGeom>
                    <a:avLst/>
                    <a:gdLst>
                      <a:gd name="connsiteX0" fmla="*/ 0 w 97155"/>
                      <a:gd name="connsiteY0" fmla="*/ 0 h 89535"/>
                      <a:gd name="connsiteX1" fmla="*/ 74295 w 97155"/>
                      <a:gd name="connsiteY1" fmla="*/ 1905 h 89535"/>
                      <a:gd name="connsiteX2" fmla="*/ 97155 w 97155"/>
                      <a:gd name="connsiteY2" fmla="*/ 89535 h 89535"/>
                    </a:gdLst>
                    <a:ahLst/>
                    <a:cxnLst>
                      <a:cxn ang="0">
                        <a:pos x="connsiteX0" y="connsiteY0"/>
                      </a:cxn>
                      <a:cxn ang="0">
                        <a:pos x="connsiteX1" y="connsiteY1"/>
                      </a:cxn>
                      <a:cxn ang="0">
                        <a:pos x="connsiteX2" y="connsiteY2"/>
                      </a:cxn>
                    </a:cxnLst>
                    <a:rect l="l" t="t" r="r" b="b"/>
                    <a:pathLst>
                      <a:path w="97155" h="89535">
                        <a:moveTo>
                          <a:pt x="0" y="0"/>
                        </a:moveTo>
                        <a:lnTo>
                          <a:pt x="74295" y="1905"/>
                        </a:lnTo>
                        <a:lnTo>
                          <a:pt x="97155" y="89535"/>
                        </a:lnTo>
                      </a:path>
                    </a:pathLst>
                  </a:custGeom>
                  <a:noFill/>
                  <a:ln w="28575" cap="rnd"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grpSp>
            <p:grpSp>
              <p:nvGrpSpPr>
                <p:cNvPr id="19" name="Group 47">
                  <a:extLst>
                    <a:ext uri="{FF2B5EF4-FFF2-40B4-BE49-F238E27FC236}">
                      <a16:creationId xmlns:a16="http://schemas.microsoft.com/office/drawing/2014/main" xmlns="" id="{6CD203DD-A151-43EE-F6EA-90C289B842F1}"/>
                    </a:ext>
                  </a:extLst>
                </p:cNvPr>
                <p:cNvGrpSpPr/>
                <p:nvPr/>
              </p:nvGrpSpPr>
              <p:grpSpPr>
                <a:xfrm flipH="1">
                  <a:off x="2967990" y="5261610"/>
                  <a:ext cx="152399" cy="182880"/>
                  <a:chOff x="2695575" y="5265420"/>
                  <a:chExt cx="152399" cy="182880"/>
                </a:xfrm>
              </p:grpSpPr>
              <p:sp>
                <p:nvSpPr>
                  <p:cNvPr id="20" name="Freeform 48">
                    <a:extLst>
                      <a:ext uri="{FF2B5EF4-FFF2-40B4-BE49-F238E27FC236}">
                        <a16:creationId xmlns:a16="http://schemas.microsoft.com/office/drawing/2014/main" xmlns="" id="{A8887805-ECCE-F9BB-4766-1415DE2F5633}"/>
                      </a:ext>
                    </a:extLst>
                  </p:cNvPr>
                  <p:cNvSpPr/>
                  <p:nvPr/>
                </p:nvSpPr>
                <p:spPr>
                  <a:xfrm>
                    <a:off x="2699385" y="5265420"/>
                    <a:ext cx="148589" cy="182880"/>
                  </a:xfrm>
                  <a:custGeom>
                    <a:avLst/>
                    <a:gdLst>
                      <a:gd name="connsiteX0" fmla="*/ 66040 w 66040"/>
                      <a:gd name="connsiteY0" fmla="*/ 0 h 76200"/>
                      <a:gd name="connsiteX1" fmla="*/ 0 w 66040"/>
                      <a:gd name="connsiteY1" fmla="*/ 76200 h 76200"/>
                    </a:gdLst>
                    <a:ahLst/>
                    <a:cxnLst>
                      <a:cxn ang="0">
                        <a:pos x="connsiteX0" y="connsiteY0"/>
                      </a:cxn>
                      <a:cxn ang="0">
                        <a:pos x="connsiteX1" y="connsiteY1"/>
                      </a:cxn>
                    </a:cxnLst>
                    <a:rect l="l" t="t" r="r" b="b"/>
                    <a:pathLst>
                      <a:path w="66040" h="76200">
                        <a:moveTo>
                          <a:pt x="66040" y="0"/>
                        </a:moveTo>
                        <a:lnTo>
                          <a:pt x="0" y="76200"/>
                        </a:lnTo>
                      </a:path>
                    </a:pathLst>
                  </a:custGeom>
                  <a:noFill/>
                  <a:ln w="28575" cap="rnd"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sp>
                <p:nvSpPr>
                  <p:cNvPr id="21" name="Freeform 49">
                    <a:extLst>
                      <a:ext uri="{FF2B5EF4-FFF2-40B4-BE49-F238E27FC236}">
                        <a16:creationId xmlns:a16="http://schemas.microsoft.com/office/drawing/2014/main" xmlns="" id="{8247441F-FCF5-6C10-980F-07932057C13D}"/>
                      </a:ext>
                    </a:extLst>
                  </p:cNvPr>
                  <p:cNvSpPr/>
                  <p:nvPr/>
                </p:nvSpPr>
                <p:spPr>
                  <a:xfrm>
                    <a:off x="2695575" y="5353050"/>
                    <a:ext cx="97155" cy="89535"/>
                  </a:xfrm>
                  <a:custGeom>
                    <a:avLst/>
                    <a:gdLst>
                      <a:gd name="connsiteX0" fmla="*/ 0 w 97155"/>
                      <a:gd name="connsiteY0" fmla="*/ 0 h 89535"/>
                      <a:gd name="connsiteX1" fmla="*/ 74295 w 97155"/>
                      <a:gd name="connsiteY1" fmla="*/ 1905 h 89535"/>
                      <a:gd name="connsiteX2" fmla="*/ 97155 w 97155"/>
                      <a:gd name="connsiteY2" fmla="*/ 89535 h 89535"/>
                    </a:gdLst>
                    <a:ahLst/>
                    <a:cxnLst>
                      <a:cxn ang="0">
                        <a:pos x="connsiteX0" y="connsiteY0"/>
                      </a:cxn>
                      <a:cxn ang="0">
                        <a:pos x="connsiteX1" y="connsiteY1"/>
                      </a:cxn>
                      <a:cxn ang="0">
                        <a:pos x="connsiteX2" y="connsiteY2"/>
                      </a:cxn>
                    </a:cxnLst>
                    <a:rect l="l" t="t" r="r" b="b"/>
                    <a:pathLst>
                      <a:path w="97155" h="89535">
                        <a:moveTo>
                          <a:pt x="0" y="0"/>
                        </a:moveTo>
                        <a:lnTo>
                          <a:pt x="74295" y="1905"/>
                        </a:lnTo>
                        <a:lnTo>
                          <a:pt x="97155" y="89535"/>
                        </a:lnTo>
                      </a:path>
                    </a:pathLst>
                  </a:custGeom>
                  <a:noFill/>
                  <a:ln w="28575" cap="rnd"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grpSp>
          </p:grpSp>
          <p:grpSp>
            <p:nvGrpSpPr>
              <p:cNvPr id="10" name="Group 55">
                <a:extLst>
                  <a:ext uri="{FF2B5EF4-FFF2-40B4-BE49-F238E27FC236}">
                    <a16:creationId xmlns:a16="http://schemas.microsoft.com/office/drawing/2014/main" xmlns="" id="{A0542F4F-956C-B936-A920-DEE90EF4AA9B}"/>
                  </a:ext>
                </a:extLst>
              </p:cNvPr>
              <p:cNvGrpSpPr/>
              <p:nvPr/>
            </p:nvGrpSpPr>
            <p:grpSpPr>
              <a:xfrm>
                <a:off x="7361539" y="4989015"/>
                <a:ext cx="378220" cy="692407"/>
                <a:chOff x="6551320" y="5061112"/>
                <a:chExt cx="325685" cy="596231"/>
              </a:xfrm>
            </p:grpSpPr>
            <p:sp>
              <p:nvSpPr>
                <p:cNvPr id="14" name="Oval 15">
                  <a:extLst>
                    <a:ext uri="{FF2B5EF4-FFF2-40B4-BE49-F238E27FC236}">
                      <a16:creationId xmlns:a16="http://schemas.microsoft.com/office/drawing/2014/main" xmlns="" id="{4B2480FB-0E88-7941-63D3-97E457515E8C}"/>
                    </a:ext>
                  </a:extLst>
                </p:cNvPr>
                <p:cNvSpPr/>
                <p:nvPr/>
              </p:nvSpPr>
              <p:spPr>
                <a:xfrm>
                  <a:off x="6551320" y="5061112"/>
                  <a:ext cx="325685" cy="325685"/>
                </a:xfrm>
                <a:prstGeom prst="ellipse">
                  <a:avLst/>
                </a:prstGeom>
                <a:noFill/>
                <a:ln w="38100" cap="flat"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cxnSp>
              <p:nvCxnSpPr>
                <p:cNvPr id="15" name="Straight Connector 17">
                  <a:extLst>
                    <a:ext uri="{FF2B5EF4-FFF2-40B4-BE49-F238E27FC236}">
                      <a16:creationId xmlns:a16="http://schemas.microsoft.com/office/drawing/2014/main" xmlns="" id="{280B9A05-8C7A-B4D5-27CB-209F49465B25}"/>
                    </a:ext>
                  </a:extLst>
                </p:cNvPr>
                <p:cNvCxnSpPr/>
                <p:nvPr/>
              </p:nvCxnSpPr>
              <p:spPr>
                <a:xfrm>
                  <a:off x="6714163" y="5386513"/>
                  <a:ext cx="0" cy="270830"/>
                </a:xfrm>
                <a:prstGeom prst="line">
                  <a:avLst/>
                </a:prstGeom>
                <a:noFill/>
                <a:ln w="38100" cap="rnd" cmpd="sng" algn="ctr">
                  <a:solidFill>
                    <a:srgbClr val="003865"/>
                  </a:solidFill>
                  <a:prstDash val="solid"/>
                  <a:miter lim="800000"/>
                  <a:headEnd type="none" w="med" len="med"/>
                  <a:tailEnd type="none" w="med" len="med"/>
                </a:ln>
                <a:effectLst/>
              </p:spPr>
            </p:cxnSp>
            <p:cxnSp>
              <p:nvCxnSpPr>
                <p:cNvPr id="16" name="Straight Connector 50">
                  <a:extLst>
                    <a:ext uri="{FF2B5EF4-FFF2-40B4-BE49-F238E27FC236}">
                      <a16:creationId xmlns:a16="http://schemas.microsoft.com/office/drawing/2014/main" xmlns="" id="{B403AAE1-7B08-D7A7-6A04-40335FC1597B}"/>
                    </a:ext>
                  </a:extLst>
                </p:cNvPr>
                <p:cNvCxnSpPr/>
                <p:nvPr/>
              </p:nvCxnSpPr>
              <p:spPr>
                <a:xfrm>
                  <a:off x="6609855" y="5523633"/>
                  <a:ext cx="208616" cy="0"/>
                </a:xfrm>
                <a:prstGeom prst="line">
                  <a:avLst/>
                </a:prstGeom>
                <a:noFill/>
                <a:ln w="38100" cap="rnd" cmpd="sng" algn="ctr">
                  <a:solidFill>
                    <a:srgbClr val="003865"/>
                  </a:solidFill>
                  <a:prstDash val="solid"/>
                  <a:miter lim="800000"/>
                  <a:headEnd type="none" w="med" len="med"/>
                  <a:tailEnd type="none" w="med" len="med"/>
                </a:ln>
                <a:effectLst/>
              </p:spPr>
            </p:cxnSp>
          </p:grpSp>
          <p:cxnSp>
            <p:nvCxnSpPr>
              <p:cNvPr id="11" name="Straight Connector 57">
                <a:extLst>
                  <a:ext uri="{FF2B5EF4-FFF2-40B4-BE49-F238E27FC236}">
                    <a16:creationId xmlns:a16="http://schemas.microsoft.com/office/drawing/2014/main" xmlns="" id="{E22F5FFC-73EA-BB59-604A-A0EA84BF1BA1}"/>
                  </a:ext>
                </a:extLst>
              </p:cNvPr>
              <p:cNvCxnSpPr/>
              <p:nvPr/>
            </p:nvCxnSpPr>
            <p:spPr>
              <a:xfrm>
                <a:off x="3383638" y="4748749"/>
                <a:ext cx="0" cy="912998"/>
              </a:xfrm>
              <a:prstGeom prst="line">
                <a:avLst/>
              </a:prstGeom>
              <a:noFill/>
              <a:ln w="19050" cap="flat" cmpd="sng" algn="ctr">
                <a:solidFill>
                  <a:srgbClr val="FFFFFF"/>
                </a:solidFill>
                <a:prstDash val="solid"/>
                <a:miter lim="800000"/>
                <a:headEnd type="none" w="med" len="med"/>
                <a:tailEnd type="none" w="med" len="med"/>
              </a:ln>
              <a:effectLst/>
            </p:spPr>
          </p:cxnSp>
          <p:cxnSp>
            <p:nvCxnSpPr>
              <p:cNvPr id="12" name="Straight Connector 58">
                <a:extLst>
                  <a:ext uri="{FF2B5EF4-FFF2-40B4-BE49-F238E27FC236}">
                    <a16:creationId xmlns:a16="http://schemas.microsoft.com/office/drawing/2014/main" xmlns="" id="{2C5A2ED4-CBB1-812F-8730-55F65B4571B1}"/>
                  </a:ext>
                </a:extLst>
              </p:cNvPr>
              <p:cNvCxnSpPr/>
              <p:nvPr/>
            </p:nvCxnSpPr>
            <p:spPr>
              <a:xfrm>
                <a:off x="6149698" y="4748749"/>
                <a:ext cx="0" cy="912998"/>
              </a:xfrm>
              <a:prstGeom prst="line">
                <a:avLst/>
              </a:prstGeom>
              <a:noFill/>
              <a:ln w="19050" cap="flat" cmpd="sng" algn="ctr">
                <a:solidFill>
                  <a:srgbClr val="FFFFFF"/>
                </a:solidFill>
                <a:prstDash val="solid"/>
                <a:miter lim="800000"/>
                <a:headEnd type="none" w="med" len="med"/>
                <a:tailEnd type="none" w="med" len="med"/>
              </a:ln>
              <a:effectLst/>
            </p:spPr>
          </p:cxnSp>
          <p:cxnSp>
            <p:nvCxnSpPr>
              <p:cNvPr id="13" name="Straight Connector 59">
                <a:extLst>
                  <a:ext uri="{FF2B5EF4-FFF2-40B4-BE49-F238E27FC236}">
                    <a16:creationId xmlns:a16="http://schemas.microsoft.com/office/drawing/2014/main" xmlns="" id="{CFDFBBE2-900F-351E-C25C-7FBC509CF6E3}"/>
                  </a:ext>
                </a:extLst>
              </p:cNvPr>
              <p:cNvCxnSpPr/>
              <p:nvPr/>
            </p:nvCxnSpPr>
            <p:spPr>
              <a:xfrm>
                <a:off x="8915758" y="4748749"/>
                <a:ext cx="0" cy="912998"/>
              </a:xfrm>
              <a:prstGeom prst="line">
                <a:avLst/>
              </a:prstGeom>
              <a:noFill/>
              <a:ln w="19050" cap="flat" cmpd="sng" algn="ctr">
                <a:solidFill>
                  <a:srgbClr val="FFFFFF"/>
                </a:solidFill>
                <a:prstDash val="solid"/>
                <a:miter lim="800000"/>
                <a:headEnd type="none" w="med" len="med"/>
                <a:tailEnd type="none" w="med" len="med"/>
              </a:ln>
              <a:effectLst/>
            </p:spPr>
          </p:cxnSp>
        </p:grpSp>
        <p:grpSp>
          <p:nvGrpSpPr>
            <p:cNvPr id="30" name="Group 77">
              <a:extLst>
                <a:ext uri="{FF2B5EF4-FFF2-40B4-BE49-F238E27FC236}">
                  <a16:creationId xmlns:a16="http://schemas.microsoft.com/office/drawing/2014/main" xmlns="" id="{4A5FFA86-6E02-F5D3-B83A-55E90F330256}"/>
                </a:ext>
              </a:extLst>
            </p:cNvPr>
            <p:cNvGrpSpPr/>
            <p:nvPr/>
          </p:nvGrpSpPr>
          <p:grpSpPr>
            <a:xfrm>
              <a:off x="7592244" y="3844653"/>
              <a:ext cx="524452" cy="520097"/>
              <a:chOff x="11123888" y="3453645"/>
              <a:chExt cx="693462" cy="693462"/>
            </a:xfrm>
          </p:grpSpPr>
          <p:grpSp>
            <p:nvGrpSpPr>
              <p:cNvPr id="31" name="Group 66">
                <a:extLst>
                  <a:ext uri="{FF2B5EF4-FFF2-40B4-BE49-F238E27FC236}">
                    <a16:creationId xmlns:a16="http://schemas.microsoft.com/office/drawing/2014/main" xmlns="" id="{5FDA5E74-122A-6484-5795-2DC75BF1CAE3}"/>
                  </a:ext>
                </a:extLst>
              </p:cNvPr>
              <p:cNvGrpSpPr/>
              <p:nvPr/>
            </p:nvGrpSpPr>
            <p:grpSpPr>
              <a:xfrm>
                <a:off x="11123888" y="3453645"/>
                <a:ext cx="693462" cy="693462"/>
                <a:chOff x="11129431" y="3643023"/>
                <a:chExt cx="397543" cy="397543"/>
              </a:xfrm>
            </p:grpSpPr>
            <p:sp>
              <p:nvSpPr>
                <p:cNvPr id="39" name="Oval 63">
                  <a:extLst>
                    <a:ext uri="{FF2B5EF4-FFF2-40B4-BE49-F238E27FC236}">
                      <a16:creationId xmlns:a16="http://schemas.microsoft.com/office/drawing/2014/main" xmlns="" id="{FC063DBF-C422-766E-4072-420DC1324F57}"/>
                    </a:ext>
                  </a:extLst>
                </p:cNvPr>
                <p:cNvSpPr/>
                <p:nvPr/>
              </p:nvSpPr>
              <p:spPr>
                <a:xfrm>
                  <a:off x="11129431" y="3643023"/>
                  <a:ext cx="397543" cy="397543"/>
                </a:xfrm>
                <a:prstGeom prst="ellipse">
                  <a:avLst/>
                </a:prstGeom>
                <a:noFill/>
                <a:ln w="38100" cap="flat"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cxnSp>
              <p:nvCxnSpPr>
                <p:cNvPr id="40" name="Straight Connector 65">
                  <a:extLst>
                    <a:ext uri="{FF2B5EF4-FFF2-40B4-BE49-F238E27FC236}">
                      <a16:creationId xmlns:a16="http://schemas.microsoft.com/office/drawing/2014/main" xmlns="" id="{4DB414C2-3524-DEB9-4D75-00179087BDE2}"/>
                    </a:ext>
                  </a:extLst>
                </p:cNvPr>
                <p:cNvCxnSpPr>
                  <a:stCxn id="39" idx="7"/>
                  <a:endCxn id="39" idx="3"/>
                </p:cNvCxnSpPr>
                <p:nvPr/>
              </p:nvCxnSpPr>
              <p:spPr>
                <a:xfrm flipH="1">
                  <a:off x="11187650" y="3701242"/>
                  <a:ext cx="281105" cy="281105"/>
                </a:xfrm>
                <a:prstGeom prst="line">
                  <a:avLst/>
                </a:prstGeom>
                <a:noFill/>
                <a:ln w="38100" cap="flat" cmpd="sng" algn="ctr">
                  <a:solidFill>
                    <a:srgbClr val="003865"/>
                  </a:solidFill>
                  <a:prstDash val="solid"/>
                  <a:miter lim="800000"/>
                  <a:headEnd type="none" w="med" len="med"/>
                  <a:tailEnd type="none" w="med" len="med"/>
                </a:ln>
                <a:effectLst/>
              </p:spPr>
            </p:cxnSp>
          </p:grpSp>
          <p:cxnSp>
            <p:nvCxnSpPr>
              <p:cNvPr id="32" name="Straight Connector 69">
                <a:extLst>
                  <a:ext uri="{FF2B5EF4-FFF2-40B4-BE49-F238E27FC236}">
                    <a16:creationId xmlns:a16="http://schemas.microsoft.com/office/drawing/2014/main" xmlns="" id="{617C4374-BC74-F916-6A52-72757DEF0B0C}"/>
                  </a:ext>
                </a:extLst>
              </p:cNvPr>
              <p:cNvCxnSpPr>
                <a:stCxn id="37" idx="1"/>
                <a:endCxn id="37" idx="1"/>
              </p:cNvCxnSpPr>
              <p:nvPr/>
            </p:nvCxnSpPr>
            <p:spPr>
              <a:xfrm>
                <a:off x="11225443" y="3839834"/>
                <a:ext cx="0" cy="0"/>
              </a:xfrm>
              <a:prstGeom prst="line">
                <a:avLst/>
              </a:prstGeom>
              <a:noFill/>
              <a:ln w="19050" cap="flat" cmpd="sng" algn="ctr">
                <a:solidFill>
                  <a:srgbClr val="003865"/>
                </a:solidFill>
                <a:prstDash val="solid"/>
                <a:miter lim="800000"/>
                <a:headEnd type="none" w="med" len="med"/>
                <a:tailEnd type="none" w="med" len="med"/>
              </a:ln>
              <a:effectLst/>
            </p:spPr>
          </p:cxnSp>
          <p:grpSp>
            <p:nvGrpSpPr>
              <p:cNvPr id="33" name="Group 73">
                <a:extLst>
                  <a:ext uri="{FF2B5EF4-FFF2-40B4-BE49-F238E27FC236}">
                    <a16:creationId xmlns:a16="http://schemas.microsoft.com/office/drawing/2014/main" xmlns="" id="{772EC6FA-B5CB-F97F-EC28-FC8BD2D37B5F}"/>
                  </a:ext>
                </a:extLst>
              </p:cNvPr>
              <p:cNvGrpSpPr/>
              <p:nvPr/>
            </p:nvGrpSpPr>
            <p:grpSpPr>
              <a:xfrm>
                <a:off x="11225443" y="3778874"/>
                <a:ext cx="513080" cy="121920"/>
                <a:chOff x="11221720" y="3759845"/>
                <a:chExt cx="513080" cy="121920"/>
              </a:xfrm>
            </p:grpSpPr>
            <p:sp>
              <p:nvSpPr>
                <p:cNvPr id="37" name="Rectangle 67">
                  <a:extLst>
                    <a:ext uri="{FF2B5EF4-FFF2-40B4-BE49-F238E27FC236}">
                      <a16:creationId xmlns:a16="http://schemas.microsoft.com/office/drawing/2014/main" xmlns="" id="{EC5AC077-C6E2-6728-0835-9C8F2D59597E}"/>
                    </a:ext>
                  </a:extLst>
                </p:cNvPr>
                <p:cNvSpPr/>
                <p:nvPr/>
              </p:nvSpPr>
              <p:spPr>
                <a:xfrm>
                  <a:off x="11221720" y="3774881"/>
                  <a:ext cx="513080" cy="91848"/>
                </a:xfrm>
                <a:prstGeom prst="rect">
                  <a:avLst/>
                </a:prstGeom>
                <a:noFill/>
                <a:ln w="38100" cap="flat"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cxnSp>
              <p:nvCxnSpPr>
                <p:cNvPr id="38" name="Straight Connector 71">
                  <a:extLst>
                    <a:ext uri="{FF2B5EF4-FFF2-40B4-BE49-F238E27FC236}">
                      <a16:creationId xmlns:a16="http://schemas.microsoft.com/office/drawing/2014/main" xmlns="" id="{55E2C971-F13D-77A5-5FD2-926D0A88F37A}"/>
                    </a:ext>
                  </a:extLst>
                </p:cNvPr>
                <p:cNvCxnSpPr/>
                <p:nvPr/>
              </p:nvCxnSpPr>
              <p:spPr>
                <a:xfrm>
                  <a:off x="11333480" y="3759845"/>
                  <a:ext cx="0" cy="121920"/>
                </a:xfrm>
                <a:prstGeom prst="line">
                  <a:avLst/>
                </a:prstGeom>
                <a:noFill/>
                <a:ln w="38100" cap="flat" cmpd="sng" algn="ctr">
                  <a:solidFill>
                    <a:srgbClr val="003865"/>
                  </a:solidFill>
                  <a:prstDash val="solid"/>
                  <a:miter lim="800000"/>
                  <a:headEnd type="none" w="med" len="med"/>
                  <a:tailEnd type="none" w="med" len="med"/>
                </a:ln>
                <a:effectLst/>
              </p:spPr>
            </p:cxnSp>
          </p:grpSp>
          <p:grpSp>
            <p:nvGrpSpPr>
              <p:cNvPr id="34" name="Group 76">
                <a:extLst>
                  <a:ext uri="{FF2B5EF4-FFF2-40B4-BE49-F238E27FC236}">
                    <a16:creationId xmlns:a16="http://schemas.microsoft.com/office/drawing/2014/main" xmlns="" id="{3E8816F1-8C86-DFD1-E067-F88DE8E9AD34}"/>
                  </a:ext>
                </a:extLst>
              </p:cNvPr>
              <p:cNvGrpSpPr/>
              <p:nvPr/>
            </p:nvGrpSpPr>
            <p:grpSpPr>
              <a:xfrm rot="813201">
                <a:off x="11261801" y="3574890"/>
                <a:ext cx="110722" cy="184293"/>
                <a:chOff x="11240472" y="3759547"/>
                <a:chExt cx="154787" cy="343111"/>
              </a:xfrm>
            </p:grpSpPr>
            <p:sp>
              <p:nvSpPr>
                <p:cNvPr id="35" name="Freeform 74">
                  <a:extLst>
                    <a:ext uri="{FF2B5EF4-FFF2-40B4-BE49-F238E27FC236}">
                      <a16:creationId xmlns:a16="http://schemas.microsoft.com/office/drawing/2014/main" xmlns="" id="{3A2B2C1A-AE11-5A01-19AB-BA416DD92B12}"/>
                    </a:ext>
                  </a:extLst>
                </p:cNvPr>
                <p:cNvSpPr/>
                <p:nvPr/>
              </p:nvSpPr>
              <p:spPr>
                <a:xfrm>
                  <a:off x="11240472" y="3787699"/>
                  <a:ext cx="53300" cy="314959"/>
                </a:xfrm>
                <a:custGeom>
                  <a:avLst/>
                  <a:gdLst>
                    <a:gd name="connsiteX0" fmla="*/ 30551 w 38171"/>
                    <a:gd name="connsiteY0" fmla="*/ 0 h 160020"/>
                    <a:gd name="connsiteX1" fmla="*/ 71 w 38171"/>
                    <a:gd name="connsiteY1" fmla="*/ 55880 h 160020"/>
                    <a:gd name="connsiteX2" fmla="*/ 38171 w 38171"/>
                    <a:gd name="connsiteY2" fmla="*/ 119380 h 160020"/>
                    <a:gd name="connsiteX3" fmla="*/ 38171 w 38171"/>
                    <a:gd name="connsiteY3" fmla="*/ 119380 h 160020"/>
                    <a:gd name="connsiteX4" fmla="*/ 7691 w 38171"/>
                    <a:gd name="connsiteY4" fmla="*/ 160020 h 160020"/>
                    <a:gd name="connsiteX0" fmla="*/ 30551 w 38171"/>
                    <a:gd name="connsiteY0" fmla="*/ 0 h 185447"/>
                    <a:gd name="connsiteX1" fmla="*/ 71 w 38171"/>
                    <a:gd name="connsiteY1" fmla="*/ 55880 h 185447"/>
                    <a:gd name="connsiteX2" fmla="*/ 38171 w 38171"/>
                    <a:gd name="connsiteY2" fmla="*/ 119380 h 185447"/>
                    <a:gd name="connsiteX3" fmla="*/ 38171 w 38171"/>
                    <a:gd name="connsiteY3" fmla="*/ 119380 h 185447"/>
                    <a:gd name="connsiteX4" fmla="*/ 1734 w 38171"/>
                    <a:gd name="connsiteY4" fmla="*/ 185447 h 185447"/>
                    <a:gd name="connsiteX0" fmla="*/ 30551 w 39637"/>
                    <a:gd name="connsiteY0" fmla="*/ 0 h 185447"/>
                    <a:gd name="connsiteX1" fmla="*/ 71 w 39637"/>
                    <a:gd name="connsiteY1" fmla="*/ 55880 h 185447"/>
                    <a:gd name="connsiteX2" fmla="*/ 38171 w 39637"/>
                    <a:gd name="connsiteY2" fmla="*/ 119380 h 185447"/>
                    <a:gd name="connsiteX3" fmla="*/ 31022 w 39637"/>
                    <a:gd name="connsiteY3" fmla="*/ 137688 h 185447"/>
                    <a:gd name="connsiteX4" fmla="*/ 1734 w 39637"/>
                    <a:gd name="connsiteY4" fmla="*/ 185447 h 185447"/>
                    <a:gd name="connsiteX0" fmla="*/ 30827 w 50216"/>
                    <a:gd name="connsiteY0" fmla="*/ 0 h 185447"/>
                    <a:gd name="connsiteX1" fmla="*/ 347 w 50216"/>
                    <a:gd name="connsiteY1" fmla="*/ 55880 h 185447"/>
                    <a:gd name="connsiteX2" fmla="*/ 49170 w 50216"/>
                    <a:gd name="connsiteY2" fmla="*/ 93953 h 185447"/>
                    <a:gd name="connsiteX3" fmla="*/ 31298 w 50216"/>
                    <a:gd name="connsiteY3" fmla="*/ 137688 h 185447"/>
                    <a:gd name="connsiteX4" fmla="*/ 2010 w 50216"/>
                    <a:gd name="connsiteY4" fmla="*/ 185447 h 185447"/>
                    <a:gd name="connsiteX0" fmla="*/ 30827 w 49177"/>
                    <a:gd name="connsiteY0" fmla="*/ 0 h 185447"/>
                    <a:gd name="connsiteX1" fmla="*/ 347 w 49177"/>
                    <a:gd name="connsiteY1" fmla="*/ 55880 h 185447"/>
                    <a:gd name="connsiteX2" fmla="*/ 49170 w 49177"/>
                    <a:gd name="connsiteY2" fmla="*/ 93953 h 185447"/>
                    <a:gd name="connsiteX3" fmla="*/ 31298 w 49177"/>
                    <a:gd name="connsiteY3" fmla="*/ 137688 h 185447"/>
                    <a:gd name="connsiteX4" fmla="*/ 2010 w 49177"/>
                    <a:gd name="connsiteY4" fmla="*/ 185447 h 185447"/>
                    <a:gd name="connsiteX0" fmla="*/ 30827 w 49216"/>
                    <a:gd name="connsiteY0" fmla="*/ 0 h 185447"/>
                    <a:gd name="connsiteX1" fmla="*/ 347 w 49216"/>
                    <a:gd name="connsiteY1" fmla="*/ 55880 h 185447"/>
                    <a:gd name="connsiteX2" fmla="*/ 49170 w 49216"/>
                    <a:gd name="connsiteY2" fmla="*/ 93953 h 185447"/>
                    <a:gd name="connsiteX3" fmla="*/ 31298 w 49216"/>
                    <a:gd name="connsiteY3" fmla="*/ 137688 h 185447"/>
                    <a:gd name="connsiteX4" fmla="*/ 2010 w 49216"/>
                    <a:gd name="connsiteY4" fmla="*/ 185447 h 185447"/>
                    <a:gd name="connsiteX0" fmla="*/ 30686 w 44333"/>
                    <a:gd name="connsiteY0" fmla="*/ 0 h 185447"/>
                    <a:gd name="connsiteX1" fmla="*/ 206 w 44333"/>
                    <a:gd name="connsiteY1" fmla="*/ 55880 h 185447"/>
                    <a:gd name="connsiteX2" fmla="*/ 44263 w 44333"/>
                    <a:gd name="connsiteY2" fmla="*/ 93953 h 185447"/>
                    <a:gd name="connsiteX3" fmla="*/ 31157 w 44333"/>
                    <a:gd name="connsiteY3" fmla="*/ 137688 h 185447"/>
                    <a:gd name="connsiteX4" fmla="*/ 1869 w 44333"/>
                    <a:gd name="connsiteY4" fmla="*/ 185447 h 185447"/>
                    <a:gd name="connsiteX0" fmla="*/ 30686 w 44264"/>
                    <a:gd name="connsiteY0" fmla="*/ 0 h 185447"/>
                    <a:gd name="connsiteX1" fmla="*/ 206 w 44264"/>
                    <a:gd name="connsiteY1" fmla="*/ 55880 h 185447"/>
                    <a:gd name="connsiteX2" fmla="*/ 44263 w 44264"/>
                    <a:gd name="connsiteY2" fmla="*/ 93953 h 185447"/>
                    <a:gd name="connsiteX3" fmla="*/ 1869 w 44264"/>
                    <a:gd name="connsiteY3" fmla="*/ 185447 h 185447"/>
                    <a:gd name="connsiteX0" fmla="*/ 30654 w 43040"/>
                    <a:gd name="connsiteY0" fmla="*/ 0 h 185447"/>
                    <a:gd name="connsiteX1" fmla="*/ 174 w 43040"/>
                    <a:gd name="connsiteY1" fmla="*/ 55880 h 185447"/>
                    <a:gd name="connsiteX2" fmla="*/ 43039 w 43040"/>
                    <a:gd name="connsiteY2" fmla="*/ 118363 h 185447"/>
                    <a:gd name="connsiteX3" fmla="*/ 1837 w 43040"/>
                    <a:gd name="connsiteY3" fmla="*/ 185447 h 185447"/>
                    <a:gd name="connsiteX0" fmla="*/ 30654 w 43041"/>
                    <a:gd name="connsiteY0" fmla="*/ 0 h 185447"/>
                    <a:gd name="connsiteX1" fmla="*/ 174 w 43041"/>
                    <a:gd name="connsiteY1" fmla="*/ 55880 h 185447"/>
                    <a:gd name="connsiteX2" fmla="*/ 43039 w 43041"/>
                    <a:gd name="connsiteY2" fmla="*/ 118363 h 185447"/>
                    <a:gd name="connsiteX3" fmla="*/ 1837 w 43041"/>
                    <a:gd name="connsiteY3" fmla="*/ 185447 h 185447"/>
                    <a:gd name="connsiteX0" fmla="*/ 30654 w 43098"/>
                    <a:gd name="connsiteY0" fmla="*/ 0 h 170191"/>
                    <a:gd name="connsiteX1" fmla="*/ 174 w 43098"/>
                    <a:gd name="connsiteY1" fmla="*/ 55880 h 170191"/>
                    <a:gd name="connsiteX2" fmla="*/ 43039 w 43098"/>
                    <a:gd name="connsiteY2" fmla="*/ 118363 h 170191"/>
                    <a:gd name="connsiteX3" fmla="*/ 7794 w 43098"/>
                    <a:gd name="connsiteY3" fmla="*/ 170191 h 170191"/>
                    <a:gd name="connsiteX0" fmla="*/ 35302 w 42980"/>
                    <a:gd name="connsiteY0" fmla="*/ 0 h 168157"/>
                    <a:gd name="connsiteX1" fmla="*/ 56 w 42980"/>
                    <a:gd name="connsiteY1" fmla="*/ 53846 h 168157"/>
                    <a:gd name="connsiteX2" fmla="*/ 42921 w 42980"/>
                    <a:gd name="connsiteY2" fmla="*/ 116329 h 168157"/>
                    <a:gd name="connsiteX3" fmla="*/ 7676 w 42980"/>
                    <a:gd name="connsiteY3" fmla="*/ 168157 h 168157"/>
                    <a:gd name="connsiteX0" fmla="*/ 35317 w 42995"/>
                    <a:gd name="connsiteY0" fmla="*/ 0 h 168157"/>
                    <a:gd name="connsiteX1" fmla="*/ 71 w 42995"/>
                    <a:gd name="connsiteY1" fmla="*/ 53846 h 168157"/>
                    <a:gd name="connsiteX2" fmla="*/ 42936 w 42995"/>
                    <a:gd name="connsiteY2" fmla="*/ 116329 h 168157"/>
                    <a:gd name="connsiteX3" fmla="*/ 7691 w 42995"/>
                    <a:gd name="connsiteY3" fmla="*/ 168157 h 168157"/>
                    <a:gd name="connsiteX0" fmla="*/ 32946 w 40594"/>
                    <a:gd name="connsiteY0" fmla="*/ 0 h 168157"/>
                    <a:gd name="connsiteX1" fmla="*/ 83 w 40594"/>
                    <a:gd name="connsiteY1" fmla="*/ 59948 h 168157"/>
                    <a:gd name="connsiteX2" fmla="*/ 40565 w 40594"/>
                    <a:gd name="connsiteY2" fmla="*/ 116329 h 168157"/>
                    <a:gd name="connsiteX3" fmla="*/ 5320 w 40594"/>
                    <a:gd name="connsiteY3" fmla="*/ 168157 h 168157"/>
                    <a:gd name="connsiteX0" fmla="*/ 32946 w 40566"/>
                    <a:gd name="connsiteY0" fmla="*/ 0 h 168157"/>
                    <a:gd name="connsiteX1" fmla="*/ 83 w 40566"/>
                    <a:gd name="connsiteY1" fmla="*/ 59948 h 168157"/>
                    <a:gd name="connsiteX2" fmla="*/ 40565 w 40566"/>
                    <a:gd name="connsiteY2" fmla="*/ 116329 h 168157"/>
                    <a:gd name="connsiteX3" fmla="*/ 5320 w 40566"/>
                    <a:gd name="connsiteY3" fmla="*/ 168157 h 168157"/>
                    <a:gd name="connsiteX0" fmla="*/ 32864 w 33336"/>
                    <a:gd name="connsiteY0" fmla="*/ 0 h 168157"/>
                    <a:gd name="connsiteX1" fmla="*/ 1 w 33336"/>
                    <a:gd name="connsiteY1" fmla="*/ 59948 h 168157"/>
                    <a:gd name="connsiteX2" fmla="*/ 33334 w 33336"/>
                    <a:gd name="connsiteY2" fmla="*/ 116329 h 168157"/>
                    <a:gd name="connsiteX3" fmla="*/ 5238 w 33336"/>
                    <a:gd name="connsiteY3" fmla="*/ 168157 h 168157"/>
                  </a:gdLst>
                  <a:ahLst/>
                  <a:cxnLst>
                    <a:cxn ang="0">
                      <a:pos x="connsiteX0" y="connsiteY0"/>
                    </a:cxn>
                    <a:cxn ang="0">
                      <a:pos x="connsiteX1" y="connsiteY1"/>
                    </a:cxn>
                    <a:cxn ang="0">
                      <a:pos x="connsiteX2" y="connsiteY2"/>
                    </a:cxn>
                    <a:cxn ang="0">
                      <a:pos x="connsiteX3" y="connsiteY3"/>
                    </a:cxn>
                  </a:cxnLst>
                  <a:rect l="l" t="t" r="r" b="b"/>
                  <a:pathLst>
                    <a:path w="33336" h="168157">
                      <a:moveTo>
                        <a:pt x="32864" y="0"/>
                      </a:moveTo>
                      <a:cubicBezTo>
                        <a:pt x="12223" y="12906"/>
                        <a:pt x="-77" y="40560"/>
                        <a:pt x="1" y="59948"/>
                      </a:cubicBezTo>
                      <a:cubicBezTo>
                        <a:pt x="79" y="79336"/>
                        <a:pt x="33653" y="92192"/>
                        <a:pt x="33334" y="116329"/>
                      </a:cubicBezTo>
                      <a:cubicBezTo>
                        <a:pt x="33095" y="134384"/>
                        <a:pt x="22411" y="157232"/>
                        <a:pt x="5238" y="168157"/>
                      </a:cubicBezTo>
                    </a:path>
                  </a:pathLst>
                </a:custGeom>
                <a:noFill/>
                <a:ln w="38100" cap="rnd"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sp>
              <p:nvSpPr>
                <p:cNvPr id="36" name="Freeform 75">
                  <a:extLst>
                    <a:ext uri="{FF2B5EF4-FFF2-40B4-BE49-F238E27FC236}">
                      <a16:creationId xmlns:a16="http://schemas.microsoft.com/office/drawing/2014/main" xmlns="" id="{C85EF9D6-BA07-E8BF-9A64-2A1FDFC65513}"/>
                    </a:ext>
                  </a:extLst>
                </p:cNvPr>
                <p:cNvSpPr/>
                <p:nvPr/>
              </p:nvSpPr>
              <p:spPr>
                <a:xfrm>
                  <a:off x="11341738" y="3759547"/>
                  <a:ext cx="53521" cy="314960"/>
                </a:xfrm>
                <a:custGeom>
                  <a:avLst/>
                  <a:gdLst>
                    <a:gd name="connsiteX0" fmla="*/ 30551 w 38171"/>
                    <a:gd name="connsiteY0" fmla="*/ 0 h 160020"/>
                    <a:gd name="connsiteX1" fmla="*/ 71 w 38171"/>
                    <a:gd name="connsiteY1" fmla="*/ 55880 h 160020"/>
                    <a:gd name="connsiteX2" fmla="*/ 38171 w 38171"/>
                    <a:gd name="connsiteY2" fmla="*/ 119380 h 160020"/>
                    <a:gd name="connsiteX3" fmla="*/ 38171 w 38171"/>
                    <a:gd name="connsiteY3" fmla="*/ 119380 h 160020"/>
                    <a:gd name="connsiteX4" fmla="*/ 7691 w 38171"/>
                    <a:gd name="connsiteY4" fmla="*/ 160020 h 160020"/>
                    <a:gd name="connsiteX0" fmla="*/ 30551 w 38171"/>
                    <a:gd name="connsiteY0" fmla="*/ 0 h 185447"/>
                    <a:gd name="connsiteX1" fmla="*/ 71 w 38171"/>
                    <a:gd name="connsiteY1" fmla="*/ 55880 h 185447"/>
                    <a:gd name="connsiteX2" fmla="*/ 38171 w 38171"/>
                    <a:gd name="connsiteY2" fmla="*/ 119380 h 185447"/>
                    <a:gd name="connsiteX3" fmla="*/ 38171 w 38171"/>
                    <a:gd name="connsiteY3" fmla="*/ 119380 h 185447"/>
                    <a:gd name="connsiteX4" fmla="*/ 1734 w 38171"/>
                    <a:gd name="connsiteY4" fmla="*/ 185447 h 185447"/>
                    <a:gd name="connsiteX0" fmla="*/ 30551 w 39637"/>
                    <a:gd name="connsiteY0" fmla="*/ 0 h 185447"/>
                    <a:gd name="connsiteX1" fmla="*/ 71 w 39637"/>
                    <a:gd name="connsiteY1" fmla="*/ 55880 h 185447"/>
                    <a:gd name="connsiteX2" fmla="*/ 38171 w 39637"/>
                    <a:gd name="connsiteY2" fmla="*/ 119380 h 185447"/>
                    <a:gd name="connsiteX3" fmla="*/ 31022 w 39637"/>
                    <a:gd name="connsiteY3" fmla="*/ 137688 h 185447"/>
                    <a:gd name="connsiteX4" fmla="*/ 1734 w 39637"/>
                    <a:gd name="connsiteY4" fmla="*/ 185447 h 185447"/>
                    <a:gd name="connsiteX0" fmla="*/ 30827 w 50216"/>
                    <a:gd name="connsiteY0" fmla="*/ 0 h 185447"/>
                    <a:gd name="connsiteX1" fmla="*/ 347 w 50216"/>
                    <a:gd name="connsiteY1" fmla="*/ 55880 h 185447"/>
                    <a:gd name="connsiteX2" fmla="*/ 49170 w 50216"/>
                    <a:gd name="connsiteY2" fmla="*/ 93953 h 185447"/>
                    <a:gd name="connsiteX3" fmla="*/ 31298 w 50216"/>
                    <a:gd name="connsiteY3" fmla="*/ 137688 h 185447"/>
                    <a:gd name="connsiteX4" fmla="*/ 2010 w 50216"/>
                    <a:gd name="connsiteY4" fmla="*/ 185447 h 185447"/>
                    <a:gd name="connsiteX0" fmla="*/ 30827 w 49177"/>
                    <a:gd name="connsiteY0" fmla="*/ 0 h 185447"/>
                    <a:gd name="connsiteX1" fmla="*/ 347 w 49177"/>
                    <a:gd name="connsiteY1" fmla="*/ 55880 h 185447"/>
                    <a:gd name="connsiteX2" fmla="*/ 49170 w 49177"/>
                    <a:gd name="connsiteY2" fmla="*/ 93953 h 185447"/>
                    <a:gd name="connsiteX3" fmla="*/ 31298 w 49177"/>
                    <a:gd name="connsiteY3" fmla="*/ 137688 h 185447"/>
                    <a:gd name="connsiteX4" fmla="*/ 2010 w 49177"/>
                    <a:gd name="connsiteY4" fmla="*/ 185447 h 185447"/>
                    <a:gd name="connsiteX0" fmla="*/ 30827 w 49216"/>
                    <a:gd name="connsiteY0" fmla="*/ 0 h 185447"/>
                    <a:gd name="connsiteX1" fmla="*/ 347 w 49216"/>
                    <a:gd name="connsiteY1" fmla="*/ 55880 h 185447"/>
                    <a:gd name="connsiteX2" fmla="*/ 49170 w 49216"/>
                    <a:gd name="connsiteY2" fmla="*/ 93953 h 185447"/>
                    <a:gd name="connsiteX3" fmla="*/ 31298 w 49216"/>
                    <a:gd name="connsiteY3" fmla="*/ 137688 h 185447"/>
                    <a:gd name="connsiteX4" fmla="*/ 2010 w 49216"/>
                    <a:gd name="connsiteY4" fmla="*/ 185447 h 185447"/>
                    <a:gd name="connsiteX0" fmla="*/ 30686 w 44333"/>
                    <a:gd name="connsiteY0" fmla="*/ 0 h 185447"/>
                    <a:gd name="connsiteX1" fmla="*/ 206 w 44333"/>
                    <a:gd name="connsiteY1" fmla="*/ 55880 h 185447"/>
                    <a:gd name="connsiteX2" fmla="*/ 44263 w 44333"/>
                    <a:gd name="connsiteY2" fmla="*/ 93953 h 185447"/>
                    <a:gd name="connsiteX3" fmla="*/ 31157 w 44333"/>
                    <a:gd name="connsiteY3" fmla="*/ 137688 h 185447"/>
                    <a:gd name="connsiteX4" fmla="*/ 1869 w 44333"/>
                    <a:gd name="connsiteY4" fmla="*/ 185447 h 185447"/>
                    <a:gd name="connsiteX0" fmla="*/ 30686 w 44264"/>
                    <a:gd name="connsiteY0" fmla="*/ 0 h 185447"/>
                    <a:gd name="connsiteX1" fmla="*/ 206 w 44264"/>
                    <a:gd name="connsiteY1" fmla="*/ 55880 h 185447"/>
                    <a:gd name="connsiteX2" fmla="*/ 44263 w 44264"/>
                    <a:gd name="connsiteY2" fmla="*/ 93953 h 185447"/>
                    <a:gd name="connsiteX3" fmla="*/ 1869 w 44264"/>
                    <a:gd name="connsiteY3" fmla="*/ 185447 h 185447"/>
                    <a:gd name="connsiteX0" fmla="*/ 30654 w 43040"/>
                    <a:gd name="connsiteY0" fmla="*/ 0 h 185447"/>
                    <a:gd name="connsiteX1" fmla="*/ 174 w 43040"/>
                    <a:gd name="connsiteY1" fmla="*/ 55880 h 185447"/>
                    <a:gd name="connsiteX2" fmla="*/ 43039 w 43040"/>
                    <a:gd name="connsiteY2" fmla="*/ 118363 h 185447"/>
                    <a:gd name="connsiteX3" fmla="*/ 1837 w 43040"/>
                    <a:gd name="connsiteY3" fmla="*/ 185447 h 185447"/>
                    <a:gd name="connsiteX0" fmla="*/ 30654 w 43041"/>
                    <a:gd name="connsiteY0" fmla="*/ 0 h 185447"/>
                    <a:gd name="connsiteX1" fmla="*/ 174 w 43041"/>
                    <a:gd name="connsiteY1" fmla="*/ 55880 h 185447"/>
                    <a:gd name="connsiteX2" fmla="*/ 43039 w 43041"/>
                    <a:gd name="connsiteY2" fmla="*/ 118363 h 185447"/>
                    <a:gd name="connsiteX3" fmla="*/ 1837 w 43041"/>
                    <a:gd name="connsiteY3" fmla="*/ 185447 h 185447"/>
                    <a:gd name="connsiteX0" fmla="*/ 30654 w 43098"/>
                    <a:gd name="connsiteY0" fmla="*/ 0 h 170191"/>
                    <a:gd name="connsiteX1" fmla="*/ 174 w 43098"/>
                    <a:gd name="connsiteY1" fmla="*/ 55880 h 170191"/>
                    <a:gd name="connsiteX2" fmla="*/ 43039 w 43098"/>
                    <a:gd name="connsiteY2" fmla="*/ 118363 h 170191"/>
                    <a:gd name="connsiteX3" fmla="*/ 7794 w 43098"/>
                    <a:gd name="connsiteY3" fmla="*/ 170191 h 170191"/>
                    <a:gd name="connsiteX0" fmla="*/ 35302 w 42980"/>
                    <a:gd name="connsiteY0" fmla="*/ 0 h 168157"/>
                    <a:gd name="connsiteX1" fmla="*/ 56 w 42980"/>
                    <a:gd name="connsiteY1" fmla="*/ 53846 h 168157"/>
                    <a:gd name="connsiteX2" fmla="*/ 42921 w 42980"/>
                    <a:gd name="connsiteY2" fmla="*/ 116329 h 168157"/>
                    <a:gd name="connsiteX3" fmla="*/ 7676 w 42980"/>
                    <a:gd name="connsiteY3" fmla="*/ 168157 h 168157"/>
                    <a:gd name="connsiteX0" fmla="*/ 35317 w 42995"/>
                    <a:gd name="connsiteY0" fmla="*/ 0 h 168157"/>
                    <a:gd name="connsiteX1" fmla="*/ 71 w 42995"/>
                    <a:gd name="connsiteY1" fmla="*/ 53846 h 168157"/>
                    <a:gd name="connsiteX2" fmla="*/ 42936 w 42995"/>
                    <a:gd name="connsiteY2" fmla="*/ 116329 h 168157"/>
                    <a:gd name="connsiteX3" fmla="*/ 7691 w 42995"/>
                    <a:gd name="connsiteY3" fmla="*/ 168157 h 168157"/>
                    <a:gd name="connsiteX0" fmla="*/ 32946 w 40594"/>
                    <a:gd name="connsiteY0" fmla="*/ 0 h 168157"/>
                    <a:gd name="connsiteX1" fmla="*/ 83 w 40594"/>
                    <a:gd name="connsiteY1" fmla="*/ 59948 h 168157"/>
                    <a:gd name="connsiteX2" fmla="*/ 40565 w 40594"/>
                    <a:gd name="connsiteY2" fmla="*/ 116329 h 168157"/>
                    <a:gd name="connsiteX3" fmla="*/ 5320 w 40594"/>
                    <a:gd name="connsiteY3" fmla="*/ 168157 h 168157"/>
                    <a:gd name="connsiteX0" fmla="*/ 32946 w 40566"/>
                    <a:gd name="connsiteY0" fmla="*/ 0 h 168157"/>
                    <a:gd name="connsiteX1" fmla="*/ 83 w 40566"/>
                    <a:gd name="connsiteY1" fmla="*/ 59948 h 168157"/>
                    <a:gd name="connsiteX2" fmla="*/ 40565 w 40566"/>
                    <a:gd name="connsiteY2" fmla="*/ 116329 h 168157"/>
                    <a:gd name="connsiteX3" fmla="*/ 5320 w 40566"/>
                    <a:gd name="connsiteY3" fmla="*/ 168157 h 168157"/>
                    <a:gd name="connsiteX0" fmla="*/ 32864 w 33336"/>
                    <a:gd name="connsiteY0" fmla="*/ 0 h 168157"/>
                    <a:gd name="connsiteX1" fmla="*/ 1 w 33336"/>
                    <a:gd name="connsiteY1" fmla="*/ 59948 h 168157"/>
                    <a:gd name="connsiteX2" fmla="*/ 33334 w 33336"/>
                    <a:gd name="connsiteY2" fmla="*/ 116329 h 168157"/>
                    <a:gd name="connsiteX3" fmla="*/ 5238 w 33336"/>
                    <a:gd name="connsiteY3" fmla="*/ 168157 h 168157"/>
                  </a:gdLst>
                  <a:ahLst/>
                  <a:cxnLst>
                    <a:cxn ang="0">
                      <a:pos x="connsiteX0" y="connsiteY0"/>
                    </a:cxn>
                    <a:cxn ang="0">
                      <a:pos x="connsiteX1" y="connsiteY1"/>
                    </a:cxn>
                    <a:cxn ang="0">
                      <a:pos x="connsiteX2" y="connsiteY2"/>
                    </a:cxn>
                    <a:cxn ang="0">
                      <a:pos x="connsiteX3" y="connsiteY3"/>
                    </a:cxn>
                  </a:cxnLst>
                  <a:rect l="l" t="t" r="r" b="b"/>
                  <a:pathLst>
                    <a:path w="33336" h="168157">
                      <a:moveTo>
                        <a:pt x="32864" y="0"/>
                      </a:moveTo>
                      <a:cubicBezTo>
                        <a:pt x="12223" y="12906"/>
                        <a:pt x="-77" y="40560"/>
                        <a:pt x="1" y="59948"/>
                      </a:cubicBezTo>
                      <a:cubicBezTo>
                        <a:pt x="79" y="79336"/>
                        <a:pt x="33653" y="92192"/>
                        <a:pt x="33334" y="116329"/>
                      </a:cubicBezTo>
                      <a:cubicBezTo>
                        <a:pt x="33095" y="134384"/>
                        <a:pt x="22411" y="157232"/>
                        <a:pt x="5238" y="168157"/>
                      </a:cubicBezTo>
                    </a:path>
                  </a:pathLst>
                </a:custGeom>
                <a:noFill/>
                <a:ln w="38100" cap="rnd" cmpd="sng" algn="ctr">
                  <a:solidFill>
                    <a:srgbClr val="003865"/>
                  </a:solidFill>
                  <a:prstDash val="solid"/>
                  <a:miter lim="800000"/>
                </a:ln>
                <a:effectLst/>
              </p:spPr>
              <p:txBody>
                <a:bodyPr rtlCol="0" anchor="ctr"/>
                <a:lstStyle/>
                <a:p>
                  <a:pPr algn="ctr" defTabSz="685800">
                    <a:defRPr/>
                  </a:pPr>
                  <a:endParaRPr lang="en-US" sz="1350" kern="0" dirty="0">
                    <a:solidFill>
                      <a:srgbClr val="FFFFFF"/>
                    </a:solidFill>
                    <a:latin typeface="Arial"/>
                  </a:endParaRPr>
                </a:p>
              </p:txBody>
            </p:sp>
          </p:grpSp>
        </p:grpSp>
        <p:grpSp>
          <p:nvGrpSpPr>
            <p:cNvPr id="41" name="Group 80">
              <a:extLst>
                <a:ext uri="{FF2B5EF4-FFF2-40B4-BE49-F238E27FC236}">
                  <a16:creationId xmlns:a16="http://schemas.microsoft.com/office/drawing/2014/main" xmlns="" id="{948AE3A4-C8F2-E3CF-00FE-169B0B8CCF88}"/>
                </a:ext>
              </a:extLst>
            </p:cNvPr>
            <p:cNvGrpSpPr/>
            <p:nvPr/>
          </p:nvGrpSpPr>
          <p:grpSpPr>
            <a:xfrm>
              <a:off x="3511934" y="3949116"/>
              <a:ext cx="713192" cy="415634"/>
              <a:chOff x="4307460" y="5349657"/>
              <a:chExt cx="943026" cy="554178"/>
            </a:xfrm>
          </p:grpSpPr>
          <p:sp>
            <p:nvSpPr>
              <p:cNvPr id="42" name="Arc 78">
                <a:extLst>
                  <a:ext uri="{FF2B5EF4-FFF2-40B4-BE49-F238E27FC236}">
                    <a16:creationId xmlns:a16="http://schemas.microsoft.com/office/drawing/2014/main" xmlns="" id="{E26A1280-978F-BD6F-67F3-67B4E16E2F1C}"/>
                  </a:ext>
                </a:extLst>
              </p:cNvPr>
              <p:cNvSpPr/>
              <p:nvPr/>
            </p:nvSpPr>
            <p:spPr>
              <a:xfrm>
                <a:off x="4501884" y="5349657"/>
                <a:ext cx="554178" cy="554178"/>
              </a:xfrm>
              <a:prstGeom prst="arc">
                <a:avLst>
                  <a:gd name="adj1" fmla="val 20843283"/>
                  <a:gd name="adj2" fmla="val 19819546"/>
                </a:avLst>
              </a:prstGeom>
              <a:noFill/>
              <a:ln w="38100" cap="rnd" cmpd="sng" algn="ctr">
                <a:solidFill>
                  <a:srgbClr val="003865"/>
                </a:solidFill>
                <a:prstDash val="solid"/>
                <a:miter lim="800000"/>
                <a:headEnd type="triangle" w="med" len="med"/>
                <a:tailEnd type="none" w="med" len="med"/>
              </a:ln>
              <a:effectLst/>
            </p:spPr>
            <p:txBody>
              <a:bodyPr rtlCol="0" anchor="ctr"/>
              <a:lstStyle/>
              <a:p>
                <a:pPr algn="ctr" defTabSz="685800">
                  <a:defRPr/>
                </a:pPr>
                <a:endParaRPr lang="en-US" sz="1350" kern="0" dirty="0">
                  <a:solidFill>
                    <a:srgbClr val="000000"/>
                  </a:solidFill>
                  <a:latin typeface="Arial"/>
                </a:endParaRPr>
              </a:p>
            </p:txBody>
          </p:sp>
          <p:sp>
            <p:nvSpPr>
              <p:cNvPr id="43" name="TextBox 42">
                <a:extLst>
                  <a:ext uri="{FF2B5EF4-FFF2-40B4-BE49-F238E27FC236}">
                    <a16:creationId xmlns:a16="http://schemas.microsoft.com/office/drawing/2014/main" xmlns="" id="{4190BD31-6F9B-E0A8-C672-A762B580D493}"/>
                  </a:ext>
                </a:extLst>
              </p:cNvPr>
              <p:cNvSpPr txBox="1"/>
              <p:nvPr/>
            </p:nvSpPr>
            <p:spPr>
              <a:xfrm>
                <a:off x="4307460" y="5526718"/>
                <a:ext cx="943026" cy="230832"/>
              </a:xfrm>
              <a:prstGeom prst="rect">
                <a:avLst/>
              </a:prstGeom>
              <a:noFill/>
            </p:spPr>
            <p:txBody>
              <a:bodyPr wrap="square" rtlCol="0">
                <a:spAutoFit/>
              </a:bodyPr>
              <a:lstStyle/>
              <a:p>
                <a:pPr algn="ctr" defTabSz="685800">
                  <a:defRPr/>
                </a:pPr>
                <a:r>
                  <a:rPr lang="ru" sz="525" b="1" kern="0" dirty="0">
                    <a:solidFill>
                      <a:srgbClr val="003865"/>
                    </a:solidFill>
                    <a:latin typeface="Arial Black" panose="020B0A04020102020204" pitchFamily="34" charset="0"/>
                  </a:rPr>
                  <a:t>ВОЗРАСТ</a:t>
                </a:r>
              </a:p>
            </p:txBody>
          </p:sp>
        </p:grpSp>
      </p:grpSp>
      <p:sp>
        <p:nvSpPr>
          <p:cNvPr id="3" name="TextBox 2">
            <a:extLst>
              <a:ext uri="{FF2B5EF4-FFF2-40B4-BE49-F238E27FC236}">
                <a16:creationId xmlns:a16="http://schemas.microsoft.com/office/drawing/2014/main" xmlns="" id="{51542380-0DF5-92EC-87C0-6487BEC1C8D4}"/>
              </a:ext>
            </a:extLst>
          </p:cNvPr>
          <p:cNvSpPr txBox="1"/>
          <p:nvPr/>
        </p:nvSpPr>
        <p:spPr>
          <a:xfrm>
            <a:off x="328342" y="4468369"/>
            <a:ext cx="3053330" cy="225426"/>
          </a:xfrm>
          <a:prstGeom prst="rect">
            <a:avLst/>
          </a:prstGeom>
          <a:noFill/>
          <a:ln>
            <a:solidFill>
              <a:schemeClr val="bg1"/>
            </a:solidFill>
          </a:ln>
        </p:spPr>
        <p:txBody>
          <a:bodyPr wrap="none" rtlCol="0">
            <a:noAutofit/>
          </a:bodyPr>
          <a:lstStyle/>
          <a:p>
            <a:pPr algn="l">
              <a:lnSpc>
                <a:spcPct val="90000"/>
              </a:lnSpc>
              <a:spcAft>
                <a:spcPts val="600"/>
              </a:spcAft>
            </a:pPr>
            <a:r>
              <a:rPr lang="ru-RU" sz="700" dirty="0"/>
              <a:t>НМРЛ – </a:t>
            </a:r>
            <a:r>
              <a:rPr lang="ru-RU" sz="700" i="1" dirty="0" err="1"/>
              <a:t>немелкоклеточный</a:t>
            </a:r>
            <a:r>
              <a:rPr lang="ru-RU" sz="700" dirty="0"/>
              <a:t> рак легкого</a:t>
            </a:r>
            <a:endParaRPr lang="ru-RU" sz="700" dirty="0">
              <a:latin typeface="Arial"/>
            </a:endParaRPr>
          </a:p>
        </p:txBody>
      </p:sp>
    </p:spTree>
    <p:extLst>
      <p:ext uri="{BB962C8B-B14F-4D97-AF65-F5344CB8AC3E}">
        <p14:creationId xmlns:p14="http://schemas.microsoft.com/office/powerpoint/2010/main" val="41330775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5838A4CA-4323-3D31-9189-02976E7B1191}"/>
              </a:ext>
            </a:extLst>
          </p:cNvPr>
          <p:cNvSpPr>
            <a:spLocks noGrp="1"/>
          </p:cNvSpPr>
          <p:nvPr>
            <p:ph type="title"/>
          </p:nvPr>
        </p:nvSpPr>
        <p:spPr/>
        <p:txBody>
          <a:bodyPr/>
          <a:lstStyle/>
          <a:p>
            <a:r>
              <a:rPr lang="ru-RU" dirty="0"/>
              <a:t>Наличие мутации </a:t>
            </a:r>
            <a:r>
              <a:rPr lang="ru-RU" i="1" dirty="0"/>
              <a:t>HER2</a:t>
            </a:r>
            <a:r>
              <a:rPr lang="ru-RU" dirty="0"/>
              <a:t> при НМРЛ может быть ассоциировано с неблагоприятным прогнозом</a:t>
            </a:r>
            <a:r>
              <a:rPr lang="ru-RU" baseline="30000" dirty="0"/>
              <a:t>1</a:t>
            </a:r>
          </a:p>
        </p:txBody>
      </p:sp>
      <p:sp>
        <p:nvSpPr>
          <p:cNvPr id="3" name="Text Placeholder 2">
            <a:extLst>
              <a:ext uri="{FF2B5EF4-FFF2-40B4-BE49-F238E27FC236}">
                <a16:creationId xmlns:a16="http://schemas.microsoft.com/office/drawing/2014/main" xmlns="" id="{C9DDAF7B-0611-62AE-640C-1587D22532EF}"/>
              </a:ext>
            </a:extLst>
          </p:cNvPr>
          <p:cNvSpPr txBox="1">
            <a:spLocks/>
          </p:cNvSpPr>
          <p:nvPr/>
        </p:nvSpPr>
        <p:spPr>
          <a:xfrm>
            <a:off x="242761" y="1017240"/>
            <a:ext cx="8119574" cy="577454"/>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defRPr/>
            </a:pPr>
            <a:r>
              <a:rPr lang="ru-RU" sz="1200" dirty="0">
                <a:solidFill>
                  <a:srgbClr val="000000"/>
                </a:solidFill>
                <a:latin typeface="Arial"/>
              </a:rPr>
              <a:t>Наличие мутации </a:t>
            </a:r>
            <a:r>
              <a:rPr lang="ru-RU" sz="1200" i="1" dirty="0">
                <a:solidFill>
                  <a:srgbClr val="000000"/>
                </a:solidFill>
                <a:latin typeface="Arial"/>
              </a:rPr>
              <a:t>HER2</a:t>
            </a:r>
            <a:r>
              <a:rPr lang="ru-RU" sz="1200" dirty="0">
                <a:solidFill>
                  <a:srgbClr val="000000"/>
                </a:solidFill>
                <a:latin typeface="Arial"/>
              </a:rPr>
              <a:t> ассоциировано с численно более низкими показателями ОВ как по сравнению с диким типом HER2, так и по сравнению с большинством других драйверных онкогенов</a:t>
            </a:r>
            <a:r>
              <a:rPr lang="ru-RU" sz="1200" baseline="30000" dirty="0">
                <a:solidFill>
                  <a:srgbClr val="000000"/>
                </a:solidFill>
                <a:latin typeface="Arial"/>
              </a:rPr>
              <a:t>1-4</a:t>
            </a:r>
          </a:p>
        </p:txBody>
      </p:sp>
      <p:sp>
        <p:nvSpPr>
          <p:cNvPr id="4" name="Text Placeholder 6">
            <a:extLst>
              <a:ext uri="{FF2B5EF4-FFF2-40B4-BE49-F238E27FC236}">
                <a16:creationId xmlns:a16="http://schemas.microsoft.com/office/drawing/2014/main" xmlns="" id="{FDA3BA72-834E-FFF6-57EB-FD1F121A74C6}"/>
              </a:ext>
            </a:extLst>
          </p:cNvPr>
          <p:cNvSpPr txBox="1">
            <a:spLocks/>
          </p:cNvSpPr>
          <p:nvPr/>
        </p:nvSpPr>
        <p:spPr>
          <a:xfrm>
            <a:off x="267542" y="4821058"/>
            <a:ext cx="7379346" cy="333881"/>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ru" sz="600" b="1" dirty="0">
                <a:solidFill>
                  <a:srgbClr val="000000"/>
                </a:solidFill>
                <a:latin typeface="Arial"/>
              </a:rPr>
              <a:t>1. </a:t>
            </a:r>
            <a:r>
              <a:rPr lang="ru" sz="600" dirty="0">
                <a:solidFill>
                  <a:srgbClr val="000000"/>
                </a:solidFill>
                <a:latin typeface="Arial"/>
              </a:rPr>
              <a:t>Mazière’s J, et al. </a:t>
            </a:r>
            <a:r>
              <a:rPr lang="ru" sz="600" i="1" dirty="0">
                <a:solidFill>
                  <a:srgbClr val="000000"/>
                </a:solidFill>
                <a:latin typeface="Arial"/>
              </a:rPr>
              <a:t>J Clin Oncol</a:t>
            </a:r>
            <a:r>
              <a:rPr lang="ru" sz="600" dirty="0">
                <a:solidFill>
                  <a:srgbClr val="000000"/>
                </a:solidFill>
                <a:latin typeface="Arial"/>
              </a:rPr>
              <a:t>. 2013;31(16):1997-2003. </a:t>
            </a:r>
            <a:r>
              <a:rPr lang="ru" sz="600" b="1" dirty="0">
                <a:solidFill>
                  <a:srgbClr val="000000"/>
                </a:solidFill>
                <a:latin typeface="Arial"/>
              </a:rPr>
              <a:t>2. </a:t>
            </a:r>
            <a:r>
              <a:rPr lang="ru" sz="600" dirty="0">
                <a:solidFill>
                  <a:srgbClr val="000000"/>
                </a:solidFill>
                <a:latin typeface="Arial"/>
              </a:rPr>
              <a:t>Pillai RN, et al. </a:t>
            </a:r>
            <a:r>
              <a:rPr lang="ru" sz="600" i="1" dirty="0">
                <a:solidFill>
                  <a:srgbClr val="000000"/>
                </a:solidFill>
                <a:latin typeface="Arial"/>
              </a:rPr>
              <a:t>Cancer</a:t>
            </a:r>
            <a:r>
              <a:rPr lang="ru" sz="600" dirty="0">
                <a:solidFill>
                  <a:srgbClr val="000000"/>
                </a:solidFill>
                <a:latin typeface="Arial"/>
              </a:rPr>
              <a:t>. 2017;123(21):4099-4105. </a:t>
            </a:r>
            <a:r>
              <a:rPr lang="ru" sz="600" b="1" dirty="0">
                <a:solidFill>
                  <a:srgbClr val="000000"/>
                </a:solidFill>
                <a:latin typeface="Arial"/>
              </a:rPr>
              <a:t>3. </a:t>
            </a:r>
            <a:r>
              <a:rPr lang="ru" sz="600" dirty="0">
                <a:solidFill>
                  <a:srgbClr val="000000"/>
                </a:solidFill>
                <a:latin typeface="Arial"/>
              </a:rPr>
              <a:t>Zhou J, et al. </a:t>
            </a:r>
            <a:r>
              <a:rPr lang="ru" sz="600" i="1" dirty="0">
                <a:solidFill>
                  <a:srgbClr val="000000"/>
                </a:solidFill>
                <a:latin typeface="Arial"/>
              </a:rPr>
              <a:t>Ther Adv Med Oncol. </a:t>
            </a:r>
            <a:r>
              <a:rPr lang="ru" sz="600" dirty="0">
                <a:solidFill>
                  <a:srgbClr val="000000"/>
                </a:solidFill>
                <a:latin typeface="Arial"/>
              </a:rPr>
              <a:t>2020;12:1758835920936090. </a:t>
            </a:r>
            <a:r>
              <a:rPr lang="ru" sz="600" b="1" dirty="0">
                <a:solidFill>
                  <a:srgbClr val="000000"/>
                </a:solidFill>
                <a:latin typeface="Arial"/>
              </a:rPr>
              <a:t>4. </a:t>
            </a:r>
            <a:r>
              <a:rPr lang="ru" sz="600" dirty="0">
                <a:solidFill>
                  <a:srgbClr val="000000"/>
                </a:solidFill>
                <a:latin typeface="Arial"/>
              </a:rPr>
              <a:t>Arcila ME, et al. </a:t>
            </a:r>
            <a:r>
              <a:rPr lang="ru" sz="600" i="1" dirty="0">
                <a:solidFill>
                  <a:srgbClr val="000000"/>
                </a:solidFill>
                <a:latin typeface="Arial"/>
              </a:rPr>
              <a:t>Clin Cancer Res</a:t>
            </a:r>
            <a:r>
              <a:rPr lang="ru" sz="600" dirty="0">
                <a:solidFill>
                  <a:srgbClr val="000000"/>
                </a:solidFill>
                <a:latin typeface="Arial"/>
              </a:rPr>
              <a:t>. 2012;18(18):4910-4918. </a:t>
            </a:r>
          </a:p>
        </p:txBody>
      </p:sp>
      <p:grpSp>
        <p:nvGrpSpPr>
          <p:cNvPr id="120" name="Group 119">
            <a:extLst>
              <a:ext uri="{FF2B5EF4-FFF2-40B4-BE49-F238E27FC236}">
                <a16:creationId xmlns:a16="http://schemas.microsoft.com/office/drawing/2014/main" xmlns="" id="{2705583A-2C84-4BC0-B4B4-CC6B15CCCF20}"/>
              </a:ext>
            </a:extLst>
          </p:cNvPr>
          <p:cNvGrpSpPr/>
          <p:nvPr/>
        </p:nvGrpSpPr>
        <p:grpSpPr>
          <a:xfrm>
            <a:off x="379660" y="1693533"/>
            <a:ext cx="7982675" cy="2383060"/>
            <a:chOff x="518388" y="1775834"/>
            <a:chExt cx="7982675" cy="2383060"/>
          </a:xfrm>
        </p:grpSpPr>
        <p:grpSp>
          <p:nvGrpSpPr>
            <p:cNvPr id="5" name="Group 250">
              <a:extLst>
                <a:ext uri="{FF2B5EF4-FFF2-40B4-BE49-F238E27FC236}">
                  <a16:creationId xmlns:a16="http://schemas.microsoft.com/office/drawing/2014/main" xmlns="" id="{D41AACCF-34E8-B03B-ABE0-DE5A16E6A391}"/>
                </a:ext>
              </a:extLst>
            </p:cNvPr>
            <p:cNvGrpSpPr/>
            <p:nvPr/>
          </p:nvGrpSpPr>
          <p:grpSpPr>
            <a:xfrm>
              <a:off x="518388" y="1854852"/>
              <a:ext cx="3263114" cy="2238518"/>
              <a:chOff x="7440676" y="1224621"/>
              <a:chExt cx="4048488" cy="2824834"/>
            </a:xfrm>
          </p:grpSpPr>
          <p:grpSp>
            <p:nvGrpSpPr>
              <p:cNvPr id="6" name="Group 251">
                <a:extLst>
                  <a:ext uri="{FF2B5EF4-FFF2-40B4-BE49-F238E27FC236}">
                    <a16:creationId xmlns:a16="http://schemas.microsoft.com/office/drawing/2014/main" xmlns="" id="{56D911C0-2EAB-956B-E1E7-6F12ECC9D625}"/>
                  </a:ext>
                </a:extLst>
              </p:cNvPr>
              <p:cNvGrpSpPr/>
              <p:nvPr/>
            </p:nvGrpSpPr>
            <p:grpSpPr>
              <a:xfrm>
                <a:off x="7440676" y="1224621"/>
                <a:ext cx="4048488" cy="2824834"/>
                <a:chOff x="7440676" y="1293355"/>
                <a:chExt cx="4048488" cy="2824834"/>
              </a:xfrm>
            </p:grpSpPr>
            <p:sp>
              <p:nvSpPr>
                <p:cNvPr id="24" name="TextBox 23">
                  <a:extLst>
                    <a:ext uri="{FF2B5EF4-FFF2-40B4-BE49-F238E27FC236}">
                      <a16:creationId xmlns:a16="http://schemas.microsoft.com/office/drawing/2014/main" xmlns="" id="{33DFC45F-B190-6A6B-01DD-DB447958315F}"/>
                    </a:ext>
                  </a:extLst>
                </p:cNvPr>
                <p:cNvSpPr txBox="1"/>
                <p:nvPr/>
              </p:nvSpPr>
              <p:spPr>
                <a:xfrm>
                  <a:off x="9062724" y="1558700"/>
                  <a:ext cx="2426440" cy="852839"/>
                </a:xfrm>
                <a:prstGeom prst="rect">
                  <a:avLst/>
                </a:prstGeom>
                <a:noFill/>
              </p:spPr>
              <p:txBody>
                <a:bodyPr wrap="square" rtlCol="0">
                  <a:spAutoFit/>
                </a:bodyPr>
                <a:lstStyle/>
                <a:p>
                  <a:pPr defTabSz="685800">
                    <a:spcBef>
                      <a:spcPts val="150"/>
                    </a:spcBef>
                    <a:spcAft>
                      <a:spcPts val="225"/>
                    </a:spcAft>
                    <a:defRPr/>
                  </a:pPr>
                  <a:r>
                    <a:rPr lang="ru" sz="675" i="1" kern="0" dirty="0">
                      <a:solidFill>
                        <a:srgbClr val="000000"/>
                      </a:solidFill>
                    </a:rPr>
                    <a:t>Мутация HER2</a:t>
                  </a:r>
                  <a:r>
                    <a:rPr lang="ru" sz="675" kern="0" dirty="0">
                      <a:solidFill>
                        <a:srgbClr val="000000"/>
                      </a:solidFill>
                    </a:rPr>
                    <a:t> (без таргетной терапии): медиана ОВ 1,37 года </a:t>
                  </a:r>
                  <a:endParaRPr lang="ru-RU" sz="675" kern="0" dirty="0">
                    <a:solidFill>
                      <a:srgbClr val="000000"/>
                    </a:solidFill>
                  </a:endParaRPr>
                </a:p>
                <a:p>
                  <a:pPr defTabSz="685800">
                    <a:spcBef>
                      <a:spcPts val="75"/>
                    </a:spcBef>
                    <a:spcAft>
                      <a:spcPts val="225"/>
                    </a:spcAft>
                    <a:defRPr/>
                  </a:pPr>
                  <a:r>
                    <a:rPr lang="ru" sz="675" i="1" kern="0" dirty="0">
                      <a:solidFill>
                        <a:srgbClr val="000000"/>
                      </a:solidFill>
                    </a:rPr>
                    <a:t>Дикий тип HER2</a:t>
                  </a:r>
                  <a:r>
                    <a:rPr lang="ru" sz="675" kern="0" dirty="0">
                      <a:solidFill>
                        <a:srgbClr val="000000"/>
                      </a:solidFill>
                    </a:rPr>
                    <a:t>: медиана ОВ 2,62 года</a:t>
                  </a:r>
                </a:p>
                <a:p>
                  <a:pPr defTabSz="685800">
                    <a:spcAft>
                      <a:spcPts val="450"/>
                    </a:spcAft>
                    <a:defRPr/>
                  </a:pPr>
                  <a:r>
                    <a:rPr lang="ru" sz="675" i="1" kern="0" dirty="0">
                      <a:solidFill>
                        <a:srgbClr val="000000"/>
                      </a:solidFill>
                    </a:rPr>
                    <a:t>Мутация HER2</a:t>
                  </a:r>
                  <a:r>
                    <a:rPr lang="ru" sz="675" kern="0" dirty="0">
                      <a:solidFill>
                        <a:srgbClr val="000000"/>
                      </a:solidFill>
                    </a:rPr>
                    <a:t> </a:t>
                  </a:r>
                  <a:r>
                    <a:rPr lang="ru" sz="675" i="1" kern="0" dirty="0">
                      <a:solidFill>
                        <a:srgbClr val="000000"/>
                      </a:solidFill>
                    </a:rPr>
                    <a:t>(с </a:t>
                  </a:r>
                  <a:r>
                    <a:rPr lang="ru" sz="675" kern="0" dirty="0">
                      <a:solidFill>
                        <a:srgbClr val="000000"/>
                      </a:solidFill>
                    </a:rPr>
                    <a:t>HER2-таргетной терапией): медиана ОВ 2,09 года</a:t>
                  </a:r>
                </a:p>
              </p:txBody>
            </p:sp>
            <p:grpSp>
              <p:nvGrpSpPr>
                <p:cNvPr id="25" name="Group 270">
                  <a:extLst>
                    <a:ext uri="{FF2B5EF4-FFF2-40B4-BE49-F238E27FC236}">
                      <a16:creationId xmlns:a16="http://schemas.microsoft.com/office/drawing/2014/main" xmlns="" id="{0E2E9778-A728-2CED-F0B7-A54EDC6CD5BE}"/>
                    </a:ext>
                  </a:extLst>
                </p:cNvPr>
                <p:cNvGrpSpPr/>
                <p:nvPr/>
              </p:nvGrpSpPr>
              <p:grpSpPr>
                <a:xfrm>
                  <a:off x="7440676" y="1293355"/>
                  <a:ext cx="3719316" cy="2824834"/>
                  <a:chOff x="267838" y="522106"/>
                  <a:chExt cx="7269663" cy="5521334"/>
                </a:xfrm>
              </p:grpSpPr>
              <p:grpSp>
                <p:nvGrpSpPr>
                  <p:cNvPr id="26" name="Group 271">
                    <a:extLst>
                      <a:ext uri="{FF2B5EF4-FFF2-40B4-BE49-F238E27FC236}">
                        <a16:creationId xmlns:a16="http://schemas.microsoft.com/office/drawing/2014/main" xmlns="" id="{3B9F9A60-DE58-0BBB-E291-3D4946C35FCE}"/>
                      </a:ext>
                    </a:extLst>
                  </p:cNvPr>
                  <p:cNvGrpSpPr/>
                  <p:nvPr/>
                </p:nvGrpSpPr>
                <p:grpSpPr>
                  <a:xfrm>
                    <a:off x="267838" y="522106"/>
                    <a:ext cx="7269663" cy="5521334"/>
                    <a:chOff x="267838" y="522106"/>
                    <a:chExt cx="7269663" cy="5521334"/>
                  </a:xfrm>
                </p:grpSpPr>
                <p:grpSp>
                  <p:nvGrpSpPr>
                    <p:cNvPr id="29" name="Group 274">
                      <a:extLst>
                        <a:ext uri="{FF2B5EF4-FFF2-40B4-BE49-F238E27FC236}">
                          <a16:creationId xmlns:a16="http://schemas.microsoft.com/office/drawing/2014/main" xmlns="" id="{D1E053E6-D73D-B451-37FD-BBF019565B32}"/>
                        </a:ext>
                      </a:extLst>
                    </p:cNvPr>
                    <p:cNvGrpSpPr/>
                    <p:nvPr/>
                  </p:nvGrpSpPr>
                  <p:grpSpPr>
                    <a:xfrm>
                      <a:off x="267838" y="522106"/>
                      <a:ext cx="7269663" cy="5521334"/>
                      <a:chOff x="267838" y="522106"/>
                      <a:chExt cx="7269663" cy="5521334"/>
                    </a:xfrm>
                  </p:grpSpPr>
                  <p:grpSp>
                    <p:nvGrpSpPr>
                      <p:cNvPr id="33" name="Group 278">
                        <a:extLst>
                          <a:ext uri="{FF2B5EF4-FFF2-40B4-BE49-F238E27FC236}">
                            <a16:creationId xmlns:a16="http://schemas.microsoft.com/office/drawing/2014/main" xmlns="" id="{DB14EEB3-B94E-C9AA-D35D-45B81CE7AE14}"/>
                          </a:ext>
                        </a:extLst>
                      </p:cNvPr>
                      <p:cNvGrpSpPr/>
                      <p:nvPr/>
                    </p:nvGrpSpPr>
                    <p:grpSpPr>
                      <a:xfrm>
                        <a:off x="1664725" y="847165"/>
                        <a:ext cx="5872776" cy="4322819"/>
                        <a:chOff x="1664725" y="847165"/>
                        <a:chExt cx="5872776" cy="4322819"/>
                      </a:xfrm>
                    </p:grpSpPr>
                    <p:sp>
                      <p:nvSpPr>
                        <p:cNvPr id="48" name="Freeform 39">
                          <a:extLst>
                            <a:ext uri="{FF2B5EF4-FFF2-40B4-BE49-F238E27FC236}">
                              <a16:creationId xmlns:a16="http://schemas.microsoft.com/office/drawing/2014/main" xmlns="" id="{F077AE08-D612-5AB4-EF2D-59B820B6916D}"/>
                            </a:ext>
                          </a:extLst>
                        </p:cNvPr>
                        <p:cNvSpPr/>
                        <p:nvPr/>
                      </p:nvSpPr>
                      <p:spPr>
                        <a:xfrm>
                          <a:off x="1752735" y="847165"/>
                          <a:ext cx="5784766" cy="4235823"/>
                        </a:xfrm>
                        <a:custGeom>
                          <a:avLst/>
                          <a:gdLst>
                            <a:gd name="connsiteX0" fmla="*/ 0 w 4464424"/>
                            <a:gd name="connsiteY0" fmla="*/ 0 h 4303059"/>
                            <a:gd name="connsiteX1" fmla="*/ 0 w 4464424"/>
                            <a:gd name="connsiteY1" fmla="*/ 4235823 h 4303059"/>
                            <a:gd name="connsiteX2" fmla="*/ 4464424 w 4464424"/>
                            <a:gd name="connsiteY2" fmla="*/ 4235823 h 4303059"/>
                            <a:gd name="connsiteX3" fmla="*/ 4464424 w 4464424"/>
                            <a:gd name="connsiteY3" fmla="*/ 4303059 h 4303059"/>
                            <a:gd name="connsiteX4" fmla="*/ 4464424 w 4464424"/>
                            <a:gd name="connsiteY4" fmla="*/ 4303059 h 4303059"/>
                            <a:gd name="connsiteX0" fmla="*/ 0 w 4464424"/>
                            <a:gd name="connsiteY0" fmla="*/ 0 h 4303059"/>
                            <a:gd name="connsiteX1" fmla="*/ 0 w 4464424"/>
                            <a:gd name="connsiteY1" fmla="*/ 4235823 h 4303059"/>
                            <a:gd name="connsiteX2" fmla="*/ 4464424 w 4464424"/>
                            <a:gd name="connsiteY2" fmla="*/ 4235823 h 4303059"/>
                            <a:gd name="connsiteX3" fmla="*/ 4464424 w 4464424"/>
                            <a:gd name="connsiteY3" fmla="*/ 4303059 h 4303059"/>
                            <a:gd name="connsiteX0" fmla="*/ 0 w 4464424"/>
                            <a:gd name="connsiteY0" fmla="*/ 0 h 4235823"/>
                            <a:gd name="connsiteX1" fmla="*/ 0 w 4464424"/>
                            <a:gd name="connsiteY1" fmla="*/ 4235823 h 4235823"/>
                            <a:gd name="connsiteX2" fmla="*/ 4464424 w 4464424"/>
                            <a:gd name="connsiteY2" fmla="*/ 4235823 h 4235823"/>
                          </a:gdLst>
                          <a:ahLst/>
                          <a:cxnLst>
                            <a:cxn ang="0">
                              <a:pos x="connsiteX0" y="connsiteY0"/>
                            </a:cxn>
                            <a:cxn ang="0">
                              <a:pos x="connsiteX1" y="connsiteY1"/>
                            </a:cxn>
                            <a:cxn ang="0">
                              <a:pos x="connsiteX2" y="connsiteY2"/>
                            </a:cxn>
                          </a:cxnLst>
                          <a:rect l="l" t="t" r="r" b="b"/>
                          <a:pathLst>
                            <a:path w="4464424" h="4235823">
                              <a:moveTo>
                                <a:pt x="0" y="0"/>
                              </a:moveTo>
                              <a:lnTo>
                                <a:pt x="0" y="4235823"/>
                              </a:lnTo>
                              <a:lnTo>
                                <a:pt x="4464424" y="4235823"/>
                              </a:lnTo>
                            </a:path>
                          </a:pathLst>
                        </a:custGeom>
                        <a:noFill/>
                        <a:ln w="19050" cap="flat" cmpd="sng" algn="ctr">
                          <a:solidFill>
                            <a:srgbClr val="9DB0AC"/>
                          </a:solidFill>
                          <a:prstDash val="solid"/>
                        </a:ln>
                        <a:effectLst/>
                      </p:spPr>
                      <p:txBody>
                        <a:bodyPr rtlCol="0" anchor="ctr"/>
                        <a:lstStyle/>
                        <a:p>
                          <a:pPr algn="ctr" defTabSz="685800">
                            <a:defRPr/>
                          </a:pPr>
                          <a:endParaRPr lang="en-US" sz="1350" kern="0" dirty="0">
                            <a:solidFill>
                              <a:srgbClr val="FFFFFF"/>
                            </a:solidFill>
                          </a:endParaRPr>
                        </a:p>
                      </p:txBody>
                    </p:sp>
                    <p:cxnSp>
                      <p:nvCxnSpPr>
                        <p:cNvPr id="49" name="Straight Connector 294">
                          <a:extLst>
                            <a:ext uri="{FF2B5EF4-FFF2-40B4-BE49-F238E27FC236}">
                              <a16:creationId xmlns:a16="http://schemas.microsoft.com/office/drawing/2014/main" xmlns="" id="{5A3B4813-B291-D853-F04A-9F168A7624D9}"/>
                            </a:ext>
                          </a:extLst>
                        </p:cNvPr>
                        <p:cNvCxnSpPr/>
                        <p:nvPr/>
                      </p:nvCxnSpPr>
                      <p:spPr>
                        <a:xfrm>
                          <a:off x="1664725" y="857960"/>
                          <a:ext cx="82296" cy="0"/>
                        </a:xfrm>
                        <a:prstGeom prst="line">
                          <a:avLst/>
                        </a:prstGeom>
                        <a:noFill/>
                        <a:ln w="19050" cap="flat" cmpd="sng" algn="ctr">
                          <a:solidFill>
                            <a:srgbClr val="9DB0AC"/>
                          </a:solidFill>
                          <a:prstDash val="solid"/>
                          <a:headEnd type="none" w="med" len="med"/>
                          <a:tailEnd type="none" w="med" len="med"/>
                        </a:ln>
                        <a:effectLst/>
                      </p:spPr>
                    </p:cxnSp>
                    <p:cxnSp>
                      <p:nvCxnSpPr>
                        <p:cNvPr id="50" name="Straight Connector 295">
                          <a:extLst>
                            <a:ext uri="{FF2B5EF4-FFF2-40B4-BE49-F238E27FC236}">
                              <a16:creationId xmlns:a16="http://schemas.microsoft.com/office/drawing/2014/main" xmlns="" id="{222F0499-27A3-C92D-7CD5-427F436EAEEC}"/>
                            </a:ext>
                          </a:extLst>
                        </p:cNvPr>
                        <p:cNvCxnSpPr/>
                        <p:nvPr/>
                      </p:nvCxnSpPr>
                      <p:spPr>
                        <a:xfrm>
                          <a:off x="1664725" y="1701875"/>
                          <a:ext cx="82296" cy="0"/>
                        </a:xfrm>
                        <a:prstGeom prst="line">
                          <a:avLst/>
                        </a:prstGeom>
                        <a:noFill/>
                        <a:ln w="19050" cap="flat" cmpd="sng" algn="ctr">
                          <a:solidFill>
                            <a:srgbClr val="9DB0AC"/>
                          </a:solidFill>
                          <a:prstDash val="solid"/>
                          <a:headEnd type="none" w="med" len="med"/>
                          <a:tailEnd type="none" w="med" len="med"/>
                        </a:ln>
                        <a:effectLst/>
                      </p:spPr>
                    </p:cxnSp>
                    <p:cxnSp>
                      <p:nvCxnSpPr>
                        <p:cNvPr id="51" name="Straight Connector 296">
                          <a:extLst>
                            <a:ext uri="{FF2B5EF4-FFF2-40B4-BE49-F238E27FC236}">
                              <a16:creationId xmlns:a16="http://schemas.microsoft.com/office/drawing/2014/main" xmlns="" id="{73CAD251-CE8F-D98D-0735-CEA7FE0B784E}"/>
                            </a:ext>
                          </a:extLst>
                        </p:cNvPr>
                        <p:cNvCxnSpPr/>
                        <p:nvPr/>
                      </p:nvCxnSpPr>
                      <p:spPr>
                        <a:xfrm>
                          <a:off x="1664725" y="2547695"/>
                          <a:ext cx="82296" cy="0"/>
                        </a:xfrm>
                        <a:prstGeom prst="line">
                          <a:avLst/>
                        </a:prstGeom>
                        <a:noFill/>
                        <a:ln w="19050" cap="flat" cmpd="sng" algn="ctr">
                          <a:solidFill>
                            <a:srgbClr val="9DB0AC"/>
                          </a:solidFill>
                          <a:prstDash val="solid"/>
                          <a:headEnd type="none" w="med" len="med"/>
                          <a:tailEnd type="none" w="med" len="med"/>
                        </a:ln>
                        <a:effectLst/>
                      </p:spPr>
                    </p:cxnSp>
                    <p:cxnSp>
                      <p:nvCxnSpPr>
                        <p:cNvPr id="52" name="Straight Connector 297">
                          <a:extLst>
                            <a:ext uri="{FF2B5EF4-FFF2-40B4-BE49-F238E27FC236}">
                              <a16:creationId xmlns:a16="http://schemas.microsoft.com/office/drawing/2014/main" xmlns="" id="{F018D159-2C51-CA5E-BE12-81B725CBA824}"/>
                            </a:ext>
                          </a:extLst>
                        </p:cNvPr>
                        <p:cNvCxnSpPr/>
                        <p:nvPr/>
                      </p:nvCxnSpPr>
                      <p:spPr>
                        <a:xfrm>
                          <a:off x="1664725" y="3391610"/>
                          <a:ext cx="82296" cy="0"/>
                        </a:xfrm>
                        <a:prstGeom prst="line">
                          <a:avLst/>
                        </a:prstGeom>
                        <a:noFill/>
                        <a:ln w="19050" cap="flat" cmpd="sng" algn="ctr">
                          <a:solidFill>
                            <a:srgbClr val="9DB0AC"/>
                          </a:solidFill>
                          <a:prstDash val="solid"/>
                          <a:headEnd type="none" w="med" len="med"/>
                          <a:tailEnd type="none" w="med" len="med"/>
                        </a:ln>
                        <a:effectLst/>
                      </p:spPr>
                    </p:cxnSp>
                    <p:cxnSp>
                      <p:nvCxnSpPr>
                        <p:cNvPr id="53" name="Straight Connector 298">
                          <a:extLst>
                            <a:ext uri="{FF2B5EF4-FFF2-40B4-BE49-F238E27FC236}">
                              <a16:creationId xmlns:a16="http://schemas.microsoft.com/office/drawing/2014/main" xmlns="" id="{8EAC66EE-15FD-4AE2-36B0-B633A8C2AF61}"/>
                            </a:ext>
                          </a:extLst>
                        </p:cNvPr>
                        <p:cNvCxnSpPr/>
                        <p:nvPr/>
                      </p:nvCxnSpPr>
                      <p:spPr>
                        <a:xfrm>
                          <a:off x="1664725" y="4233620"/>
                          <a:ext cx="82296" cy="0"/>
                        </a:xfrm>
                        <a:prstGeom prst="line">
                          <a:avLst/>
                        </a:prstGeom>
                        <a:noFill/>
                        <a:ln w="19050" cap="flat" cmpd="sng" algn="ctr">
                          <a:solidFill>
                            <a:srgbClr val="9DB0AC"/>
                          </a:solidFill>
                          <a:prstDash val="solid"/>
                          <a:headEnd type="none" w="med" len="med"/>
                          <a:tailEnd type="none" w="med" len="med"/>
                        </a:ln>
                        <a:effectLst/>
                      </p:spPr>
                    </p:cxnSp>
                    <p:cxnSp>
                      <p:nvCxnSpPr>
                        <p:cNvPr id="54" name="Straight Connector 299">
                          <a:extLst>
                            <a:ext uri="{FF2B5EF4-FFF2-40B4-BE49-F238E27FC236}">
                              <a16:creationId xmlns:a16="http://schemas.microsoft.com/office/drawing/2014/main" xmlns="" id="{3F4F6AEE-2D82-8BD3-34D4-D7396D393F0E}"/>
                            </a:ext>
                          </a:extLst>
                        </p:cNvPr>
                        <p:cNvCxnSpPr/>
                        <p:nvPr/>
                      </p:nvCxnSpPr>
                      <p:spPr>
                        <a:xfrm>
                          <a:off x="1664725" y="5083250"/>
                          <a:ext cx="82296" cy="0"/>
                        </a:xfrm>
                        <a:prstGeom prst="line">
                          <a:avLst/>
                        </a:prstGeom>
                        <a:noFill/>
                        <a:ln w="19050" cap="flat" cmpd="sng" algn="ctr">
                          <a:solidFill>
                            <a:srgbClr val="9DB0AC"/>
                          </a:solidFill>
                          <a:prstDash val="solid"/>
                          <a:headEnd type="none" w="med" len="med"/>
                          <a:tailEnd type="none" w="med" len="med"/>
                        </a:ln>
                        <a:effectLst/>
                      </p:spPr>
                    </p:cxnSp>
                    <p:cxnSp>
                      <p:nvCxnSpPr>
                        <p:cNvPr id="55" name="Straight Connector 300">
                          <a:extLst>
                            <a:ext uri="{FF2B5EF4-FFF2-40B4-BE49-F238E27FC236}">
                              <a16:creationId xmlns:a16="http://schemas.microsoft.com/office/drawing/2014/main" xmlns="" id="{EB10244D-2BBE-8FE4-4D42-CDC34B6D5E39}"/>
                            </a:ext>
                          </a:extLst>
                        </p:cNvPr>
                        <p:cNvCxnSpPr/>
                        <p:nvPr/>
                      </p:nvCxnSpPr>
                      <p:spPr>
                        <a:xfrm rot="5400000">
                          <a:off x="5673734" y="5128836"/>
                          <a:ext cx="82296" cy="0"/>
                        </a:xfrm>
                        <a:prstGeom prst="line">
                          <a:avLst/>
                        </a:prstGeom>
                        <a:noFill/>
                        <a:ln w="19050" cap="flat" cmpd="sng" algn="ctr">
                          <a:solidFill>
                            <a:srgbClr val="9DB0AC"/>
                          </a:solidFill>
                          <a:prstDash val="solid"/>
                          <a:headEnd type="none" w="med" len="med"/>
                          <a:tailEnd type="none" w="med" len="med"/>
                        </a:ln>
                        <a:effectLst/>
                      </p:spPr>
                    </p:cxnSp>
                    <p:cxnSp>
                      <p:nvCxnSpPr>
                        <p:cNvPr id="56" name="Straight Connector 301">
                          <a:extLst>
                            <a:ext uri="{FF2B5EF4-FFF2-40B4-BE49-F238E27FC236}">
                              <a16:creationId xmlns:a16="http://schemas.microsoft.com/office/drawing/2014/main" xmlns="" id="{1CFAD2D2-FC53-08AE-7AED-2D51D3127244}"/>
                            </a:ext>
                          </a:extLst>
                        </p:cNvPr>
                        <p:cNvCxnSpPr/>
                        <p:nvPr/>
                      </p:nvCxnSpPr>
                      <p:spPr>
                        <a:xfrm rot="5400000">
                          <a:off x="4688107" y="5128836"/>
                          <a:ext cx="82296" cy="0"/>
                        </a:xfrm>
                        <a:prstGeom prst="line">
                          <a:avLst/>
                        </a:prstGeom>
                        <a:noFill/>
                        <a:ln w="19050" cap="flat" cmpd="sng" algn="ctr">
                          <a:solidFill>
                            <a:srgbClr val="9DB0AC"/>
                          </a:solidFill>
                          <a:prstDash val="solid"/>
                          <a:headEnd type="none" w="med" len="med"/>
                          <a:tailEnd type="none" w="med" len="med"/>
                        </a:ln>
                        <a:effectLst/>
                      </p:spPr>
                    </p:cxnSp>
                    <p:cxnSp>
                      <p:nvCxnSpPr>
                        <p:cNvPr id="57" name="Straight Connector 302">
                          <a:extLst>
                            <a:ext uri="{FF2B5EF4-FFF2-40B4-BE49-F238E27FC236}">
                              <a16:creationId xmlns:a16="http://schemas.microsoft.com/office/drawing/2014/main" xmlns="" id="{37A3623C-A1AB-0326-E8A6-9920BC3EC21E}"/>
                            </a:ext>
                          </a:extLst>
                        </p:cNvPr>
                        <p:cNvCxnSpPr/>
                        <p:nvPr/>
                      </p:nvCxnSpPr>
                      <p:spPr>
                        <a:xfrm rot="5400000">
                          <a:off x="3701318" y="5128836"/>
                          <a:ext cx="82296" cy="0"/>
                        </a:xfrm>
                        <a:prstGeom prst="line">
                          <a:avLst/>
                        </a:prstGeom>
                        <a:noFill/>
                        <a:ln w="19050" cap="flat" cmpd="sng" algn="ctr">
                          <a:solidFill>
                            <a:srgbClr val="9DB0AC"/>
                          </a:solidFill>
                          <a:prstDash val="solid"/>
                          <a:headEnd type="none" w="med" len="med"/>
                          <a:tailEnd type="none" w="med" len="med"/>
                        </a:ln>
                        <a:effectLst/>
                      </p:spPr>
                    </p:cxnSp>
                    <p:cxnSp>
                      <p:nvCxnSpPr>
                        <p:cNvPr id="58" name="Straight Connector 303">
                          <a:extLst>
                            <a:ext uri="{FF2B5EF4-FFF2-40B4-BE49-F238E27FC236}">
                              <a16:creationId xmlns:a16="http://schemas.microsoft.com/office/drawing/2014/main" xmlns="" id="{0EB04803-03CF-CCCD-78D1-5AA15616E85C}"/>
                            </a:ext>
                          </a:extLst>
                        </p:cNvPr>
                        <p:cNvCxnSpPr/>
                        <p:nvPr/>
                      </p:nvCxnSpPr>
                      <p:spPr>
                        <a:xfrm rot="5400000">
                          <a:off x="2720360" y="5128836"/>
                          <a:ext cx="82296" cy="0"/>
                        </a:xfrm>
                        <a:prstGeom prst="line">
                          <a:avLst/>
                        </a:prstGeom>
                        <a:noFill/>
                        <a:ln w="19050" cap="flat" cmpd="sng" algn="ctr">
                          <a:solidFill>
                            <a:srgbClr val="9DB0AC"/>
                          </a:solidFill>
                          <a:prstDash val="solid"/>
                          <a:headEnd type="none" w="med" len="med"/>
                          <a:tailEnd type="none" w="med" len="med"/>
                        </a:ln>
                        <a:effectLst/>
                      </p:spPr>
                    </p:cxnSp>
                    <p:cxnSp>
                      <p:nvCxnSpPr>
                        <p:cNvPr id="59" name="Straight Connector 304">
                          <a:extLst>
                            <a:ext uri="{FF2B5EF4-FFF2-40B4-BE49-F238E27FC236}">
                              <a16:creationId xmlns:a16="http://schemas.microsoft.com/office/drawing/2014/main" xmlns="" id="{7012FD54-2A27-9AAC-EC03-8553DE834A0B}"/>
                            </a:ext>
                          </a:extLst>
                        </p:cNvPr>
                        <p:cNvCxnSpPr/>
                        <p:nvPr/>
                      </p:nvCxnSpPr>
                      <p:spPr>
                        <a:xfrm rot="5400000">
                          <a:off x="1711969" y="5128836"/>
                          <a:ext cx="82296" cy="0"/>
                        </a:xfrm>
                        <a:prstGeom prst="line">
                          <a:avLst/>
                        </a:prstGeom>
                        <a:noFill/>
                        <a:ln w="19050" cap="flat" cmpd="sng" algn="ctr">
                          <a:solidFill>
                            <a:srgbClr val="9DB0AC"/>
                          </a:solidFill>
                          <a:prstDash val="solid"/>
                          <a:headEnd type="none" w="med" len="med"/>
                          <a:tailEnd type="none" w="med" len="med"/>
                        </a:ln>
                        <a:effectLst/>
                      </p:spPr>
                    </p:cxnSp>
                    <p:cxnSp>
                      <p:nvCxnSpPr>
                        <p:cNvPr id="60" name="Straight Connector 305">
                          <a:extLst>
                            <a:ext uri="{FF2B5EF4-FFF2-40B4-BE49-F238E27FC236}">
                              <a16:creationId xmlns:a16="http://schemas.microsoft.com/office/drawing/2014/main" xmlns="" id="{852DEAD3-2018-73C9-A2D4-68F0E9248535}"/>
                            </a:ext>
                          </a:extLst>
                        </p:cNvPr>
                        <p:cNvCxnSpPr/>
                        <p:nvPr/>
                      </p:nvCxnSpPr>
                      <p:spPr>
                        <a:xfrm rot="5400000">
                          <a:off x="6656714" y="5128836"/>
                          <a:ext cx="82296" cy="0"/>
                        </a:xfrm>
                        <a:prstGeom prst="line">
                          <a:avLst/>
                        </a:prstGeom>
                        <a:noFill/>
                        <a:ln w="19050" cap="flat" cmpd="sng" algn="ctr">
                          <a:solidFill>
                            <a:srgbClr val="9DB0AC"/>
                          </a:solidFill>
                          <a:prstDash val="solid"/>
                          <a:headEnd type="none" w="med" len="med"/>
                          <a:tailEnd type="none" w="med" len="med"/>
                        </a:ln>
                        <a:effectLst/>
                      </p:spPr>
                    </p:cxnSp>
                  </p:grpSp>
                  <p:sp>
                    <p:nvSpPr>
                      <p:cNvPr id="34" name="TextBox 33">
                        <a:extLst>
                          <a:ext uri="{FF2B5EF4-FFF2-40B4-BE49-F238E27FC236}">
                            <a16:creationId xmlns:a16="http://schemas.microsoft.com/office/drawing/2014/main" xmlns="" id="{B3EA69DC-C564-EF99-6137-D7AD67E832B1}"/>
                          </a:ext>
                        </a:extLst>
                      </p:cNvPr>
                      <p:cNvSpPr txBox="1"/>
                      <p:nvPr/>
                    </p:nvSpPr>
                    <p:spPr>
                      <a:xfrm rot="16200000">
                        <a:off x="-1748864" y="2538808"/>
                        <a:ext cx="4593171" cy="559768"/>
                      </a:xfrm>
                      <a:prstGeom prst="rect">
                        <a:avLst/>
                      </a:prstGeom>
                      <a:noFill/>
                    </p:spPr>
                    <p:txBody>
                      <a:bodyPr wrap="square" rtlCol="0">
                        <a:spAutoFit/>
                      </a:bodyPr>
                      <a:lstStyle/>
                      <a:p>
                        <a:pPr algn="ctr" defTabSz="685800">
                          <a:defRPr/>
                        </a:pPr>
                        <a:r>
                          <a:rPr lang="ru-RU" sz="900" b="1" kern="0" dirty="0">
                            <a:solidFill>
                              <a:srgbClr val="000000"/>
                            </a:solidFill>
                          </a:rPr>
                          <a:t>О</a:t>
                        </a:r>
                        <a:r>
                          <a:rPr lang="ru" sz="900" b="1" kern="0" dirty="0">
                            <a:solidFill>
                              <a:srgbClr val="000000"/>
                            </a:solidFill>
                          </a:rPr>
                          <a:t>бщая  выживаемость</a:t>
                        </a:r>
                      </a:p>
                    </p:txBody>
                  </p:sp>
                  <p:sp>
                    <p:nvSpPr>
                      <p:cNvPr id="35" name="TextBox 34">
                        <a:extLst>
                          <a:ext uri="{FF2B5EF4-FFF2-40B4-BE49-F238E27FC236}">
                            <a16:creationId xmlns:a16="http://schemas.microsoft.com/office/drawing/2014/main" xmlns="" id="{DE6F6C7E-30C1-A2E0-F8CB-C4637BBF713B}"/>
                          </a:ext>
                        </a:extLst>
                      </p:cNvPr>
                      <p:cNvSpPr txBox="1"/>
                      <p:nvPr/>
                    </p:nvSpPr>
                    <p:spPr>
                      <a:xfrm>
                        <a:off x="1747023" y="5474090"/>
                        <a:ext cx="5790478" cy="569350"/>
                      </a:xfrm>
                      <a:prstGeom prst="rect">
                        <a:avLst/>
                      </a:prstGeom>
                      <a:noFill/>
                    </p:spPr>
                    <p:txBody>
                      <a:bodyPr wrap="square" rtlCol="0">
                        <a:spAutoFit/>
                      </a:bodyPr>
                      <a:lstStyle/>
                      <a:p>
                        <a:pPr algn="ctr" defTabSz="685800">
                          <a:defRPr/>
                        </a:pPr>
                        <a:r>
                          <a:rPr lang="ru" sz="900" b="1" kern="0" dirty="0">
                            <a:solidFill>
                              <a:srgbClr val="000000"/>
                            </a:solidFill>
                          </a:rPr>
                          <a:t>годы</a:t>
                        </a:r>
                      </a:p>
                    </p:txBody>
                  </p:sp>
                  <p:sp>
                    <p:nvSpPr>
                      <p:cNvPr id="36" name="TextBox 35">
                        <a:extLst>
                          <a:ext uri="{FF2B5EF4-FFF2-40B4-BE49-F238E27FC236}">
                            <a16:creationId xmlns:a16="http://schemas.microsoft.com/office/drawing/2014/main" xmlns="" id="{A650250B-257B-B326-C0BC-AD35EDF07B6F}"/>
                          </a:ext>
                        </a:extLst>
                      </p:cNvPr>
                      <p:cNvSpPr txBox="1"/>
                      <p:nvPr/>
                    </p:nvSpPr>
                    <p:spPr>
                      <a:xfrm>
                        <a:off x="956211" y="569579"/>
                        <a:ext cx="809749" cy="910962"/>
                      </a:xfrm>
                      <a:prstGeom prst="rect">
                        <a:avLst/>
                      </a:prstGeom>
                      <a:noFill/>
                    </p:spPr>
                    <p:txBody>
                      <a:bodyPr wrap="square" rtlCol="0">
                        <a:spAutoFit/>
                      </a:bodyPr>
                      <a:lstStyle/>
                      <a:p>
                        <a:pPr algn="r" defTabSz="685800">
                          <a:defRPr/>
                        </a:pPr>
                        <a:r>
                          <a:rPr lang="ru" sz="900" kern="0">
                            <a:solidFill>
                              <a:srgbClr val="000000"/>
                            </a:solidFill>
                          </a:rPr>
                          <a:t>1,0</a:t>
                        </a:r>
                      </a:p>
                    </p:txBody>
                  </p:sp>
                  <p:sp>
                    <p:nvSpPr>
                      <p:cNvPr id="37" name="TextBox 36">
                        <a:extLst>
                          <a:ext uri="{FF2B5EF4-FFF2-40B4-BE49-F238E27FC236}">
                            <a16:creationId xmlns:a16="http://schemas.microsoft.com/office/drawing/2014/main" xmlns="" id="{4764BD26-530A-B696-1C69-0F77960C02ED}"/>
                          </a:ext>
                        </a:extLst>
                      </p:cNvPr>
                      <p:cNvSpPr txBox="1"/>
                      <p:nvPr/>
                    </p:nvSpPr>
                    <p:spPr>
                      <a:xfrm>
                        <a:off x="956211" y="1412860"/>
                        <a:ext cx="809749" cy="910962"/>
                      </a:xfrm>
                      <a:prstGeom prst="rect">
                        <a:avLst/>
                      </a:prstGeom>
                      <a:noFill/>
                    </p:spPr>
                    <p:txBody>
                      <a:bodyPr wrap="square" rtlCol="0">
                        <a:spAutoFit/>
                      </a:bodyPr>
                      <a:lstStyle/>
                      <a:p>
                        <a:pPr algn="r" defTabSz="685800">
                          <a:defRPr/>
                        </a:pPr>
                        <a:r>
                          <a:rPr lang="ru" sz="900" kern="0">
                            <a:solidFill>
                              <a:srgbClr val="000000"/>
                            </a:solidFill>
                          </a:rPr>
                          <a:t>0,8</a:t>
                        </a:r>
                      </a:p>
                    </p:txBody>
                  </p:sp>
                  <p:sp>
                    <p:nvSpPr>
                      <p:cNvPr id="38" name="TextBox 37">
                        <a:extLst>
                          <a:ext uri="{FF2B5EF4-FFF2-40B4-BE49-F238E27FC236}">
                            <a16:creationId xmlns:a16="http://schemas.microsoft.com/office/drawing/2014/main" xmlns="" id="{B8630AB2-4CB7-F2BD-5F4A-A7B21EFA99E1}"/>
                          </a:ext>
                        </a:extLst>
                      </p:cNvPr>
                      <p:cNvSpPr txBox="1"/>
                      <p:nvPr/>
                    </p:nvSpPr>
                    <p:spPr>
                      <a:xfrm>
                        <a:off x="956211" y="2256141"/>
                        <a:ext cx="809749" cy="910962"/>
                      </a:xfrm>
                      <a:prstGeom prst="rect">
                        <a:avLst/>
                      </a:prstGeom>
                      <a:noFill/>
                    </p:spPr>
                    <p:txBody>
                      <a:bodyPr wrap="square" rtlCol="0">
                        <a:spAutoFit/>
                      </a:bodyPr>
                      <a:lstStyle/>
                      <a:p>
                        <a:pPr algn="r" defTabSz="685800">
                          <a:defRPr/>
                        </a:pPr>
                        <a:r>
                          <a:rPr lang="ru" sz="900" kern="0" dirty="0">
                            <a:solidFill>
                              <a:srgbClr val="000000"/>
                            </a:solidFill>
                          </a:rPr>
                          <a:t>0,6</a:t>
                        </a:r>
                      </a:p>
                    </p:txBody>
                  </p:sp>
                  <p:sp>
                    <p:nvSpPr>
                      <p:cNvPr id="39" name="TextBox 38">
                        <a:extLst>
                          <a:ext uri="{FF2B5EF4-FFF2-40B4-BE49-F238E27FC236}">
                            <a16:creationId xmlns:a16="http://schemas.microsoft.com/office/drawing/2014/main" xmlns="" id="{C7A64470-1C93-12EF-1D00-101D7C156461}"/>
                          </a:ext>
                        </a:extLst>
                      </p:cNvPr>
                      <p:cNvSpPr txBox="1"/>
                      <p:nvPr/>
                    </p:nvSpPr>
                    <p:spPr>
                      <a:xfrm>
                        <a:off x="956211" y="3099420"/>
                        <a:ext cx="809749" cy="910962"/>
                      </a:xfrm>
                      <a:prstGeom prst="rect">
                        <a:avLst/>
                      </a:prstGeom>
                      <a:noFill/>
                    </p:spPr>
                    <p:txBody>
                      <a:bodyPr wrap="square" rtlCol="0">
                        <a:spAutoFit/>
                      </a:bodyPr>
                      <a:lstStyle/>
                      <a:p>
                        <a:pPr algn="r" defTabSz="685800">
                          <a:defRPr/>
                        </a:pPr>
                        <a:r>
                          <a:rPr lang="ru" sz="900" kern="0">
                            <a:solidFill>
                              <a:srgbClr val="000000"/>
                            </a:solidFill>
                          </a:rPr>
                          <a:t>0,4</a:t>
                        </a:r>
                      </a:p>
                    </p:txBody>
                  </p:sp>
                  <p:sp>
                    <p:nvSpPr>
                      <p:cNvPr id="40" name="TextBox 39">
                        <a:extLst>
                          <a:ext uri="{FF2B5EF4-FFF2-40B4-BE49-F238E27FC236}">
                            <a16:creationId xmlns:a16="http://schemas.microsoft.com/office/drawing/2014/main" xmlns="" id="{0F107C5F-BB3F-16FC-B7D8-F94E3ED40E66}"/>
                          </a:ext>
                        </a:extLst>
                      </p:cNvPr>
                      <p:cNvSpPr txBox="1"/>
                      <p:nvPr/>
                    </p:nvSpPr>
                    <p:spPr>
                      <a:xfrm>
                        <a:off x="956211" y="3952860"/>
                        <a:ext cx="809749" cy="910962"/>
                      </a:xfrm>
                      <a:prstGeom prst="rect">
                        <a:avLst/>
                      </a:prstGeom>
                      <a:noFill/>
                    </p:spPr>
                    <p:txBody>
                      <a:bodyPr wrap="square" rtlCol="0">
                        <a:spAutoFit/>
                      </a:bodyPr>
                      <a:lstStyle/>
                      <a:p>
                        <a:pPr algn="r" defTabSz="685800">
                          <a:defRPr/>
                        </a:pPr>
                        <a:r>
                          <a:rPr lang="ru" sz="900" kern="0">
                            <a:solidFill>
                              <a:srgbClr val="000000"/>
                            </a:solidFill>
                          </a:rPr>
                          <a:t>0,2</a:t>
                        </a:r>
                      </a:p>
                    </p:txBody>
                  </p:sp>
                  <p:sp>
                    <p:nvSpPr>
                      <p:cNvPr id="41" name="TextBox 40">
                        <a:extLst>
                          <a:ext uri="{FF2B5EF4-FFF2-40B4-BE49-F238E27FC236}">
                            <a16:creationId xmlns:a16="http://schemas.microsoft.com/office/drawing/2014/main" xmlns="" id="{66E87697-6F99-40D8-46DF-EC8913621A9E}"/>
                          </a:ext>
                        </a:extLst>
                      </p:cNvPr>
                      <p:cNvSpPr txBox="1"/>
                      <p:nvPr/>
                    </p:nvSpPr>
                    <p:spPr>
                      <a:xfrm>
                        <a:off x="956211" y="4800204"/>
                        <a:ext cx="809749" cy="910962"/>
                      </a:xfrm>
                      <a:prstGeom prst="rect">
                        <a:avLst/>
                      </a:prstGeom>
                      <a:noFill/>
                    </p:spPr>
                    <p:txBody>
                      <a:bodyPr wrap="square" rtlCol="0">
                        <a:spAutoFit/>
                      </a:bodyPr>
                      <a:lstStyle/>
                      <a:p>
                        <a:pPr algn="r" defTabSz="685800">
                          <a:defRPr/>
                        </a:pPr>
                        <a:r>
                          <a:rPr lang="ru" sz="900" kern="0">
                            <a:solidFill>
                              <a:srgbClr val="000000"/>
                            </a:solidFill>
                          </a:rPr>
                          <a:t>0,0</a:t>
                        </a:r>
                      </a:p>
                    </p:txBody>
                  </p:sp>
                  <p:sp>
                    <p:nvSpPr>
                      <p:cNvPr id="42" name="TextBox 41">
                        <a:extLst>
                          <a:ext uri="{FF2B5EF4-FFF2-40B4-BE49-F238E27FC236}">
                            <a16:creationId xmlns:a16="http://schemas.microsoft.com/office/drawing/2014/main" xmlns="" id="{2DCD299C-1D7D-A056-77CF-EE8B4E740BFA}"/>
                          </a:ext>
                        </a:extLst>
                      </p:cNvPr>
                      <p:cNvSpPr txBox="1"/>
                      <p:nvPr/>
                    </p:nvSpPr>
                    <p:spPr>
                      <a:xfrm>
                        <a:off x="1324852" y="5143286"/>
                        <a:ext cx="1020200" cy="569350"/>
                      </a:xfrm>
                      <a:prstGeom prst="rect">
                        <a:avLst/>
                      </a:prstGeom>
                      <a:noFill/>
                    </p:spPr>
                    <p:txBody>
                      <a:bodyPr wrap="square" rtlCol="0">
                        <a:spAutoFit/>
                      </a:bodyPr>
                      <a:lstStyle/>
                      <a:p>
                        <a:pPr algn="ctr" defTabSz="685800">
                          <a:defRPr/>
                        </a:pPr>
                        <a:r>
                          <a:rPr lang="ru" sz="900" kern="0" dirty="0">
                            <a:solidFill>
                              <a:srgbClr val="000000"/>
                            </a:solidFill>
                          </a:rPr>
                          <a:t>0,00</a:t>
                        </a:r>
                      </a:p>
                    </p:txBody>
                  </p:sp>
                  <p:sp>
                    <p:nvSpPr>
                      <p:cNvPr id="43" name="TextBox 42">
                        <a:extLst>
                          <a:ext uri="{FF2B5EF4-FFF2-40B4-BE49-F238E27FC236}">
                            <a16:creationId xmlns:a16="http://schemas.microsoft.com/office/drawing/2014/main" xmlns="" id="{28210465-4A3C-AF0C-C767-887C7D63E399}"/>
                          </a:ext>
                        </a:extLst>
                      </p:cNvPr>
                      <p:cNvSpPr txBox="1"/>
                      <p:nvPr/>
                    </p:nvSpPr>
                    <p:spPr>
                      <a:xfrm>
                        <a:off x="2223438" y="5135287"/>
                        <a:ext cx="1102575" cy="569350"/>
                      </a:xfrm>
                      <a:prstGeom prst="rect">
                        <a:avLst/>
                      </a:prstGeom>
                      <a:noFill/>
                    </p:spPr>
                    <p:txBody>
                      <a:bodyPr wrap="square" rtlCol="0">
                        <a:spAutoFit/>
                      </a:bodyPr>
                      <a:lstStyle/>
                      <a:p>
                        <a:pPr algn="ctr" defTabSz="685800">
                          <a:defRPr/>
                        </a:pPr>
                        <a:r>
                          <a:rPr lang="ru" sz="900" kern="0">
                            <a:solidFill>
                              <a:srgbClr val="000000"/>
                            </a:solidFill>
                          </a:rPr>
                          <a:t>2,50</a:t>
                        </a:r>
                      </a:p>
                    </p:txBody>
                  </p:sp>
                  <p:sp>
                    <p:nvSpPr>
                      <p:cNvPr id="44" name="TextBox 43">
                        <a:extLst>
                          <a:ext uri="{FF2B5EF4-FFF2-40B4-BE49-F238E27FC236}">
                            <a16:creationId xmlns:a16="http://schemas.microsoft.com/office/drawing/2014/main" xmlns="" id="{80B8DBAA-889B-8919-5AD5-BF85649ECBF7}"/>
                          </a:ext>
                        </a:extLst>
                      </p:cNvPr>
                      <p:cNvSpPr txBox="1"/>
                      <p:nvPr/>
                    </p:nvSpPr>
                    <p:spPr>
                      <a:xfrm>
                        <a:off x="3191178" y="5139579"/>
                        <a:ext cx="1102575" cy="569350"/>
                      </a:xfrm>
                      <a:prstGeom prst="rect">
                        <a:avLst/>
                      </a:prstGeom>
                      <a:noFill/>
                    </p:spPr>
                    <p:txBody>
                      <a:bodyPr wrap="square" rtlCol="0">
                        <a:spAutoFit/>
                      </a:bodyPr>
                      <a:lstStyle/>
                      <a:p>
                        <a:pPr algn="ctr" defTabSz="685800">
                          <a:defRPr/>
                        </a:pPr>
                        <a:r>
                          <a:rPr lang="ru" sz="900" kern="0">
                            <a:solidFill>
                              <a:srgbClr val="000000"/>
                            </a:solidFill>
                          </a:rPr>
                          <a:t>5,00</a:t>
                        </a:r>
                      </a:p>
                    </p:txBody>
                  </p:sp>
                  <p:sp>
                    <p:nvSpPr>
                      <p:cNvPr id="45" name="TextBox 44">
                        <a:extLst>
                          <a:ext uri="{FF2B5EF4-FFF2-40B4-BE49-F238E27FC236}">
                            <a16:creationId xmlns:a16="http://schemas.microsoft.com/office/drawing/2014/main" xmlns="" id="{DDD6C006-D1CD-12CF-FE19-B21A5610D0CA}"/>
                          </a:ext>
                        </a:extLst>
                      </p:cNvPr>
                      <p:cNvSpPr txBox="1"/>
                      <p:nvPr/>
                    </p:nvSpPr>
                    <p:spPr>
                      <a:xfrm>
                        <a:off x="4201028" y="5130667"/>
                        <a:ext cx="1102575" cy="569350"/>
                      </a:xfrm>
                      <a:prstGeom prst="rect">
                        <a:avLst/>
                      </a:prstGeom>
                      <a:noFill/>
                    </p:spPr>
                    <p:txBody>
                      <a:bodyPr wrap="square" rtlCol="0">
                        <a:spAutoFit/>
                      </a:bodyPr>
                      <a:lstStyle/>
                      <a:p>
                        <a:pPr algn="ctr" defTabSz="685800">
                          <a:defRPr/>
                        </a:pPr>
                        <a:r>
                          <a:rPr lang="ru" sz="900" kern="0">
                            <a:solidFill>
                              <a:srgbClr val="000000"/>
                            </a:solidFill>
                          </a:rPr>
                          <a:t>7,50</a:t>
                        </a:r>
                      </a:p>
                    </p:txBody>
                  </p:sp>
                  <p:sp>
                    <p:nvSpPr>
                      <p:cNvPr id="46" name="TextBox 45">
                        <a:extLst>
                          <a:ext uri="{FF2B5EF4-FFF2-40B4-BE49-F238E27FC236}">
                            <a16:creationId xmlns:a16="http://schemas.microsoft.com/office/drawing/2014/main" xmlns="" id="{C20D90BB-D24C-07CA-EFD9-52E1419D90A6}"/>
                          </a:ext>
                        </a:extLst>
                      </p:cNvPr>
                      <p:cNvSpPr txBox="1"/>
                      <p:nvPr/>
                    </p:nvSpPr>
                    <p:spPr>
                      <a:xfrm>
                        <a:off x="5057143" y="5129614"/>
                        <a:ext cx="1302334" cy="569350"/>
                      </a:xfrm>
                      <a:prstGeom prst="rect">
                        <a:avLst/>
                      </a:prstGeom>
                      <a:noFill/>
                    </p:spPr>
                    <p:txBody>
                      <a:bodyPr wrap="square" rtlCol="0">
                        <a:spAutoFit/>
                      </a:bodyPr>
                      <a:lstStyle/>
                      <a:p>
                        <a:pPr algn="ctr" defTabSz="685800">
                          <a:defRPr/>
                        </a:pPr>
                        <a:r>
                          <a:rPr lang="ru" sz="900" kern="0">
                            <a:solidFill>
                              <a:srgbClr val="000000"/>
                            </a:solidFill>
                          </a:rPr>
                          <a:t>10,00</a:t>
                        </a:r>
                      </a:p>
                    </p:txBody>
                  </p:sp>
                  <p:sp>
                    <p:nvSpPr>
                      <p:cNvPr id="47" name="TextBox 46">
                        <a:extLst>
                          <a:ext uri="{FF2B5EF4-FFF2-40B4-BE49-F238E27FC236}">
                            <a16:creationId xmlns:a16="http://schemas.microsoft.com/office/drawing/2014/main" xmlns="" id="{F86D9EAB-93AA-B2DB-1E54-A147D2C0C626}"/>
                          </a:ext>
                        </a:extLst>
                      </p:cNvPr>
                      <p:cNvSpPr txBox="1"/>
                      <p:nvPr/>
                    </p:nvSpPr>
                    <p:spPr>
                      <a:xfrm>
                        <a:off x="6042767" y="5129614"/>
                        <a:ext cx="1302334" cy="569350"/>
                      </a:xfrm>
                      <a:prstGeom prst="rect">
                        <a:avLst/>
                      </a:prstGeom>
                      <a:noFill/>
                    </p:spPr>
                    <p:txBody>
                      <a:bodyPr wrap="square" rtlCol="0">
                        <a:spAutoFit/>
                      </a:bodyPr>
                      <a:lstStyle/>
                      <a:p>
                        <a:pPr algn="ctr" defTabSz="685800">
                          <a:defRPr/>
                        </a:pPr>
                        <a:r>
                          <a:rPr lang="ru" sz="900" kern="0">
                            <a:solidFill>
                              <a:srgbClr val="000000"/>
                            </a:solidFill>
                          </a:rPr>
                          <a:t>12,50</a:t>
                        </a:r>
                      </a:p>
                    </p:txBody>
                  </p:sp>
                </p:grpSp>
                <p:cxnSp>
                  <p:nvCxnSpPr>
                    <p:cNvPr id="30" name="Straight Connector 275">
                      <a:extLst>
                        <a:ext uri="{FF2B5EF4-FFF2-40B4-BE49-F238E27FC236}">
                          <a16:creationId xmlns:a16="http://schemas.microsoft.com/office/drawing/2014/main" xmlns="" id="{3E220C36-7DAC-C89F-C797-94A4DE2841D6}"/>
                        </a:ext>
                      </a:extLst>
                    </p:cNvPr>
                    <p:cNvCxnSpPr/>
                    <p:nvPr/>
                  </p:nvCxnSpPr>
                  <p:spPr>
                    <a:xfrm>
                      <a:off x="3320021" y="1277863"/>
                      <a:ext cx="236446" cy="0"/>
                    </a:xfrm>
                    <a:prstGeom prst="line">
                      <a:avLst/>
                    </a:prstGeom>
                    <a:noFill/>
                    <a:ln w="28575" cap="flat" cmpd="sng" algn="ctr">
                      <a:solidFill>
                        <a:srgbClr val="003865">
                          <a:lumMod val="75000"/>
                          <a:lumOff val="25000"/>
                        </a:srgbClr>
                      </a:solidFill>
                      <a:prstDash val="solid"/>
                      <a:headEnd type="none" w="med" len="med"/>
                      <a:tailEnd type="none" w="med" len="med"/>
                    </a:ln>
                    <a:effectLst/>
                  </p:spPr>
                </p:cxnSp>
                <p:cxnSp>
                  <p:nvCxnSpPr>
                    <p:cNvPr id="31" name="Straight Connector 276">
                      <a:extLst>
                        <a:ext uri="{FF2B5EF4-FFF2-40B4-BE49-F238E27FC236}">
                          <a16:creationId xmlns:a16="http://schemas.microsoft.com/office/drawing/2014/main" xmlns="" id="{2EA3E325-1AB0-B4B1-FC8B-6FE5919EA844}"/>
                        </a:ext>
                      </a:extLst>
                    </p:cNvPr>
                    <p:cNvCxnSpPr>
                      <a:cxnSpLocks/>
                    </p:cNvCxnSpPr>
                    <p:nvPr/>
                  </p:nvCxnSpPr>
                  <p:spPr>
                    <a:xfrm>
                      <a:off x="3320021" y="1947362"/>
                      <a:ext cx="236446" cy="0"/>
                    </a:xfrm>
                    <a:prstGeom prst="line">
                      <a:avLst/>
                    </a:prstGeom>
                    <a:noFill/>
                    <a:ln w="28575" cap="flat" cmpd="sng" algn="ctr">
                      <a:solidFill>
                        <a:srgbClr val="C4D600"/>
                      </a:solidFill>
                      <a:prstDash val="solid"/>
                      <a:headEnd type="none" w="med" len="med"/>
                      <a:tailEnd type="none" w="med" len="med"/>
                    </a:ln>
                    <a:effectLst/>
                  </p:spPr>
                </p:cxnSp>
                <p:cxnSp>
                  <p:nvCxnSpPr>
                    <p:cNvPr id="32" name="Straight Connector 277">
                      <a:extLst>
                        <a:ext uri="{FF2B5EF4-FFF2-40B4-BE49-F238E27FC236}">
                          <a16:creationId xmlns:a16="http://schemas.microsoft.com/office/drawing/2014/main" xmlns="" id="{60E17B7E-FC52-5258-A970-EED9D671D9B9}"/>
                        </a:ext>
                      </a:extLst>
                    </p:cNvPr>
                    <p:cNvCxnSpPr>
                      <a:cxnSpLocks/>
                    </p:cNvCxnSpPr>
                    <p:nvPr/>
                  </p:nvCxnSpPr>
                  <p:spPr>
                    <a:xfrm>
                      <a:off x="3320021" y="2369354"/>
                      <a:ext cx="236446" cy="0"/>
                    </a:xfrm>
                    <a:prstGeom prst="line">
                      <a:avLst/>
                    </a:prstGeom>
                    <a:noFill/>
                    <a:ln w="28575" cap="flat" cmpd="sng" algn="ctr">
                      <a:solidFill>
                        <a:srgbClr val="FAE044"/>
                      </a:solidFill>
                      <a:prstDash val="solid"/>
                      <a:headEnd type="none" w="med" len="med"/>
                      <a:tailEnd type="none" w="med" len="med"/>
                    </a:ln>
                    <a:effectLst/>
                  </p:spPr>
                </p:cxnSp>
              </p:grpSp>
              <p:sp>
                <p:nvSpPr>
                  <p:cNvPr id="27" name="Freeform 16">
                    <a:extLst>
                      <a:ext uri="{FF2B5EF4-FFF2-40B4-BE49-F238E27FC236}">
                        <a16:creationId xmlns:a16="http://schemas.microsoft.com/office/drawing/2014/main" xmlns="" id="{4445B268-D313-E72E-BFE4-2B0E3FC4464E}"/>
                      </a:ext>
                    </a:extLst>
                  </p:cNvPr>
                  <p:cNvSpPr/>
                  <p:nvPr/>
                </p:nvSpPr>
                <p:spPr>
                  <a:xfrm>
                    <a:off x="1819656" y="853440"/>
                    <a:ext cx="1944624" cy="2999232"/>
                  </a:xfrm>
                  <a:custGeom>
                    <a:avLst/>
                    <a:gdLst>
                      <a:gd name="connsiteX0" fmla="*/ 0 w 1944624"/>
                      <a:gd name="connsiteY0" fmla="*/ 0 h 2999232"/>
                      <a:gd name="connsiteX1" fmla="*/ 0 w 1944624"/>
                      <a:gd name="connsiteY1" fmla="*/ 353568 h 2999232"/>
                      <a:gd name="connsiteX2" fmla="*/ 91440 w 1944624"/>
                      <a:gd name="connsiteY2" fmla="*/ 353568 h 2999232"/>
                      <a:gd name="connsiteX3" fmla="*/ 91440 w 1944624"/>
                      <a:gd name="connsiteY3" fmla="*/ 725424 h 2999232"/>
                      <a:gd name="connsiteX4" fmla="*/ 292608 w 1944624"/>
                      <a:gd name="connsiteY4" fmla="*/ 725424 h 2999232"/>
                      <a:gd name="connsiteX5" fmla="*/ 292608 w 1944624"/>
                      <a:gd name="connsiteY5" fmla="*/ 1078992 h 2999232"/>
                      <a:gd name="connsiteX6" fmla="*/ 292608 w 1944624"/>
                      <a:gd name="connsiteY6" fmla="*/ 1066800 h 2999232"/>
                      <a:gd name="connsiteX7" fmla="*/ 292608 w 1944624"/>
                      <a:gd name="connsiteY7" fmla="*/ 1414272 h 2999232"/>
                      <a:gd name="connsiteX8" fmla="*/ 292608 w 1944624"/>
                      <a:gd name="connsiteY8" fmla="*/ 1414272 h 2999232"/>
                      <a:gd name="connsiteX9" fmla="*/ 329184 w 1944624"/>
                      <a:gd name="connsiteY9" fmla="*/ 1414272 h 2999232"/>
                      <a:gd name="connsiteX10" fmla="*/ 329184 w 1944624"/>
                      <a:gd name="connsiteY10" fmla="*/ 1761744 h 2999232"/>
                      <a:gd name="connsiteX11" fmla="*/ 505968 w 1944624"/>
                      <a:gd name="connsiteY11" fmla="*/ 1761744 h 2999232"/>
                      <a:gd name="connsiteX12" fmla="*/ 505968 w 1944624"/>
                      <a:gd name="connsiteY12" fmla="*/ 2170176 h 2999232"/>
                      <a:gd name="connsiteX13" fmla="*/ 621792 w 1944624"/>
                      <a:gd name="connsiteY13" fmla="*/ 2170176 h 2999232"/>
                      <a:gd name="connsiteX14" fmla="*/ 621792 w 1944624"/>
                      <a:gd name="connsiteY14" fmla="*/ 2584704 h 2999232"/>
                      <a:gd name="connsiteX15" fmla="*/ 804672 w 1944624"/>
                      <a:gd name="connsiteY15" fmla="*/ 2584704 h 2999232"/>
                      <a:gd name="connsiteX16" fmla="*/ 804672 w 1944624"/>
                      <a:gd name="connsiteY16" fmla="*/ 2999232 h 2999232"/>
                      <a:gd name="connsiteX17" fmla="*/ 1944624 w 1944624"/>
                      <a:gd name="connsiteY17" fmla="*/ 2999232 h 2999232"/>
                      <a:gd name="connsiteX0" fmla="*/ 0 w 1944624"/>
                      <a:gd name="connsiteY0" fmla="*/ 0 h 2999232"/>
                      <a:gd name="connsiteX1" fmla="*/ 0 w 1944624"/>
                      <a:gd name="connsiteY1" fmla="*/ 353568 h 2999232"/>
                      <a:gd name="connsiteX2" fmla="*/ 91440 w 1944624"/>
                      <a:gd name="connsiteY2" fmla="*/ 353568 h 2999232"/>
                      <a:gd name="connsiteX3" fmla="*/ 91440 w 1944624"/>
                      <a:gd name="connsiteY3" fmla="*/ 725424 h 2999232"/>
                      <a:gd name="connsiteX4" fmla="*/ 292608 w 1944624"/>
                      <a:gd name="connsiteY4" fmla="*/ 725424 h 2999232"/>
                      <a:gd name="connsiteX5" fmla="*/ 292608 w 1944624"/>
                      <a:gd name="connsiteY5" fmla="*/ 1078992 h 2999232"/>
                      <a:gd name="connsiteX6" fmla="*/ 312928 w 1944624"/>
                      <a:gd name="connsiteY6" fmla="*/ 1132840 h 2999232"/>
                      <a:gd name="connsiteX7" fmla="*/ 292608 w 1944624"/>
                      <a:gd name="connsiteY7" fmla="*/ 1414272 h 2999232"/>
                      <a:gd name="connsiteX8" fmla="*/ 292608 w 1944624"/>
                      <a:gd name="connsiteY8" fmla="*/ 1414272 h 2999232"/>
                      <a:gd name="connsiteX9" fmla="*/ 329184 w 1944624"/>
                      <a:gd name="connsiteY9" fmla="*/ 1414272 h 2999232"/>
                      <a:gd name="connsiteX10" fmla="*/ 329184 w 1944624"/>
                      <a:gd name="connsiteY10" fmla="*/ 1761744 h 2999232"/>
                      <a:gd name="connsiteX11" fmla="*/ 505968 w 1944624"/>
                      <a:gd name="connsiteY11" fmla="*/ 1761744 h 2999232"/>
                      <a:gd name="connsiteX12" fmla="*/ 505968 w 1944624"/>
                      <a:gd name="connsiteY12" fmla="*/ 2170176 h 2999232"/>
                      <a:gd name="connsiteX13" fmla="*/ 621792 w 1944624"/>
                      <a:gd name="connsiteY13" fmla="*/ 2170176 h 2999232"/>
                      <a:gd name="connsiteX14" fmla="*/ 621792 w 1944624"/>
                      <a:gd name="connsiteY14" fmla="*/ 2584704 h 2999232"/>
                      <a:gd name="connsiteX15" fmla="*/ 804672 w 1944624"/>
                      <a:gd name="connsiteY15" fmla="*/ 2584704 h 2999232"/>
                      <a:gd name="connsiteX16" fmla="*/ 804672 w 1944624"/>
                      <a:gd name="connsiteY16" fmla="*/ 2999232 h 2999232"/>
                      <a:gd name="connsiteX17" fmla="*/ 1944624 w 1944624"/>
                      <a:gd name="connsiteY17" fmla="*/ 2999232 h 2999232"/>
                      <a:gd name="connsiteX0" fmla="*/ 0 w 1944624"/>
                      <a:gd name="connsiteY0" fmla="*/ 0 h 2999232"/>
                      <a:gd name="connsiteX1" fmla="*/ 0 w 1944624"/>
                      <a:gd name="connsiteY1" fmla="*/ 353568 h 2999232"/>
                      <a:gd name="connsiteX2" fmla="*/ 91440 w 1944624"/>
                      <a:gd name="connsiteY2" fmla="*/ 353568 h 2999232"/>
                      <a:gd name="connsiteX3" fmla="*/ 91440 w 1944624"/>
                      <a:gd name="connsiteY3" fmla="*/ 725424 h 2999232"/>
                      <a:gd name="connsiteX4" fmla="*/ 292608 w 1944624"/>
                      <a:gd name="connsiteY4" fmla="*/ 725424 h 2999232"/>
                      <a:gd name="connsiteX5" fmla="*/ 277368 w 1944624"/>
                      <a:gd name="connsiteY5" fmla="*/ 1053592 h 2999232"/>
                      <a:gd name="connsiteX6" fmla="*/ 312928 w 1944624"/>
                      <a:gd name="connsiteY6" fmla="*/ 1132840 h 2999232"/>
                      <a:gd name="connsiteX7" fmla="*/ 292608 w 1944624"/>
                      <a:gd name="connsiteY7" fmla="*/ 1414272 h 2999232"/>
                      <a:gd name="connsiteX8" fmla="*/ 292608 w 1944624"/>
                      <a:gd name="connsiteY8" fmla="*/ 1414272 h 2999232"/>
                      <a:gd name="connsiteX9" fmla="*/ 329184 w 1944624"/>
                      <a:gd name="connsiteY9" fmla="*/ 1414272 h 2999232"/>
                      <a:gd name="connsiteX10" fmla="*/ 329184 w 1944624"/>
                      <a:gd name="connsiteY10" fmla="*/ 1761744 h 2999232"/>
                      <a:gd name="connsiteX11" fmla="*/ 505968 w 1944624"/>
                      <a:gd name="connsiteY11" fmla="*/ 1761744 h 2999232"/>
                      <a:gd name="connsiteX12" fmla="*/ 505968 w 1944624"/>
                      <a:gd name="connsiteY12" fmla="*/ 2170176 h 2999232"/>
                      <a:gd name="connsiteX13" fmla="*/ 621792 w 1944624"/>
                      <a:gd name="connsiteY13" fmla="*/ 2170176 h 2999232"/>
                      <a:gd name="connsiteX14" fmla="*/ 621792 w 1944624"/>
                      <a:gd name="connsiteY14" fmla="*/ 2584704 h 2999232"/>
                      <a:gd name="connsiteX15" fmla="*/ 804672 w 1944624"/>
                      <a:gd name="connsiteY15" fmla="*/ 2584704 h 2999232"/>
                      <a:gd name="connsiteX16" fmla="*/ 804672 w 1944624"/>
                      <a:gd name="connsiteY16" fmla="*/ 2999232 h 2999232"/>
                      <a:gd name="connsiteX17" fmla="*/ 1944624 w 1944624"/>
                      <a:gd name="connsiteY17" fmla="*/ 2999232 h 2999232"/>
                      <a:gd name="connsiteX0" fmla="*/ 0 w 1944624"/>
                      <a:gd name="connsiteY0" fmla="*/ 0 h 2999232"/>
                      <a:gd name="connsiteX1" fmla="*/ 0 w 1944624"/>
                      <a:gd name="connsiteY1" fmla="*/ 353568 h 2999232"/>
                      <a:gd name="connsiteX2" fmla="*/ 91440 w 1944624"/>
                      <a:gd name="connsiteY2" fmla="*/ 353568 h 2999232"/>
                      <a:gd name="connsiteX3" fmla="*/ 91440 w 1944624"/>
                      <a:gd name="connsiteY3" fmla="*/ 725424 h 2999232"/>
                      <a:gd name="connsiteX4" fmla="*/ 282448 w 1944624"/>
                      <a:gd name="connsiteY4" fmla="*/ 725424 h 2999232"/>
                      <a:gd name="connsiteX5" fmla="*/ 277368 w 1944624"/>
                      <a:gd name="connsiteY5" fmla="*/ 1053592 h 2999232"/>
                      <a:gd name="connsiteX6" fmla="*/ 312928 w 1944624"/>
                      <a:gd name="connsiteY6" fmla="*/ 1132840 h 2999232"/>
                      <a:gd name="connsiteX7" fmla="*/ 292608 w 1944624"/>
                      <a:gd name="connsiteY7" fmla="*/ 1414272 h 2999232"/>
                      <a:gd name="connsiteX8" fmla="*/ 292608 w 1944624"/>
                      <a:gd name="connsiteY8" fmla="*/ 1414272 h 2999232"/>
                      <a:gd name="connsiteX9" fmla="*/ 329184 w 1944624"/>
                      <a:gd name="connsiteY9" fmla="*/ 1414272 h 2999232"/>
                      <a:gd name="connsiteX10" fmla="*/ 329184 w 1944624"/>
                      <a:gd name="connsiteY10" fmla="*/ 1761744 h 2999232"/>
                      <a:gd name="connsiteX11" fmla="*/ 505968 w 1944624"/>
                      <a:gd name="connsiteY11" fmla="*/ 1761744 h 2999232"/>
                      <a:gd name="connsiteX12" fmla="*/ 505968 w 1944624"/>
                      <a:gd name="connsiteY12" fmla="*/ 2170176 h 2999232"/>
                      <a:gd name="connsiteX13" fmla="*/ 621792 w 1944624"/>
                      <a:gd name="connsiteY13" fmla="*/ 2170176 h 2999232"/>
                      <a:gd name="connsiteX14" fmla="*/ 621792 w 1944624"/>
                      <a:gd name="connsiteY14" fmla="*/ 2584704 h 2999232"/>
                      <a:gd name="connsiteX15" fmla="*/ 804672 w 1944624"/>
                      <a:gd name="connsiteY15" fmla="*/ 2584704 h 2999232"/>
                      <a:gd name="connsiteX16" fmla="*/ 804672 w 1944624"/>
                      <a:gd name="connsiteY16" fmla="*/ 2999232 h 2999232"/>
                      <a:gd name="connsiteX17" fmla="*/ 1944624 w 1944624"/>
                      <a:gd name="connsiteY17" fmla="*/ 2999232 h 2999232"/>
                      <a:gd name="connsiteX0" fmla="*/ 0 w 1944624"/>
                      <a:gd name="connsiteY0" fmla="*/ 0 h 2999232"/>
                      <a:gd name="connsiteX1" fmla="*/ 0 w 1944624"/>
                      <a:gd name="connsiteY1" fmla="*/ 353568 h 2999232"/>
                      <a:gd name="connsiteX2" fmla="*/ 91440 w 1944624"/>
                      <a:gd name="connsiteY2" fmla="*/ 353568 h 2999232"/>
                      <a:gd name="connsiteX3" fmla="*/ 91440 w 1944624"/>
                      <a:gd name="connsiteY3" fmla="*/ 725424 h 2999232"/>
                      <a:gd name="connsiteX4" fmla="*/ 282448 w 1944624"/>
                      <a:gd name="connsiteY4" fmla="*/ 725424 h 2999232"/>
                      <a:gd name="connsiteX5" fmla="*/ 277368 w 1944624"/>
                      <a:gd name="connsiteY5" fmla="*/ 1053592 h 2999232"/>
                      <a:gd name="connsiteX6" fmla="*/ 287528 w 1944624"/>
                      <a:gd name="connsiteY6" fmla="*/ 1097280 h 2999232"/>
                      <a:gd name="connsiteX7" fmla="*/ 292608 w 1944624"/>
                      <a:gd name="connsiteY7" fmla="*/ 1414272 h 2999232"/>
                      <a:gd name="connsiteX8" fmla="*/ 292608 w 1944624"/>
                      <a:gd name="connsiteY8" fmla="*/ 1414272 h 2999232"/>
                      <a:gd name="connsiteX9" fmla="*/ 329184 w 1944624"/>
                      <a:gd name="connsiteY9" fmla="*/ 1414272 h 2999232"/>
                      <a:gd name="connsiteX10" fmla="*/ 329184 w 1944624"/>
                      <a:gd name="connsiteY10" fmla="*/ 1761744 h 2999232"/>
                      <a:gd name="connsiteX11" fmla="*/ 505968 w 1944624"/>
                      <a:gd name="connsiteY11" fmla="*/ 1761744 h 2999232"/>
                      <a:gd name="connsiteX12" fmla="*/ 505968 w 1944624"/>
                      <a:gd name="connsiteY12" fmla="*/ 2170176 h 2999232"/>
                      <a:gd name="connsiteX13" fmla="*/ 621792 w 1944624"/>
                      <a:gd name="connsiteY13" fmla="*/ 2170176 h 2999232"/>
                      <a:gd name="connsiteX14" fmla="*/ 621792 w 1944624"/>
                      <a:gd name="connsiteY14" fmla="*/ 2584704 h 2999232"/>
                      <a:gd name="connsiteX15" fmla="*/ 804672 w 1944624"/>
                      <a:gd name="connsiteY15" fmla="*/ 2584704 h 2999232"/>
                      <a:gd name="connsiteX16" fmla="*/ 804672 w 1944624"/>
                      <a:gd name="connsiteY16" fmla="*/ 2999232 h 2999232"/>
                      <a:gd name="connsiteX17" fmla="*/ 1944624 w 1944624"/>
                      <a:gd name="connsiteY17" fmla="*/ 2999232 h 2999232"/>
                      <a:gd name="connsiteX0" fmla="*/ 0 w 1944624"/>
                      <a:gd name="connsiteY0" fmla="*/ 0 h 2999232"/>
                      <a:gd name="connsiteX1" fmla="*/ 0 w 1944624"/>
                      <a:gd name="connsiteY1" fmla="*/ 353568 h 2999232"/>
                      <a:gd name="connsiteX2" fmla="*/ 91440 w 1944624"/>
                      <a:gd name="connsiteY2" fmla="*/ 353568 h 2999232"/>
                      <a:gd name="connsiteX3" fmla="*/ 91440 w 1944624"/>
                      <a:gd name="connsiteY3" fmla="*/ 725424 h 2999232"/>
                      <a:gd name="connsiteX4" fmla="*/ 282448 w 1944624"/>
                      <a:gd name="connsiteY4" fmla="*/ 725424 h 2999232"/>
                      <a:gd name="connsiteX5" fmla="*/ 277368 w 1944624"/>
                      <a:gd name="connsiteY5" fmla="*/ 1053592 h 2999232"/>
                      <a:gd name="connsiteX6" fmla="*/ 297688 w 1944624"/>
                      <a:gd name="connsiteY6" fmla="*/ 1097280 h 2999232"/>
                      <a:gd name="connsiteX7" fmla="*/ 292608 w 1944624"/>
                      <a:gd name="connsiteY7" fmla="*/ 1414272 h 2999232"/>
                      <a:gd name="connsiteX8" fmla="*/ 292608 w 1944624"/>
                      <a:gd name="connsiteY8" fmla="*/ 1414272 h 2999232"/>
                      <a:gd name="connsiteX9" fmla="*/ 329184 w 1944624"/>
                      <a:gd name="connsiteY9" fmla="*/ 1414272 h 2999232"/>
                      <a:gd name="connsiteX10" fmla="*/ 329184 w 1944624"/>
                      <a:gd name="connsiteY10" fmla="*/ 1761744 h 2999232"/>
                      <a:gd name="connsiteX11" fmla="*/ 505968 w 1944624"/>
                      <a:gd name="connsiteY11" fmla="*/ 1761744 h 2999232"/>
                      <a:gd name="connsiteX12" fmla="*/ 505968 w 1944624"/>
                      <a:gd name="connsiteY12" fmla="*/ 2170176 h 2999232"/>
                      <a:gd name="connsiteX13" fmla="*/ 621792 w 1944624"/>
                      <a:gd name="connsiteY13" fmla="*/ 2170176 h 2999232"/>
                      <a:gd name="connsiteX14" fmla="*/ 621792 w 1944624"/>
                      <a:gd name="connsiteY14" fmla="*/ 2584704 h 2999232"/>
                      <a:gd name="connsiteX15" fmla="*/ 804672 w 1944624"/>
                      <a:gd name="connsiteY15" fmla="*/ 2584704 h 2999232"/>
                      <a:gd name="connsiteX16" fmla="*/ 804672 w 1944624"/>
                      <a:gd name="connsiteY16" fmla="*/ 2999232 h 2999232"/>
                      <a:gd name="connsiteX17" fmla="*/ 1944624 w 1944624"/>
                      <a:gd name="connsiteY17" fmla="*/ 2999232 h 299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4624" h="2999232">
                        <a:moveTo>
                          <a:pt x="0" y="0"/>
                        </a:moveTo>
                        <a:lnTo>
                          <a:pt x="0" y="353568"/>
                        </a:lnTo>
                        <a:lnTo>
                          <a:pt x="91440" y="353568"/>
                        </a:lnTo>
                        <a:lnTo>
                          <a:pt x="91440" y="725424"/>
                        </a:lnTo>
                        <a:lnTo>
                          <a:pt x="282448" y="725424"/>
                        </a:lnTo>
                        <a:cubicBezTo>
                          <a:pt x="282448" y="843280"/>
                          <a:pt x="274828" y="991616"/>
                          <a:pt x="277368" y="1053592"/>
                        </a:cubicBezTo>
                        <a:cubicBezTo>
                          <a:pt x="279908" y="1115568"/>
                          <a:pt x="295148" y="1037167"/>
                          <a:pt x="297688" y="1097280"/>
                        </a:cubicBezTo>
                        <a:cubicBezTo>
                          <a:pt x="300228" y="1157393"/>
                          <a:pt x="293455" y="1361440"/>
                          <a:pt x="292608" y="1414272"/>
                        </a:cubicBezTo>
                        <a:lnTo>
                          <a:pt x="292608" y="1414272"/>
                        </a:lnTo>
                        <a:lnTo>
                          <a:pt x="329184" y="1414272"/>
                        </a:lnTo>
                        <a:lnTo>
                          <a:pt x="329184" y="1761744"/>
                        </a:lnTo>
                        <a:lnTo>
                          <a:pt x="505968" y="1761744"/>
                        </a:lnTo>
                        <a:lnTo>
                          <a:pt x="505968" y="2170176"/>
                        </a:lnTo>
                        <a:lnTo>
                          <a:pt x="621792" y="2170176"/>
                        </a:lnTo>
                        <a:lnTo>
                          <a:pt x="621792" y="2584704"/>
                        </a:lnTo>
                        <a:lnTo>
                          <a:pt x="804672" y="2584704"/>
                        </a:lnTo>
                        <a:lnTo>
                          <a:pt x="804672" y="2999232"/>
                        </a:lnTo>
                        <a:lnTo>
                          <a:pt x="1944624" y="2999232"/>
                        </a:lnTo>
                      </a:path>
                    </a:pathLst>
                  </a:custGeom>
                  <a:noFill/>
                  <a:ln w="28575" cap="flat" cmpd="sng" algn="ctr">
                    <a:solidFill>
                      <a:srgbClr val="003865">
                        <a:lumMod val="75000"/>
                        <a:lumOff val="25000"/>
                      </a:srgbClr>
                    </a:solidFill>
                    <a:prstDash val="solid"/>
                  </a:ln>
                  <a:effectLst/>
                </p:spPr>
                <p:txBody>
                  <a:bodyPr rtlCol="0" anchor="ctr"/>
                  <a:lstStyle/>
                  <a:p>
                    <a:pPr algn="ctr" defTabSz="685800">
                      <a:defRPr/>
                    </a:pPr>
                    <a:endParaRPr lang="en-US" sz="1350" kern="0" dirty="0">
                      <a:solidFill>
                        <a:srgbClr val="FFFFFF"/>
                      </a:solidFill>
                    </a:endParaRPr>
                  </a:p>
                </p:txBody>
              </p:sp>
              <p:sp>
                <p:nvSpPr>
                  <p:cNvPr id="28" name="Freeform 17">
                    <a:extLst>
                      <a:ext uri="{FF2B5EF4-FFF2-40B4-BE49-F238E27FC236}">
                        <a16:creationId xmlns:a16="http://schemas.microsoft.com/office/drawing/2014/main" xmlns="" id="{D79649F2-A1C9-080D-3F09-5186ECBE6351}"/>
                      </a:ext>
                    </a:extLst>
                  </p:cNvPr>
                  <p:cNvSpPr/>
                  <p:nvPr/>
                </p:nvSpPr>
                <p:spPr>
                  <a:xfrm>
                    <a:off x="1800982" y="837005"/>
                    <a:ext cx="5156078" cy="3819857"/>
                  </a:xfrm>
                  <a:custGeom>
                    <a:avLst/>
                    <a:gdLst>
                      <a:gd name="connsiteX0" fmla="*/ 0 w 3703320"/>
                      <a:gd name="connsiteY0" fmla="*/ 0 h 3439160"/>
                      <a:gd name="connsiteX1" fmla="*/ 0 w 3703320"/>
                      <a:gd name="connsiteY1" fmla="*/ 116840 h 3439160"/>
                      <a:gd name="connsiteX2" fmla="*/ 66040 w 3703320"/>
                      <a:gd name="connsiteY2" fmla="*/ 116840 h 3439160"/>
                      <a:gd name="connsiteX3" fmla="*/ 66040 w 3703320"/>
                      <a:gd name="connsiteY3" fmla="*/ 218440 h 3439160"/>
                      <a:gd name="connsiteX4" fmla="*/ 137160 w 3703320"/>
                      <a:gd name="connsiteY4" fmla="*/ 218440 h 3439160"/>
                      <a:gd name="connsiteX5" fmla="*/ 137160 w 3703320"/>
                      <a:gd name="connsiteY5" fmla="*/ 294640 h 3439160"/>
                      <a:gd name="connsiteX6" fmla="*/ 147320 w 3703320"/>
                      <a:gd name="connsiteY6" fmla="*/ 294640 h 3439160"/>
                      <a:gd name="connsiteX7" fmla="*/ 147320 w 3703320"/>
                      <a:gd name="connsiteY7" fmla="*/ 421640 h 3439160"/>
                      <a:gd name="connsiteX8" fmla="*/ 198120 w 3703320"/>
                      <a:gd name="connsiteY8" fmla="*/ 421640 h 3439160"/>
                      <a:gd name="connsiteX9" fmla="*/ 198120 w 3703320"/>
                      <a:gd name="connsiteY9" fmla="*/ 543560 h 3439160"/>
                      <a:gd name="connsiteX10" fmla="*/ 198120 w 3703320"/>
                      <a:gd name="connsiteY10" fmla="*/ 543560 h 3439160"/>
                      <a:gd name="connsiteX11" fmla="*/ 243840 w 3703320"/>
                      <a:gd name="connsiteY11" fmla="*/ 589280 h 3439160"/>
                      <a:gd name="connsiteX12" fmla="*/ 259080 w 3703320"/>
                      <a:gd name="connsiteY12" fmla="*/ 604520 h 3439160"/>
                      <a:gd name="connsiteX13" fmla="*/ 259080 w 3703320"/>
                      <a:gd name="connsiteY13" fmla="*/ 665480 h 3439160"/>
                      <a:gd name="connsiteX14" fmla="*/ 294640 w 3703320"/>
                      <a:gd name="connsiteY14" fmla="*/ 665480 h 3439160"/>
                      <a:gd name="connsiteX15" fmla="*/ 294640 w 3703320"/>
                      <a:gd name="connsiteY15" fmla="*/ 716280 h 3439160"/>
                      <a:gd name="connsiteX16" fmla="*/ 320040 w 3703320"/>
                      <a:gd name="connsiteY16" fmla="*/ 716280 h 3439160"/>
                      <a:gd name="connsiteX17" fmla="*/ 320040 w 3703320"/>
                      <a:gd name="connsiteY17" fmla="*/ 792480 h 3439160"/>
                      <a:gd name="connsiteX18" fmla="*/ 335280 w 3703320"/>
                      <a:gd name="connsiteY18" fmla="*/ 792480 h 3439160"/>
                      <a:gd name="connsiteX19" fmla="*/ 335280 w 3703320"/>
                      <a:gd name="connsiteY19" fmla="*/ 889000 h 3439160"/>
                      <a:gd name="connsiteX20" fmla="*/ 375920 w 3703320"/>
                      <a:gd name="connsiteY20" fmla="*/ 889000 h 3439160"/>
                      <a:gd name="connsiteX21" fmla="*/ 375920 w 3703320"/>
                      <a:gd name="connsiteY21" fmla="*/ 949960 h 3439160"/>
                      <a:gd name="connsiteX22" fmla="*/ 375920 w 3703320"/>
                      <a:gd name="connsiteY22" fmla="*/ 949960 h 3439160"/>
                      <a:gd name="connsiteX23" fmla="*/ 416560 w 3703320"/>
                      <a:gd name="connsiteY23" fmla="*/ 949960 h 3439160"/>
                      <a:gd name="connsiteX24" fmla="*/ 416560 w 3703320"/>
                      <a:gd name="connsiteY24" fmla="*/ 1026160 h 3439160"/>
                      <a:gd name="connsiteX25" fmla="*/ 441960 w 3703320"/>
                      <a:gd name="connsiteY25" fmla="*/ 1026160 h 3439160"/>
                      <a:gd name="connsiteX26" fmla="*/ 441960 w 3703320"/>
                      <a:gd name="connsiteY26" fmla="*/ 1092200 h 3439160"/>
                      <a:gd name="connsiteX27" fmla="*/ 472440 w 3703320"/>
                      <a:gd name="connsiteY27" fmla="*/ 1092200 h 3439160"/>
                      <a:gd name="connsiteX28" fmla="*/ 472440 w 3703320"/>
                      <a:gd name="connsiteY28" fmla="*/ 1214120 h 3439160"/>
                      <a:gd name="connsiteX29" fmla="*/ 492760 w 3703320"/>
                      <a:gd name="connsiteY29" fmla="*/ 1234440 h 3439160"/>
                      <a:gd name="connsiteX30" fmla="*/ 492760 w 3703320"/>
                      <a:gd name="connsiteY30" fmla="*/ 1285240 h 3439160"/>
                      <a:gd name="connsiteX31" fmla="*/ 553720 w 3703320"/>
                      <a:gd name="connsiteY31" fmla="*/ 1285240 h 3439160"/>
                      <a:gd name="connsiteX32" fmla="*/ 553720 w 3703320"/>
                      <a:gd name="connsiteY32" fmla="*/ 1386840 h 3439160"/>
                      <a:gd name="connsiteX33" fmla="*/ 553720 w 3703320"/>
                      <a:gd name="connsiteY33" fmla="*/ 1427480 h 3439160"/>
                      <a:gd name="connsiteX34" fmla="*/ 599440 w 3703320"/>
                      <a:gd name="connsiteY34" fmla="*/ 1427480 h 3439160"/>
                      <a:gd name="connsiteX35" fmla="*/ 599440 w 3703320"/>
                      <a:gd name="connsiteY35" fmla="*/ 1493520 h 3439160"/>
                      <a:gd name="connsiteX36" fmla="*/ 650240 w 3703320"/>
                      <a:gd name="connsiteY36" fmla="*/ 1493520 h 3439160"/>
                      <a:gd name="connsiteX37" fmla="*/ 650240 w 3703320"/>
                      <a:gd name="connsiteY37" fmla="*/ 1539240 h 3439160"/>
                      <a:gd name="connsiteX38" fmla="*/ 695960 w 3703320"/>
                      <a:gd name="connsiteY38" fmla="*/ 1539240 h 3439160"/>
                      <a:gd name="connsiteX39" fmla="*/ 695960 w 3703320"/>
                      <a:gd name="connsiteY39" fmla="*/ 1635760 h 3439160"/>
                      <a:gd name="connsiteX40" fmla="*/ 731520 w 3703320"/>
                      <a:gd name="connsiteY40" fmla="*/ 1635760 h 3439160"/>
                      <a:gd name="connsiteX41" fmla="*/ 731520 w 3703320"/>
                      <a:gd name="connsiteY41" fmla="*/ 1706880 h 3439160"/>
                      <a:gd name="connsiteX42" fmla="*/ 762000 w 3703320"/>
                      <a:gd name="connsiteY42" fmla="*/ 1706880 h 3439160"/>
                      <a:gd name="connsiteX43" fmla="*/ 762000 w 3703320"/>
                      <a:gd name="connsiteY43" fmla="*/ 1803400 h 3439160"/>
                      <a:gd name="connsiteX44" fmla="*/ 797560 w 3703320"/>
                      <a:gd name="connsiteY44" fmla="*/ 1803400 h 3439160"/>
                      <a:gd name="connsiteX45" fmla="*/ 797560 w 3703320"/>
                      <a:gd name="connsiteY45" fmla="*/ 1854200 h 3439160"/>
                      <a:gd name="connsiteX46" fmla="*/ 853440 w 3703320"/>
                      <a:gd name="connsiteY46" fmla="*/ 1854200 h 3439160"/>
                      <a:gd name="connsiteX47" fmla="*/ 853440 w 3703320"/>
                      <a:gd name="connsiteY47" fmla="*/ 1940560 h 3439160"/>
                      <a:gd name="connsiteX48" fmla="*/ 894080 w 3703320"/>
                      <a:gd name="connsiteY48" fmla="*/ 1940560 h 3439160"/>
                      <a:gd name="connsiteX49" fmla="*/ 894080 w 3703320"/>
                      <a:gd name="connsiteY49" fmla="*/ 2011680 h 3439160"/>
                      <a:gd name="connsiteX50" fmla="*/ 939800 w 3703320"/>
                      <a:gd name="connsiteY50" fmla="*/ 2011680 h 3439160"/>
                      <a:gd name="connsiteX51" fmla="*/ 939800 w 3703320"/>
                      <a:gd name="connsiteY51" fmla="*/ 2062480 h 3439160"/>
                      <a:gd name="connsiteX52" fmla="*/ 1000760 w 3703320"/>
                      <a:gd name="connsiteY52" fmla="*/ 2062480 h 3439160"/>
                      <a:gd name="connsiteX53" fmla="*/ 1000760 w 3703320"/>
                      <a:gd name="connsiteY53" fmla="*/ 2128520 h 3439160"/>
                      <a:gd name="connsiteX54" fmla="*/ 1000760 w 3703320"/>
                      <a:gd name="connsiteY54" fmla="*/ 2128520 h 3439160"/>
                      <a:gd name="connsiteX55" fmla="*/ 1000760 w 3703320"/>
                      <a:gd name="connsiteY55" fmla="*/ 2214880 h 3439160"/>
                      <a:gd name="connsiteX56" fmla="*/ 1051560 w 3703320"/>
                      <a:gd name="connsiteY56" fmla="*/ 2214880 h 3439160"/>
                      <a:gd name="connsiteX57" fmla="*/ 1051560 w 3703320"/>
                      <a:gd name="connsiteY57" fmla="*/ 2235200 h 3439160"/>
                      <a:gd name="connsiteX58" fmla="*/ 1097280 w 3703320"/>
                      <a:gd name="connsiteY58" fmla="*/ 2235200 h 3439160"/>
                      <a:gd name="connsiteX59" fmla="*/ 1097280 w 3703320"/>
                      <a:gd name="connsiteY59" fmla="*/ 2235200 h 3439160"/>
                      <a:gd name="connsiteX60" fmla="*/ 1132840 w 3703320"/>
                      <a:gd name="connsiteY60" fmla="*/ 2270760 h 3439160"/>
                      <a:gd name="connsiteX61" fmla="*/ 1132840 w 3703320"/>
                      <a:gd name="connsiteY61" fmla="*/ 2341880 h 3439160"/>
                      <a:gd name="connsiteX62" fmla="*/ 1188720 w 3703320"/>
                      <a:gd name="connsiteY62" fmla="*/ 2341880 h 3439160"/>
                      <a:gd name="connsiteX63" fmla="*/ 1188720 w 3703320"/>
                      <a:gd name="connsiteY63" fmla="*/ 2377440 h 3439160"/>
                      <a:gd name="connsiteX64" fmla="*/ 1244600 w 3703320"/>
                      <a:gd name="connsiteY64" fmla="*/ 2377440 h 3439160"/>
                      <a:gd name="connsiteX65" fmla="*/ 1244600 w 3703320"/>
                      <a:gd name="connsiteY65" fmla="*/ 2377440 h 3439160"/>
                      <a:gd name="connsiteX66" fmla="*/ 1290320 w 3703320"/>
                      <a:gd name="connsiteY66" fmla="*/ 2377440 h 3439160"/>
                      <a:gd name="connsiteX67" fmla="*/ 1290320 w 3703320"/>
                      <a:gd name="connsiteY67" fmla="*/ 2479040 h 3439160"/>
                      <a:gd name="connsiteX68" fmla="*/ 1351280 w 3703320"/>
                      <a:gd name="connsiteY68" fmla="*/ 2479040 h 3439160"/>
                      <a:gd name="connsiteX69" fmla="*/ 1351280 w 3703320"/>
                      <a:gd name="connsiteY69" fmla="*/ 2540000 h 3439160"/>
                      <a:gd name="connsiteX70" fmla="*/ 1422400 w 3703320"/>
                      <a:gd name="connsiteY70" fmla="*/ 2540000 h 3439160"/>
                      <a:gd name="connsiteX71" fmla="*/ 1422400 w 3703320"/>
                      <a:gd name="connsiteY71" fmla="*/ 2600960 h 3439160"/>
                      <a:gd name="connsiteX72" fmla="*/ 1549400 w 3703320"/>
                      <a:gd name="connsiteY72" fmla="*/ 2600960 h 3439160"/>
                      <a:gd name="connsiteX73" fmla="*/ 1549400 w 3703320"/>
                      <a:gd name="connsiteY73" fmla="*/ 2651760 h 3439160"/>
                      <a:gd name="connsiteX74" fmla="*/ 1615440 w 3703320"/>
                      <a:gd name="connsiteY74" fmla="*/ 2651760 h 3439160"/>
                      <a:gd name="connsiteX75" fmla="*/ 1615440 w 3703320"/>
                      <a:gd name="connsiteY75" fmla="*/ 2687320 h 3439160"/>
                      <a:gd name="connsiteX76" fmla="*/ 1661160 w 3703320"/>
                      <a:gd name="connsiteY76" fmla="*/ 2687320 h 3439160"/>
                      <a:gd name="connsiteX77" fmla="*/ 1661160 w 3703320"/>
                      <a:gd name="connsiteY77" fmla="*/ 2748280 h 3439160"/>
                      <a:gd name="connsiteX78" fmla="*/ 1681480 w 3703320"/>
                      <a:gd name="connsiteY78" fmla="*/ 2768600 h 3439160"/>
                      <a:gd name="connsiteX79" fmla="*/ 1681480 w 3703320"/>
                      <a:gd name="connsiteY79" fmla="*/ 2834640 h 3439160"/>
                      <a:gd name="connsiteX80" fmla="*/ 1711960 w 3703320"/>
                      <a:gd name="connsiteY80" fmla="*/ 2834640 h 3439160"/>
                      <a:gd name="connsiteX81" fmla="*/ 1711960 w 3703320"/>
                      <a:gd name="connsiteY81" fmla="*/ 2880360 h 3439160"/>
                      <a:gd name="connsiteX82" fmla="*/ 1788160 w 3703320"/>
                      <a:gd name="connsiteY82" fmla="*/ 2880360 h 3439160"/>
                      <a:gd name="connsiteX83" fmla="*/ 1788160 w 3703320"/>
                      <a:gd name="connsiteY83" fmla="*/ 2910840 h 3439160"/>
                      <a:gd name="connsiteX84" fmla="*/ 1823720 w 3703320"/>
                      <a:gd name="connsiteY84" fmla="*/ 2910840 h 3439160"/>
                      <a:gd name="connsiteX85" fmla="*/ 1823720 w 3703320"/>
                      <a:gd name="connsiteY85" fmla="*/ 2961640 h 3439160"/>
                      <a:gd name="connsiteX86" fmla="*/ 1879600 w 3703320"/>
                      <a:gd name="connsiteY86" fmla="*/ 2961640 h 3439160"/>
                      <a:gd name="connsiteX87" fmla="*/ 1879600 w 3703320"/>
                      <a:gd name="connsiteY87" fmla="*/ 2997200 h 3439160"/>
                      <a:gd name="connsiteX88" fmla="*/ 1940560 w 3703320"/>
                      <a:gd name="connsiteY88" fmla="*/ 2997200 h 3439160"/>
                      <a:gd name="connsiteX89" fmla="*/ 1940560 w 3703320"/>
                      <a:gd name="connsiteY89" fmla="*/ 3068320 h 3439160"/>
                      <a:gd name="connsiteX90" fmla="*/ 2108200 w 3703320"/>
                      <a:gd name="connsiteY90" fmla="*/ 3068320 h 3439160"/>
                      <a:gd name="connsiteX91" fmla="*/ 2108200 w 3703320"/>
                      <a:gd name="connsiteY91" fmla="*/ 3068320 h 3439160"/>
                      <a:gd name="connsiteX92" fmla="*/ 2336800 w 3703320"/>
                      <a:gd name="connsiteY92" fmla="*/ 3068320 h 3439160"/>
                      <a:gd name="connsiteX93" fmla="*/ 2336800 w 3703320"/>
                      <a:gd name="connsiteY93" fmla="*/ 3134360 h 3439160"/>
                      <a:gd name="connsiteX94" fmla="*/ 2468880 w 3703320"/>
                      <a:gd name="connsiteY94" fmla="*/ 3134360 h 3439160"/>
                      <a:gd name="connsiteX95" fmla="*/ 2468880 w 3703320"/>
                      <a:gd name="connsiteY95" fmla="*/ 3180080 h 3439160"/>
                      <a:gd name="connsiteX96" fmla="*/ 2697480 w 3703320"/>
                      <a:gd name="connsiteY96" fmla="*/ 3180080 h 3439160"/>
                      <a:gd name="connsiteX97" fmla="*/ 2697480 w 3703320"/>
                      <a:gd name="connsiteY97" fmla="*/ 3230880 h 3439160"/>
                      <a:gd name="connsiteX98" fmla="*/ 2768600 w 3703320"/>
                      <a:gd name="connsiteY98" fmla="*/ 3230880 h 3439160"/>
                      <a:gd name="connsiteX99" fmla="*/ 2768600 w 3703320"/>
                      <a:gd name="connsiteY99" fmla="*/ 3251200 h 3439160"/>
                      <a:gd name="connsiteX100" fmla="*/ 3007360 w 3703320"/>
                      <a:gd name="connsiteY100" fmla="*/ 3251200 h 3439160"/>
                      <a:gd name="connsiteX101" fmla="*/ 3007360 w 3703320"/>
                      <a:gd name="connsiteY101" fmla="*/ 3296920 h 3439160"/>
                      <a:gd name="connsiteX102" fmla="*/ 3053080 w 3703320"/>
                      <a:gd name="connsiteY102" fmla="*/ 3296920 h 3439160"/>
                      <a:gd name="connsiteX103" fmla="*/ 3053080 w 3703320"/>
                      <a:gd name="connsiteY103" fmla="*/ 3347720 h 3439160"/>
                      <a:gd name="connsiteX104" fmla="*/ 3078480 w 3703320"/>
                      <a:gd name="connsiteY104" fmla="*/ 3347720 h 3439160"/>
                      <a:gd name="connsiteX105" fmla="*/ 3078480 w 3703320"/>
                      <a:gd name="connsiteY105" fmla="*/ 3393440 h 3439160"/>
                      <a:gd name="connsiteX106" fmla="*/ 3256280 w 3703320"/>
                      <a:gd name="connsiteY106" fmla="*/ 3393440 h 3439160"/>
                      <a:gd name="connsiteX107" fmla="*/ 3256280 w 3703320"/>
                      <a:gd name="connsiteY107" fmla="*/ 3439160 h 3439160"/>
                      <a:gd name="connsiteX108" fmla="*/ 3703320 w 3703320"/>
                      <a:gd name="connsiteY108" fmla="*/ 3439160 h 3439160"/>
                      <a:gd name="connsiteX0" fmla="*/ 0 w 3735680"/>
                      <a:gd name="connsiteY0" fmla="*/ 0 h 3440357"/>
                      <a:gd name="connsiteX1" fmla="*/ 0 w 3735680"/>
                      <a:gd name="connsiteY1" fmla="*/ 116840 h 3440357"/>
                      <a:gd name="connsiteX2" fmla="*/ 66040 w 3735680"/>
                      <a:gd name="connsiteY2" fmla="*/ 116840 h 3440357"/>
                      <a:gd name="connsiteX3" fmla="*/ 66040 w 3735680"/>
                      <a:gd name="connsiteY3" fmla="*/ 218440 h 3440357"/>
                      <a:gd name="connsiteX4" fmla="*/ 137160 w 3735680"/>
                      <a:gd name="connsiteY4" fmla="*/ 218440 h 3440357"/>
                      <a:gd name="connsiteX5" fmla="*/ 137160 w 3735680"/>
                      <a:gd name="connsiteY5" fmla="*/ 294640 h 3440357"/>
                      <a:gd name="connsiteX6" fmla="*/ 147320 w 3735680"/>
                      <a:gd name="connsiteY6" fmla="*/ 294640 h 3440357"/>
                      <a:gd name="connsiteX7" fmla="*/ 147320 w 3735680"/>
                      <a:gd name="connsiteY7" fmla="*/ 421640 h 3440357"/>
                      <a:gd name="connsiteX8" fmla="*/ 198120 w 3735680"/>
                      <a:gd name="connsiteY8" fmla="*/ 421640 h 3440357"/>
                      <a:gd name="connsiteX9" fmla="*/ 198120 w 3735680"/>
                      <a:gd name="connsiteY9" fmla="*/ 543560 h 3440357"/>
                      <a:gd name="connsiteX10" fmla="*/ 198120 w 3735680"/>
                      <a:gd name="connsiteY10" fmla="*/ 543560 h 3440357"/>
                      <a:gd name="connsiteX11" fmla="*/ 243840 w 3735680"/>
                      <a:gd name="connsiteY11" fmla="*/ 589280 h 3440357"/>
                      <a:gd name="connsiteX12" fmla="*/ 259080 w 3735680"/>
                      <a:gd name="connsiteY12" fmla="*/ 604520 h 3440357"/>
                      <a:gd name="connsiteX13" fmla="*/ 259080 w 3735680"/>
                      <a:gd name="connsiteY13" fmla="*/ 665480 h 3440357"/>
                      <a:gd name="connsiteX14" fmla="*/ 294640 w 3735680"/>
                      <a:gd name="connsiteY14" fmla="*/ 665480 h 3440357"/>
                      <a:gd name="connsiteX15" fmla="*/ 294640 w 3735680"/>
                      <a:gd name="connsiteY15" fmla="*/ 716280 h 3440357"/>
                      <a:gd name="connsiteX16" fmla="*/ 320040 w 3735680"/>
                      <a:gd name="connsiteY16" fmla="*/ 716280 h 3440357"/>
                      <a:gd name="connsiteX17" fmla="*/ 320040 w 3735680"/>
                      <a:gd name="connsiteY17" fmla="*/ 792480 h 3440357"/>
                      <a:gd name="connsiteX18" fmla="*/ 335280 w 3735680"/>
                      <a:gd name="connsiteY18" fmla="*/ 792480 h 3440357"/>
                      <a:gd name="connsiteX19" fmla="*/ 335280 w 3735680"/>
                      <a:gd name="connsiteY19" fmla="*/ 889000 h 3440357"/>
                      <a:gd name="connsiteX20" fmla="*/ 375920 w 3735680"/>
                      <a:gd name="connsiteY20" fmla="*/ 889000 h 3440357"/>
                      <a:gd name="connsiteX21" fmla="*/ 375920 w 3735680"/>
                      <a:gd name="connsiteY21" fmla="*/ 949960 h 3440357"/>
                      <a:gd name="connsiteX22" fmla="*/ 375920 w 3735680"/>
                      <a:gd name="connsiteY22" fmla="*/ 949960 h 3440357"/>
                      <a:gd name="connsiteX23" fmla="*/ 416560 w 3735680"/>
                      <a:gd name="connsiteY23" fmla="*/ 949960 h 3440357"/>
                      <a:gd name="connsiteX24" fmla="*/ 416560 w 3735680"/>
                      <a:gd name="connsiteY24" fmla="*/ 1026160 h 3440357"/>
                      <a:gd name="connsiteX25" fmla="*/ 441960 w 3735680"/>
                      <a:gd name="connsiteY25" fmla="*/ 1026160 h 3440357"/>
                      <a:gd name="connsiteX26" fmla="*/ 441960 w 3735680"/>
                      <a:gd name="connsiteY26" fmla="*/ 1092200 h 3440357"/>
                      <a:gd name="connsiteX27" fmla="*/ 472440 w 3735680"/>
                      <a:gd name="connsiteY27" fmla="*/ 1092200 h 3440357"/>
                      <a:gd name="connsiteX28" fmla="*/ 472440 w 3735680"/>
                      <a:gd name="connsiteY28" fmla="*/ 1214120 h 3440357"/>
                      <a:gd name="connsiteX29" fmla="*/ 492760 w 3735680"/>
                      <a:gd name="connsiteY29" fmla="*/ 1234440 h 3440357"/>
                      <a:gd name="connsiteX30" fmla="*/ 492760 w 3735680"/>
                      <a:gd name="connsiteY30" fmla="*/ 1285240 h 3440357"/>
                      <a:gd name="connsiteX31" fmla="*/ 553720 w 3735680"/>
                      <a:gd name="connsiteY31" fmla="*/ 1285240 h 3440357"/>
                      <a:gd name="connsiteX32" fmla="*/ 553720 w 3735680"/>
                      <a:gd name="connsiteY32" fmla="*/ 1386840 h 3440357"/>
                      <a:gd name="connsiteX33" fmla="*/ 553720 w 3735680"/>
                      <a:gd name="connsiteY33" fmla="*/ 1427480 h 3440357"/>
                      <a:gd name="connsiteX34" fmla="*/ 599440 w 3735680"/>
                      <a:gd name="connsiteY34" fmla="*/ 1427480 h 3440357"/>
                      <a:gd name="connsiteX35" fmla="*/ 599440 w 3735680"/>
                      <a:gd name="connsiteY35" fmla="*/ 1493520 h 3440357"/>
                      <a:gd name="connsiteX36" fmla="*/ 650240 w 3735680"/>
                      <a:gd name="connsiteY36" fmla="*/ 1493520 h 3440357"/>
                      <a:gd name="connsiteX37" fmla="*/ 650240 w 3735680"/>
                      <a:gd name="connsiteY37" fmla="*/ 1539240 h 3440357"/>
                      <a:gd name="connsiteX38" fmla="*/ 695960 w 3735680"/>
                      <a:gd name="connsiteY38" fmla="*/ 1539240 h 3440357"/>
                      <a:gd name="connsiteX39" fmla="*/ 695960 w 3735680"/>
                      <a:gd name="connsiteY39" fmla="*/ 1635760 h 3440357"/>
                      <a:gd name="connsiteX40" fmla="*/ 731520 w 3735680"/>
                      <a:gd name="connsiteY40" fmla="*/ 1635760 h 3440357"/>
                      <a:gd name="connsiteX41" fmla="*/ 731520 w 3735680"/>
                      <a:gd name="connsiteY41" fmla="*/ 1706880 h 3440357"/>
                      <a:gd name="connsiteX42" fmla="*/ 762000 w 3735680"/>
                      <a:gd name="connsiteY42" fmla="*/ 1706880 h 3440357"/>
                      <a:gd name="connsiteX43" fmla="*/ 762000 w 3735680"/>
                      <a:gd name="connsiteY43" fmla="*/ 1803400 h 3440357"/>
                      <a:gd name="connsiteX44" fmla="*/ 797560 w 3735680"/>
                      <a:gd name="connsiteY44" fmla="*/ 1803400 h 3440357"/>
                      <a:gd name="connsiteX45" fmla="*/ 797560 w 3735680"/>
                      <a:gd name="connsiteY45" fmla="*/ 1854200 h 3440357"/>
                      <a:gd name="connsiteX46" fmla="*/ 853440 w 3735680"/>
                      <a:gd name="connsiteY46" fmla="*/ 1854200 h 3440357"/>
                      <a:gd name="connsiteX47" fmla="*/ 853440 w 3735680"/>
                      <a:gd name="connsiteY47" fmla="*/ 1940560 h 3440357"/>
                      <a:gd name="connsiteX48" fmla="*/ 894080 w 3735680"/>
                      <a:gd name="connsiteY48" fmla="*/ 1940560 h 3440357"/>
                      <a:gd name="connsiteX49" fmla="*/ 894080 w 3735680"/>
                      <a:gd name="connsiteY49" fmla="*/ 2011680 h 3440357"/>
                      <a:gd name="connsiteX50" fmla="*/ 939800 w 3735680"/>
                      <a:gd name="connsiteY50" fmla="*/ 2011680 h 3440357"/>
                      <a:gd name="connsiteX51" fmla="*/ 939800 w 3735680"/>
                      <a:gd name="connsiteY51" fmla="*/ 2062480 h 3440357"/>
                      <a:gd name="connsiteX52" fmla="*/ 1000760 w 3735680"/>
                      <a:gd name="connsiteY52" fmla="*/ 2062480 h 3440357"/>
                      <a:gd name="connsiteX53" fmla="*/ 1000760 w 3735680"/>
                      <a:gd name="connsiteY53" fmla="*/ 2128520 h 3440357"/>
                      <a:gd name="connsiteX54" fmla="*/ 1000760 w 3735680"/>
                      <a:gd name="connsiteY54" fmla="*/ 2128520 h 3440357"/>
                      <a:gd name="connsiteX55" fmla="*/ 1000760 w 3735680"/>
                      <a:gd name="connsiteY55" fmla="*/ 2214880 h 3440357"/>
                      <a:gd name="connsiteX56" fmla="*/ 1051560 w 3735680"/>
                      <a:gd name="connsiteY56" fmla="*/ 2214880 h 3440357"/>
                      <a:gd name="connsiteX57" fmla="*/ 1051560 w 3735680"/>
                      <a:gd name="connsiteY57" fmla="*/ 2235200 h 3440357"/>
                      <a:gd name="connsiteX58" fmla="*/ 1097280 w 3735680"/>
                      <a:gd name="connsiteY58" fmla="*/ 2235200 h 3440357"/>
                      <a:gd name="connsiteX59" fmla="*/ 1097280 w 3735680"/>
                      <a:gd name="connsiteY59" fmla="*/ 2235200 h 3440357"/>
                      <a:gd name="connsiteX60" fmla="*/ 1132840 w 3735680"/>
                      <a:gd name="connsiteY60" fmla="*/ 2270760 h 3440357"/>
                      <a:gd name="connsiteX61" fmla="*/ 1132840 w 3735680"/>
                      <a:gd name="connsiteY61" fmla="*/ 2341880 h 3440357"/>
                      <a:gd name="connsiteX62" fmla="*/ 1188720 w 3735680"/>
                      <a:gd name="connsiteY62" fmla="*/ 2341880 h 3440357"/>
                      <a:gd name="connsiteX63" fmla="*/ 1188720 w 3735680"/>
                      <a:gd name="connsiteY63" fmla="*/ 2377440 h 3440357"/>
                      <a:gd name="connsiteX64" fmla="*/ 1244600 w 3735680"/>
                      <a:gd name="connsiteY64" fmla="*/ 2377440 h 3440357"/>
                      <a:gd name="connsiteX65" fmla="*/ 1244600 w 3735680"/>
                      <a:gd name="connsiteY65" fmla="*/ 2377440 h 3440357"/>
                      <a:gd name="connsiteX66" fmla="*/ 1290320 w 3735680"/>
                      <a:gd name="connsiteY66" fmla="*/ 2377440 h 3440357"/>
                      <a:gd name="connsiteX67" fmla="*/ 1290320 w 3735680"/>
                      <a:gd name="connsiteY67" fmla="*/ 2479040 h 3440357"/>
                      <a:gd name="connsiteX68" fmla="*/ 1351280 w 3735680"/>
                      <a:gd name="connsiteY68" fmla="*/ 2479040 h 3440357"/>
                      <a:gd name="connsiteX69" fmla="*/ 1351280 w 3735680"/>
                      <a:gd name="connsiteY69" fmla="*/ 2540000 h 3440357"/>
                      <a:gd name="connsiteX70" fmla="*/ 1422400 w 3735680"/>
                      <a:gd name="connsiteY70" fmla="*/ 2540000 h 3440357"/>
                      <a:gd name="connsiteX71" fmla="*/ 1422400 w 3735680"/>
                      <a:gd name="connsiteY71" fmla="*/ 2600960 h 3440357"/>
                      <a:gd name="connsiteX72" fmla="*/ 1549400 w 3735680"/>
                      <a:gd name="connsiteY72" fmla="*/ 2600960 h 3440357"/>
                      <a:gd name="connsiteX73" fmla="*/ 1549400 w 3735680"/>
                      <a:gd name="connsiteY73" fmla="*/ 2651760 h 3440357"/>
                      <a:gd name="connsiteX74" fmla="*/ 1615440 w 3735680"/>
                      <a:gd name="connsiteY74" fmla="*/ 2651760 h 3440357"/>
                      <a:gd name="connsiteX75" fmla="*/ 1615440 w 3735680"/>
                      <a:gd name="connsiteY75" fmla="*/ 2687320 h 3440357"/>
                      <a:gd name="connsiteX76" fmla="*/ 1661160 w 3735680"/>
                      <a:gd name="connsiteY76" fmla="*/ 2687320 h 3440357"/>
                      <a:gd name="connsiteX77" fmla="*/ 1661160 w 3735680"/>
                      <a:gd name="connsiteY77" fmla="*/ 2748280 h 3440357"/>
                      <a:gd name="connsiteX78" fmla="*/ 1681480 w 3735680"/>
                      <a:gd name="connsiteY78" fmla="*/ 2768600 h 3440357"/>
                      <a:gd name="connsiteX79" fmla="*/ 1681480 w 3735680"/>
                      <a:gd name="connsiteY79" fmla="*/ 2834640 h 3440357"/>
                      <a:gd name="connsiteX80" fmla="*/ 1711960 w 3735680"/>
                      <a:gd name="connsiteY80" fmla="*/ 2834640 h 3440357"/>
                      <a:gd name="connsiteX81" fmla="*/ 1711960 w 3735680"/>
                      <a:gd name="connsiteY81" fmla="*/ 2880360 h 3440357"/>
                      <a:gd name="connsiteX82" fmla="*/ 1788160 w 3735680"/>
                      <a:gd name="connsiteY82" fmla="*/ 2880360 h 3440357"/>
                      <a:gd name="connsiteX83" fmla="*/ 1788160 w 3735680"/>
                      <a:gd name="connsiteY83" fmla="*/ 2910840 h 3440357"/>
                      <a:gd name="connsiteX84" fmla="*/ 1823720 w 3735680"/>
                      <a:gd name="connsiteY84" fmla="*/ 2910840 h 3440357"/>
                      <a:gd name="connsiteX85" fmla="*/ 1823720 w 3735680"/>
                      <a:gd name="connsiteY85" fmla="*/ 2961640 h 3440357"/>
                      <a:gd name="connsiteX86" fmla="*/ 1879600 w 3735680"/>
                      <a:gd name="connsiteY86" fmla="*/ 2961640 h 3440357"/>
                      <a:gd name="connsiteX87" fmla="*/ 1879600 w 3735680"/>
                      <a:gd name="connsiteY87" fmla="*/ 2997200 h 3440357"/>
                      <a:gd name="connsiteX88" fmla="*/ 1940560 w 3735680"/>
                      <a:gd name="connsiteY88" fmla="*/ 2997200 h 3440357"/>
                      <a:gd name="connsiteX89" fmla="*/ 1940560 w 3735680"/>
                      <a:gd name="connsiteY89" fmla="*/ 3068320 h 3440357"/>
                      <a:gd name="connsiteX90" fmla="*/ 2108200 w 3735680"/>
                      <a:gd name="connsiteY90" fmla="*/ 3068320 h 3440357"/>
                      <a:gd name="connsiteX91" fmla="*/ 2108200 w 3735680"/>
                      <a:gd name="connsiteY91" fmla="*/ 3068320 h 3440357"/>
                      <a:gd name="connsiteX92" fmla="*/ 2336800 w 3735680"/>
                      <a:gd name="connsiteY92" fmla="*/ 3068320 h 3440357"/>
                      <a:gd name="connsiteX93" fmla="*/ 2336800 w 3735680"/>
                      <a:gd name="connsiteY93" fmla="*/ 3134360 h 3440357"/>
                      <a:gd name="connsiteX94" fmla="*/ 2468880 w 3735680"/>
                      <a:gd name="connsiteY94" fmla="*/ 3134360 h 3440357"/>
                      <a:gd name="connsiteX95" fmla="*/ 2468880 w 3735680"/>
                      <a:gd name="connsiteY95" fmla="*/ 3180080 h 3440357"/>
                      <a:gd name="connsiteX96" fmla="*/ 2697480 w 3735680"/>
                      <a:gd name="connsiteY96" fmla="*/ 3180080 h 3440357"/>
                      <a:gd name="connsiteX97" fmla="*/ 2697480 w 3735680"/>
                      <a:gd name="connsiteY97" fmla="*/ 3230880 h 3440357"/>
                      <a:gd name="connsiteX98" fmla="*/ 2768600 w 3735680"/>
                      <a:gd name="connsiteY98" fmla="*/ 3230880 h 3440357"/>
                      <a:gd name="connsiteX99" fmla="*/ 2768600 w 3735680"/>
                      <a:gd name="connsiteY99" fmla="*/ 3251200 h 3440357"/>
                      <a:gd name="connsiteX100" fmla="*/ 3007360 w 3735680"/>
                      <a:gd name="connsiteY100" fmla="*/ 3251200 h 3440357"/>
                      <a:gd name="connsiteX101" fmla="*/ 3007360 w 3735680"/>
                      <a:gd name="connsiteY101" fmla="*/ 3296920 h 3440357"/>
                      <a:gd name="connsiteX102" fmla="*/ 3053080 w 3735680"/>
                      <a:gd name="connsiteY102" fmla="*/ 3296920 h 3440357"/>
                      <a:gd name="connsiteX103" fmla="*/ 3053080 w 3735680"/>
                      <a:gd name="connsiteY103" fmla="*/ 3347720 h 3440357"/>
                      <a:gd name="connsiteX104" fmla="*/ 3078480 w 3735680"/>
                      <a:gd name="connsiteY104" fmla="*/ 3347720 h 3440357"/>
                      <a:gd name="connsiteX105" fmla="*/ 3078480 w 3735680"/>
                      <a:gd name="connsiteY105" fmla="*/ 3393440 h 3440357"/>
                      <a:gd name="connsiteX106" fmla="*/ 3256280 w 3735680"/>
                      <a:gd name="connsiteY106" fmla="*/ 3393440 h 3440357"/>
                      <a:gd name="connsiteX107" fmla="*/ 3256280 w 3735680"/>
                      <a:gd name="connsiteY107" fmla="*/ 3439160 h 3440357"/>
                      <a:gd name="connsiteX108" fmla="*/ 3703320 w 3735680"/>
                      <a:gd name="connsiteY108" fmla="*/ 3439160 h 3440357"/>
                      <a:gd name="connsiteX109" fmla="*/ 3700660 w 3735680"/>
                      <a:gd name="connsiteY109" fmla="*/ 3440357 h 3440357"/>
                      <a:gd name="connsiteX0" fmla="*/ 0 w 3737003"/>
                      <a:gd name="connsiteY0" fmla="*/ 0 h 3524177"/>
                      <a:gd name="connsiteX1" fmla="*/ 0 w 3737003"/>
                      <a:gd name="connsiteY1" fmla="*/ 116840 h 3524177"/>
                      <a:gd name="connsiteX2" fmla="*/ 66040 w 3737003"/>
                      <a:gd name="connsiteY2" fmla="*/ 116840 h 3524177"/>
                      <a:gd name="connsiteX3" fmla="*/ 66040 w 3737003"/>
                      <a:gd name="connsiteY3" fmla="*/ 218440 h 3524177"/>
                      <a:gd name="connsiteX4" fmla="*/ 137160 w 3737003"/>
                      <a:gd name="connsiteY4" fmla="*/ 218440 h 3524177"/>
                      <a:gd name="connsiteX5" fmla="*/ 137160 w 3737003"/>
                      <a:gd name="connsiteY5" fmla="*/ 294640 h 3524177"/>
                      <a:gd name="connsiteX6" fmla="*/ 147320 w 3737003"/>
                      <a:gd name="connsiteY6" fmla="*/ 294640 h 3524177"/>
                      <a:gd name="connsiteX7" fmla="*/ 147320 w 3737003"/>
                      <a:gd name="connsiteY7" fmla="*/ 421640 h 3524177"/>
                      <a:gd name="connsiteX8" fmla="*/ 198120 w 3737003"/>
                      <a:gd name="connsiteY8" fmla="*/ 421640 h 3524177"/>
                      <a:gd name="connsiteX9" fmla="*/ 198120 w 3737003"/>
                      <a:gd name="connsiteY9" fmla="*/ 543560 h 3524177"/>
                      <a:gd name="connsiteX10" fmla="*/ 198120 w 3737003"/>
                      <a:gd name="connsiteY10" fmla="*/ 543560 h 3524177"/>
                      <a:gd name="connsiteX11" fmla="*/ 243840 w 3737003"/>
                      <a:gd name="connsiteY11" fmla="*/ 589280 h 3524177"/>
                      <a:gd name="connsiteX12" fmla="*/ 259080 w 3737003"/>
                      <a:gd name="connsiteY12" fmla="*/ 604520 h 3524177"/>
                      <a:gd name="connsiteX13" fmla="*/ 259080 w 3737003"/>
                      <a:gd name="connsiteY13" fmla="*/ 665480 h 3524177"/>
                      <a:gd name="connsiteX14" fmla="*/ 294640 w 3737003"/>
                      <a:gd name="connsiteY14" fmla="*/ 665480 h 3524177"/>
                      <a:gd name="connsiteX15" fmla="*/ 294640 w 3737003"/>
                      <a:gd name="connsiteY15" fmla="*/ 716280 h 3524177"/>
                      <a:gd name="connsiteX16" fmla="*/ 320040 w 3737003"/>
                      <a:gd name="connsiteY16" fmla="*/ 716280 h 3524177"/>
                      <a:gd name="connsiteX17" fmla="*/ 320040 w 3737003"/>
                      <a:gd name="connsiteY17" fmla="*/ 792480 h 3524177"/>
                      <a:gd name="connsiteX18" fmla="*/ 335280 w 3737003"/>
                      <a:gd name="connsiteY18" fmla="*/ 792480 h 3524177"/>
                      <a:gd name="connsiteX19" fmla="*/ 335280 w 3737003"/>
                      <a:gd name="connsiteY19" fmla="*/ 889000 h 3524177"/>
                      <a:gd name="connsiteX20" fmla="*/ 375920 w 3737003"/>
                      <a:gd name="connsiteY20" fmla="*/ 889000 h 3524177"/>
                      <a:gd name="connsiteX21" fmla="*/ 375920 w 3737003"/>
                      <a:gd name="connsiteY21" fmla="*/ 949960 h 3524177"/>
                      <a:gd name="connsiteX22" fmla="*/ 375920 w 3737003"/>
                      <a:gd name="connsiteY22" fmla="*/ 949960 h 3524177"/>
                      <a:gd name="connsiteX23" fmla="*/ 416560 w 3737003"/>
                      <a:gd name="connsiteY23" fmla="*/ 949960 h 3524177"/>
                      <a:gd name="connsiteX24" fmla="*/ 416560 w 3737003"/>
                      <a:gd name="connsiteY24" fmla="*/ 1026160 h 3524177"/>
                      <a:gd name="connsiteX25" fmla="*/ 441960 w 3737003"/>
                      <a:gd name="connsiteY25" fmla="*/ 1026160 h 3524177"/>
                      <a:gd name="connsiteX26" fmla="*/ 441960 w 3737003"/>
                      <a:gd name="connsiteY26" fmla="*/ 1092200 h 3524177"/>
                      <a:gd name="connsiteX27" fmla="*/ 472440 w 3737003"/>
                      <a:gd name="connsiteY27" fmla="*/ 1092200 h 3524177"/>
                      <a:gd name="connsiteX28" fmla="*/ 472440 w 3737003"/>
                      <a:gd name="connsiteY28" fmla="*/ 1214120 h 3524177"/>
                      <a:gd name="connsiteX29" fmla="*/ 492760 w 3737003"/>
                      <a:gd name="connsiteY29" fmla="*/ 1234440 h 3524177"/>
                      <a:gd name="connsiteX30" fmla="*/ 492760 w 3737003"/>
                      <a:gd name="connsiteY30" fmla="*/ 1285240 h 3524177"/>
                      <a:gd name="connsiteX31" fmla="*/ 553720 w 3737003"/>
                      <a:gd name="connsiteY31" fmla="*/ 1285240 h 3524177"/>
                      <a:gd name="connsiteX32" fmla="*/ 553720 w 3737003"/>
                      <a:gd name="connsiteY32" fmla="*/ 1386840 h 3524177"/>
                      <a:gd name="connsiteX33" fmla="*/ 553720 w 3737003"/>
                      <a:gd name="connsiteY33" fmla="*/ 1427480 h 3524177"/>
                      <a:gd name="connsiteX34" fmla="*/ 599440 w 3737003"/>
                      <a:gd name="connsiteY34" fmla="*/ 1427480 h 3524177"/>
                      <a:gd name="connsiteX35" fmla="*/ 599440 w 3737003"/>
                      <a:gd name="connsiteY35" fmla="*/ 1493520 h 3524177"/>
                      <a:gd name="connsiteX36" fmla="*/ 650240 w 3737003"/>
                      <a:gd name="connsiteY36" fmla="*/ 1493520 h 3524177"/>
                      <a:gd name="connsiteX37" fmla="*/ 650240 w 3737003"/>
                      <a:gd name="connsiteY37" fmla="*/ 1539240 h 3524177"/>
                      <a:gd name="connsiteX38" fmla="*/ 695960 w 3737003"/>
                      <a:gd name="connsiteY38" fmla="*/ 1539240 h 3524177"/>
                      <a:gd name="connsiteX39" fmla="*/ 695960 w 3737003"/>
                      <a:gd name="connsiteY39" fmla="*/ 1635760 h 3524177"/>
                      <a:gd name="connsiteX40" fmla="*/ 731520 w 3737003"/>
                      <a:gd name="connsiteY40" fmla="*/ 1635760 h 3524177"/>
                      <a:gd name="connsiteX41" fmla="*/ 731520 w 3737003"/>
                      <a:gd name="connsiteY41" fmla="*/ 1706880 h 3524177"/>
                      <a:gd name="connsiteX42" fmla="*/ 762000 w 3737003"/>
                      <a:gd name="connsiteY42" fmla="*/ 1706880 h 3524177"/>
                      <a:gd name="connsiteX43" fmla="*/ 762000 w 3737003"/>
                      <a:gd name="connsiteY43" fmla="*/ 1803400 h 3524177"/>
                      <a:gd name="connsiteX44" fmla="*/ 797560 w 3737003"/>
                      <a:gd name="connsiteY44" fmla="*/ 1803400 h 3524177"/>
                      <a:gd name="connsiteX45" fmla="*/ 797560 w 3737003"/>
                      <a:gd name="connsiteY45" fmla="*/ 1854200 h 3524177"/>
                      <a:gd name="connsiteX46" fmla="*/ 853440 w 3737003"/>
                      <a:gd name="connsiteY46" fmla="*/ 1854200 h 3524177"/>
                      <a:gd name="connsiteX47" fmla="*/ 853440 w 3737003"/>
                      <a:gd name="connsiteY47" fmla="*/ 1940560 h 3524177"/>
                      <a:gd name="connsiteX48" fmla="*/ 894080 w 3737003"/>
                      <a:gd name="connsiteY48" fmla="*/ 1940560 h 3524177"/>
                      <a:gd name="connsiteX49" fmla="*/ 894080 w 3737003"/>
                      <a:gd name="connsiteY49" fmla="*/ 2011680 h 3524177"/>
                      <a:gd name="connsiteX50" fmla="*/ 939800 w 3737003"/>
                      <a:gd name="connsiteY50" fmla="*/ 2011680 h 3524177"/>
                      <a:gd name="connsiteX51" fmla="*/ 939800 w 3737003"/>
                      <a:gd name="connsiteY51" fmla="*/ 2062480 h 3524177"/>
                      <a:gd name="connsiteX52" fmla="*/ 1000760 w 3737003"/>
                      <a:gd name="connsiteY52" fmla="*/ 2062480 h 3524177"/>
                      <a:gd name="connsiteX53" fmla="*/ 1000760 w 3737003"/>
                      <a:gd name="connsiteY53" fmla="*/ 2128520 h 3524177"/>
                      <a:gd name="connsiteX54" fmla="*/ 1000760 w 3737003"/>
                      <a:gd name="connsiteY54" fmla="*/ 2128520 h 3524177"/>
                      <a:gd name="connsiteX55" fmla="*/ 1000760 w 3737003"/>
                      <a:gd name="connsiteY55" fmla="*/ 2214880 h 3524177"/>
                      <a:gd name="connsiteX56" fmla="*/ 1051560 w 3737003"/>
                      <a:gd name="connsiteY56" fmla="*/ 2214880 h 3524177"/>
                      <a:gd name="connsiteX57" fmla="*/ 1051560 w 3737003"/>
                      <a:gd name="connsiteY57" fmla="*/ 2235200 h 3524177"/>
                      <a:gd name="connsiteX58" fmla="*/ 1097280 w 3737003"/>
                      <a:gd name="connsiteY58" fmla="*/ 2235200 h 3524177"/>
                      <a:gd name="connsiteX59" fmla="*/ 1097280 w 3737003"/>
                      <a:gd name="connsiteY59" fmla="*/ 2235200 h 3524177"/>
                      <a:gd name="connsiteX60" fmla="*/ 1132840 w 3737003"/>
                      <a:gd name="connsiteY60" fmla="*/ 2270760 h 3524177"/>
                      <a:gd name="connsiteX61" fmla="*/ 1132840 w 3737003"/>
                      <a:gd name="connsiteY61" fmla="*/ 2341880 h 3524177"/>
                      <a:gd name="connsiteX62" fmla="*/ 1188720 w 3737003"/>
                      <a:gd name="connsiteY62" fmla="*/ 2341880 h 3524177"/>
                      <a:gd name="connsiteX63" fmla="*/ 1188720 w 3737003"/>
                      <a:gd name="connsiteY63" fmla="*/ 2377440 h 3524177"/>
                      <a:gd name="connsiteX64" fmla="*/ 1244600 w 3737003"/>
                      <a:gd name="connsiteY64" fmla="*/ 2377440 h 3524177"/>
                      <a:gd name="connsiteX65" fmla="*/ 1244600 w 3737003"/>
                      <a:gd name="connsiteY65" fmla="*/ 2377440 h 3524177"/>
                      <a:gd name="connsiteX66" fmla="*/ 1290320 w 3737003"/>
                      <a:gd name="connsiteY66" fmla="*/ 2377440 h 3524177"/>
                      <a:gd name="connsiteX67" fmla="*/ 1290320 w 3737003"/>
                      <a:gd name="connsiteY67" fmla="*/ 2479040 h 3524177"/>
                      <a:gd name="connsiteX68" fmla="*/ 1351280 w 3737003"/>
                      <a:gd name="connsiteY68" fmla="*/ 2479040 h 3524177"/>
                      <a:gd name="connsiteX69" fmla="*/ 1351280 w 3737003"/>
                      <a:gd name="connsiteY69" fmla="*/ 2540000 h 3524177"/>
                      <a:gd name="connsiteX70" fmla="*/ 1422400 w 3737003"/>
                      <a:gd name="connsiteY70" fmla="*/ 2540000 h 3524177"/>
                      <a:gd name="connsiteX71" fmla="*/ 1422400 w 3737003"/>
                      <a:gd name="connsiteY71" fmla="*/ 2600960 h 3524177"/>
                      <a:gd name="connsiteX72" fmla="*/ 1549400 w 3737003"/>
                      <a:gd name="connsiteY72" fmla="*/ 2600960 h 3524177"/>
                      <a:gd name="connsiteX73" fmla="*/ 1549400 w 3737003"/>
                      <a:gd name="connsiteY73" fmla="*/ 2651760 h 3524177"/>
                      <a:gd name="connsiteX74" fmla="*/ 1615440 w 3737003"/>
                      <a:gd name="connsiteY74" fmla="*/ 2651760 h 3524177"/>
                      <a:gd name="connsiteX75" fmla="*/ 1615440 w 3737003"/>
                      <a:gd name="connsiteY75" fmla="*/ 2687320 h 3524177"/>
                      <a:gd name="connsiteX76" fmla="*/ 1661160 w 3737003"/>
                      <a:gd name="connsiteY76" fmla="*/ 2687320 h 3524177"/>
                      <a:gd name="connsiteX77" fmla="*/ 1661160 w 3737003"/>
                      <a:gd name="connsiteY77" fmla="*/ 2748280 h 3524177"/>
                      <a:gd name="connsiteX78" fmla="*/ 1681480 w 3737003"/>
                      <a:gd name="connsiteY78" fmla="*/ 2768600 h 3524177"/>
                      <a:gd name="connsiteX79" fmla="*/ 1681480 w 3737003"/>
                      <a:gd name="connsiteY79" fmla="*/ 2834640 h 3524177"/>
                      <a:gd name="connsiteX80" fmla="*/ 1711960 w 3737003"/>
                      <a:gd name="connsiteY80" fmla="*/ 2834640 h 3524177"/>
                      <a:gd name="connsiteX81" fmla="*/ 1711960 w 3737003"/>
                      <a:gd name="connsiteY81" fmla="*/ 2880360 h 3524177"/>
                      <a:gd name="connsiteX82" fmla="*/ 1788160 w 3737003"/>
                      <a:gd name="connsiteY82" fmla="*/ 2880360 h 3524177"/>
                      <a:gd name="connsiteX83" fmla="*/ 1788160 w 3737003"/>
                      <a:gd name="connsiteY83" fmla="*/ 2910840 h 3524177"/>
                      <a:gd name="connsiteX84" fmla="*/ 1823720 w 3737003"/>
                      <a:gd name="connsiteY84" fmla="*/ 2910840 h 3524177"/>
                      <a:gd name="connsiteX85" fmla="*/ 1823720 w 3737003"/>
                      <a:gd name="connsiteY85" fmla="*/ 2961640 h 3524177"/>
                      <a:gd name="connsiteX86" fmla="*/ 1879600 w 3737003"/>
                      <a:gd name="connsiteY86" fmla="*/ 2961640 h 3524177"/>
                      <a:gd name="connsiteX87" fmla="*/ 1879600 w 3737003"/>
                      <a:gd name="connsiteY87" fmla="*/ 2997200 h 3524177"/>
                      <a:gd name="connsiteX88" fmla="*/ 1940560 w 3737003"/>
                      <a:gd name="connsiteY88" fmla="*/ 2997200 h 3524177"/>
                      <a:gd name="connsiteX89" fmla="*/ 1940560 w 3737003"/>
                      <a:gd name="connsiteY89" fmla="*/ 3068320 h 3524177"/>
                      <a:gd name="connsiteX90" fmla="*/ 2108200 w 3737003"/>
                      <a:gd name="connsiteY90" fmla="*/ 3068320 h 3524177"/>
                      <a:gd name="connsiteX91" fmla="*/ 2108200 w 3737003"/>
                      <a:gd name="connsiteY91" fmla="*/ 3068320 h 3524177"/>
                      <a:gd name="connsiteX92" fmla="*/ 2336800 w 3737003"/>
                      <a:gd name="connsiteY92" fmla="*/ 3068320 h 3524177"/>
                      <a:gd name="connsiteX93" fmla="*/ 2336800 w 3737003"/>
                      <a:gd name="connsiteY93" fmla="*/ 3134360 h 3524177"/>
                      <a:gd name="connsiteX94" fmla="*/ 2468880 w 3737003"/>
                      <a:gd name="connsiteY94" fmla="*/ 3134360 h 3524177"/>
                      <a:gd name="connsiteX95" fmla="*/ 2468880 w 3737003"/>
                      <a:gd name="connsiteY95" fmla="*/ 3180080 h 3524177"/>
                      <a:gd name="connsiteX96" fmla="*/ 2697480 w 3737003"/>
                      <a:gd name="connsiteY96" fmla="*/ 3180080 h 3524177"/>
                      <a:gd name="connsiteX97" fmla="*/ 2697480 w 3737003"/>
                      <a:gd name="connsiteY97" fmla="*/ 3230880 h 3524177"/>
                      <a:gd name="connsiteX98" fmla="*/ 2768600 w 3737003"/>
                      <a:gd name="connsiteY98" fmla="*/ 3230880 h 3524177"/>
                      <a:gd name="connsiteX99" fmla="*/ 2768600 w 3737003"/>
                      <a:gd name="connsiteY99" fmla="*/ 3251200 h 3524177"/>
                      <a:gd name="connsiteX100" fmla="*/ 3007360 w 3737003"/>
                      <a:gd name="connsiteY100" fmla="*/ 3251200 h 3524177"/>
                      <a:gd name="connsiteX101" fmla="*/ 3007360 w 3737003"/>
                      <a:gd name="connsiteY101" fmla="*/ 3296920 h 3524177"/>
                      <a:gd name="connsiteX102" fmla="*/ 3053080 w 3737003"/>
                      <a:gd name="connsiteY102" fmla="*/ 3296920 h 3524177"/>
                      <a:gd name="connsiteX103" fmla="*/ 3053080 w 3737003"/>
                      <a:gd name="connsiteY103" fmla="*/ 3347720 h 3524177"/>
                      <a:gd name="connsiteX104" fmla="*/ 3078480 w 3737003"/>
                      <a:gd name="connsiteY104" fmla="*/ 3347720 h 3524177"/>
                      <a:gd name="connsiteX105" fmla="*/ 3078480 w 3737003"/>
                      <a:gd name="connsiteY105" fmla="*/ 3393440 h 3524177"/>
                      <a:gd name="connsiteX106" fmla="*/ 3256280 w 3737003"/>
                      <a:gd name="connsiteY106" fmla="*/ 3393440 h 3524177"/>
                      <a:gd name="connsiteX107" fmla="*/ 3256280 w 3737003"/>
                      <a:gd name="connsiteY107" fmla="*/ 3439160 h 3524177"/>
                      <a:gd name="connsiteX108" fmla="*/ 3703320 w 3737003"/>
                      <a:gd name="connsiteY108" fmla="*/ 3439160 h 3524177"/>
                      <a:gd name="connsiteX109" fmla="*/ 3705740 w 3737003"/>
                      <a:gd name="connsiteY109" fmla="*/ 3524177 h 3524177"/>
                      <a:gd name="connsiteX0" fmla="*/ 0 w 3708895"/>
                      <a:gd name="connsiteY0" fmla="*/ 0 h 3524177"/>
                      <a:gd name="connsiteX1" fmla="*/ 0 w 3708895"/>
                      <a:gd name="connsiteY1" fmla="*/ 116840 h 3524177"/>
                      <a:gd name="connsiteX2" fmla="*/ 66040 w 3708895"/>
                      <a:gd name="connsiteY2" fmla="*/ 116840 h 3524177"/>
                      <a:gd name="connsiteX3" fmla="*/ 66040 w 3708895"/>
                      <a:gd name="connsiteY3" fmla="*/ 218440 h 3524177"/>
                      <a:gd name="connsiteX4" fmla="*/ 137160 w 3708895"/>
                      <a:gd name="connsiteY4" fmla="*/ 218440 h 3524177"/>
                      <a:gd name="connsiteX5" fmla="*/ 137160 w 3708895"/>
                      <a:gd name="connsiteY5" fmla="*/ 294640 h 3524177"/>
                      <a:gd name="connsiteX6" fmla="*/ 147320 w 3708895"/>
                      <a:gd name="connsiteY6" fmla="*/ 294640 h 3524177"/>
                      <a:gd name="connsiteX7" fmla="*/ 147320 w 3708895"/>
                      <a:gd name="connsiteY7" fmla="*/ 421640 h 3524177"/>
                      <a:gd name="connsiteX8" fmla="*/ 198120 w 3708895"/>
                      <a:gd name="connsiteY8" fmla="*/ 421640 h 3524177"/>
                      <a:gd name="connsiteX9" fmla="*/ 198120 w 3708895"/>
                      <a:gd name="connsiteY9" fmla="*/ 543560 h 3524177"/>
                      <a:gd name="connsiteX10" fmla="*/ 198120 w 3708895"/>
                      <a:gd name="connsiteY10" fmla="*/ 543560 h 3524177"/>
                      <a:gd name="connsiteX11" fmla="*/ 243840 w 3708895"/>
                      <a:gd name="connsiteY11" fmla="*/ 589280 h 3524177"/>
                      <a:gd name="connsiteX12" fmla="*/ 259080 w 3708895"/>
                      <a:gd name="connsiteY12" fmla="*/ 604520 h 3524177"/>
                      <a:gd name="connsiteX13" fmla="*/ 259080 w 3708895"/>
                      <a:gd name="connsiteY13" fmla="*/ 665480 h 3524177"/>
                      <a:gd name="connsiteX14" fmla="*/ 294640 w 3708895"/>
                      <a:gd name="connsiteY14" fmla="*/ 665480 h 3524177"/>
                      <a:gd name="connsiteX15" fmla="*/ 294640 w 3708895"/>
                      <a:gd name="connsiteY15" fmla="*/ 716280 h 3524177"/>
                      <a:gd name="connsiteX16" fmla="*/ 320040 w 3708895"/>
                      <a:gd name="connsiteY16" fmla="*/ 716280 h 3524177"/>
                      <a:gd name="connsiteX17" fmla="*/ 320040 w 3708895"/>
                      <a:gd name="connsiteY17" fmla="*/ 792480 h 3524177"/>
                      <a:gd name="connsiteX18" fmla="*/ 335280 w 3708895"/>
                      <a:gd name="connsiteY18" fmla="*/ 792480 h 3524177"/>
                      <a:gd name="connsiteX19" fmla="*/ 335280 w 3708895"/>
                      <a:gd name="connsiteY19" fmla="*/ 889000 h 3524177"/>
                      <a:gd name="connsiteX20" fmla="*/ 375920 w 3708895"/>
                      <a:gd name="connsiteY20" fmla="*/ 889000 h 3524177"/>
                      <a:gd name="connsiteX21" fmla="*/ 375920 w 3708895"/>
                      <a:gd name="connsiteY21" fmla="*/ 949960 h 3524177"/>
                      <a:gd name="connsiteX22" fmla="*/ 375920 w 3708895"/>
                      <a:gd name="connsiteY22" fmla="*/ 949960 h 3524177"/>
                      <a:gd name="connsiteX23" fmla="*/ 416560 w 3708895"/>
                      <a:gd name="connsiteY23" fmla="*/ 949960 h 3524177"/>
                      <a:gd name="connsiteX24" fmla="*/ 416560 w 3708895"/>
                      <a:gd name="connsiteY24" fmla="*/ 1026160 h 3524177"/>
                      <a:gd name="connsiteX25" fmla="*/ 441960 w 3708895"/>
                      <a:gd name="connsiteY25" fmla="*/ 1026160 h 3524177"/>
                      <a:gd name="connsiteX26" fmla="*/ 441960 w 3708895"/>
                      <a:gd name="connsiteY26" fmla="*/ 1092200 h 3524177"/>
                      <a:gd name="connsiteX27" fmla="*/ 472440 w 3708895"/>
                      <a:gd name="connsiteY27" fmla="*/ 1092200 h 3524177"/>
                      <a:gd name="connsiteX28" fmla="*/ 472440 w 3708895"/>
                      <a:gd name="connsiteY28" fmla="*/ 1214120 h 3524177"/>
                      <a:gd name="connsiteX29" fmla="*/ 492760 w 3708895"/>
                      <a:gd name="connsiteY29" fmla="*/ 1234440 h 3524177"/>
                      <a:gd name="connsiteX30" fmla="*/ 492760 w 3708895"/>
                      <a:gd name="connsiteY30" fmla="*/ 1285240 h 3524177"/>
                      <a:gd name="connsiteX31" fmla="*/ 553720 w 3708895"/>
                      <a:gd name="connsiteY31" fmla="*/ 1285240 h 3524177"/>
                      <a:gd name="connsiteX32" fmla="*/ 553720 w 3708895"/>
                      <a:gd name="connsiteY32" fmla="*/ 1386840 h 3524177"/>
                      <a:gd name="connsiteX33" fmla="*/ 553720 w 3708895"/>
                      <a:gd name="connsiteY33" fmla="*/ 1427480 h 3524177"/>
                      <a:gd name="connsiteX34" fmla="*/ 599440 w 3708895"/>
                      <a:gd name="connsiteY34" fmla="*/ 1427480 h 3524177"/>
                      <a:gd name="connsiteX35" fmla="*/ 599440 w 3708895"/>
                      <a:gd name="connsiteY35" fmla="*/ 1493520 h 3524177"/>
                      <a:gd name="connsiteX36" fmla="*/ 650240 w 3708895"/>
                      <a:gd name="connsiteY36" fmla="*/ 1493520 h 3524177"/>
                      <a:gd name="connsiteX37" fmla="*/ 650240 w 3708895"/>
                      <a:gd name="connsiteY37" fmla="*/ 1539240 h 3524177"/>
                      <a:gd name="connsiteX38" fmla="*/ 695960 w 3708895"/>
                      <a:gd name="connsiteY38" fmla="*/ 1539240 h 3524177"/>
                      <a:gd name="connsiteX39" fmla="*/ 695960 w 3708895"/>
                      <a:gd name="connsiteY39" fmla="*/ 1635760 h 3524177"/>
                      <a:gd name="connsiteX40" fmla="*/ 731520 w 3708895"/>
                      <a:gd name="connsiteY40" fmla="*/ 1635760 h 3524177"/>
                      <a:gd name="connsiteX41" fmla="*/ 731520 w 3708895"/>
                      <a:gd name="connsiteY41" fmla="*/ 1706880 h 3524177"/>
                      <a:gd name="connsiteX42" fmla="*/ 762000 w 3708895"/>
                      <a:gd name="connsiteY42" fmla="*/ 1706880 h 3524177"/>
                      <a:gd name="connsiteX43" fmla="*/ 762000 w 3708895"/>
                      <a:gd name="connsiteY43" fmla="*/ 1803400 h 3524177"/>
                      <a:gd name="connsiteX44" fmla="*/ 797560 w 3708895"/>
                      <a:gd name="connsiteY44" fmla="*/ 1803400 h 3524177"/>
                      <a:gd name="connsiteX45" fmla="*/ 797560 w 3708895"/>
                      <a:gd name="connsiteY45" fmla="*/ 1854200 h 3524177"/>
                      <a:gd name="connsiteX46" fmla="*/ 853440 w 3708895"/>
                      <a:gd name="connsiteY46" fmla="*/ 1854200 h 3524177"/>
                      <a:gd name="connsiteX47" fmla="*/ 853440 w 3708895"/>
                      <a:gd name="connsiteY47" fmla="*/ 1940560 h 3524177"/>
                      <a:gd name="connsiteX48" fmla="*/ 894080 w 3708895"/>
                      <a:gd name="connsiteY48" fmla="*/ 1940560 h 3524177"/>
                      <a:gd name="connsiteX49" fmla="*/ 894080 w 3708895"/>
                      <a:gd name="connsiteY49" fmla="*/ 2011680 h 3524177"/>
                      <a:gd name="connsiteX50" fmla="*/ 939800 w 3708895"/>
                      <a:gd name="connsiteY50" fmla="*/ 2011680 h 3524177"/>
                      <a:gd name="connsiteX51" fmla="*/ 939800 w 3708895"/>
                      <a:gd name="connsiteY51" fmla="*/ 2062480 h 3524177"/>
                      <a:gd name="connsiteX52" fmla="*/ 1000760 w 3708895"/>
                      <a:gd name="connsiteY52" fmla="*/ 2062480 h 3524177"/>
                      <a:gd name="connsiteX53" fmla="*/ 1000760 w 3708895"/>
                      <a:gd name="connsiteY53" fmla="*/ 2128520 h 3524177"/>
                      <a:gd name="connsiteX54" fmla="*/ 1000760 w 3708895"/>
                      <a:gd name="connsiteY54" fmla="*/ 2128520 h 3524177"/>
                      <a:gd name="connsiteX55" fmla="*/ 1000760 w 3708895"/>
                      <a:gd name="connsiteY55" fmla="*/ 2214880 h 3524177"/>
                      <a:gd name="connsiteX56" fmla="*/ 1051560 w 3708895"/>
                      <a:gd name="connsiteY56" fmla="*/ 2214880 h 3524177"/>
                      <a:gd name="connsiteX57" fmla="*/ 1051560 w 3708895"/>
                      <a:gd name="connsiteY57" fmla="*/ 2235200 h 3524177"/>
                      <a:gd name="connsiteX58" fmla="*/ 1097280 w 3708895"/>
                      <a:gd name="connsiteY58" fmla="*/ 2235200 h 3524177"/>
                      <a:gd name="connsiteX59" fmla="*/ 1097280 w 3708895"/>
                      <a:gd name="connsiteY59" fmla="*/ 2235200 h 3524177"/>
                      <a:gd name="connsiteX60" fmla="*/ 1132840 w 3708895"/>
                      <a:gd name="connsiteY60" fmla="*/ 2270760 h 3524177"/>
                      <a:gd name="connsiteX61" fmla="*/ 1132840 w 3708895"/>
                      <a:gd name="connsiteY61" fmla="*/ 2341880 h 3524177"/>
                      <a:gd name="connsiteX62" fmla="*/ 1188720 w 3708895"/>
                      <a:gd name="connsiteY62" fmla="*/ 2341880 h 3524177"/>
                      <a:gd name="connsiteX63" fmla="*/ 1188720 w 3708895"/>
                      <a:gd name="connsiteY63" fmla="*/ 2377440 h 3524177"/>
                      <a:gd name="connsiteX64" fmla="*/ 1244600 w 3708895"/>
                      <a:gd name="connsiteY64" fmla="*/ 2377440 h 3524177"/>
                      <a:gd name="connsiteX65" fmla="*/ 1244600 w 3708895"/>
                      <a:gd name="connsiteY65" fmla="*/ 2377440 h 3524177"/>
                      <a:gd name="connsiteX66" fmla="*/ 1290320 w 3708895"/>
                      <a:gd name="connsiteY66" fmla="*/ 2377440 h 3524177"/>
                      <a:gd name="connsiteX67" fmla="*/ 1290320 w 3708895"/>
                      <a:gd name="connsiteY67" fmla="*/ 2479040 h 3524177"/>
                      <a:gd name="connsiteX68" fmla="*/ 1351280 w 3708895"/>
                      <a:gd name="connsiteY68" fmla="*/ 2479040 h 3524177"/>
                      <a:gd name="connsiteX69" fmla="*/ 1351280 w 3708895"/>
                      <a:gd name="connsiteY69" fmla="*/ 2540000 h 3524177"/>
                      <a:gd name="connsiteX70" fmla="*/ 1422400 w 3708895"/>
                      <a:gd name="connsiteY70" fmla="*/ 2540000 h 3524177"/>
                      <a:gd name="connsiteX71" fmla="*/ 1422400 w 3708895"/>
                      <a:gd name="connsiteY71" fmla="*/ 2600960 h 3524177"/>
                      <a:gd name="connsiteX72" fmla="*/ 1549400 w 3708895"/>
                      <a:gd name="connsiteY72" fmla="*/ 2600960 h 3524177"/>
                      <a:gd name="connsiteX73" fmla="*/ 1549400 w 3708895"/>
                      <a:gd name="connsiteY73" fmla="*/ 2651760 h 3524177"/>
                      <a:gd name="connsiteX74" fmla="*/ 1615440 w 3708895"/>
                      <a:gd name="connsiteY74" fmla="*/ 2651760 h 3524177"/>
                      <a:gd name="connsiteX75" fmla="*/ 1615440 w 3708895"/>
                      <a:gd name="connsiteY75" fmla="*/ 2687320 h 3524177"/>
                      <a:gd name="connsiteX76" fmla="*/ 1661160 w 3708895"/>
                      <a:gd name="connsiteY76" fmla="*/ 2687320 h 3524177"/>
                      <a:gd name="connsiteX77" fmla="*/ 1661160 w 3708895"/>
                      <a:gd name="connsiteY77" fmla="*/ 2748280 h 3524177"/>
                      <a:gd name="connsiteX78" fmla="*/ 1681480 w 3708895"/>
                      <a:gd name="connsiteY78" fmla="*/ 2768600 h 3524177"/>
                      <a:gd name="connsiteX79" fmla="*/ 1681480 w 3708895"/>
                      <a:gd name="connsiteY79" fmla="*/ 2834640 h 3524177"/>
                      <a:gd name="connsiteX80" fmla="*/ 1711960 w 3708895"/>
                      <a:gd name="connsiteY80" fmla="*/ 2834640 h 3524177"/>
                      <a:gd name="connsiteX81" fmla="*/ 1711960 w 3708895"/>
                      <a:gd name="connsiteY81" fmla="*/ 2880360 h 3524177"/>
                      <a:gd name="connsiteX82" fmla="*/ 1788160 w 3708895"/>
                      <a:gd name="connsiteY82" fmla="*/ 2880360 h 3524177"/>
                      <a:gd name="connsiteX83" fmla="*/ 1788160 w 3708895"/>
                      <a:gd name="connsiteY83" fmla="*/ 2910840 h 3524177"/>
                      <a:gd name="connsiteX84" fmla="*/ 1823720 w 3708895"/>
                      <a:gd name="connsiteY84" fmla="*/ 2910840 h 3524177"/>
                      <a:gd name="connsiteX85" fmla="*/ 1823720 w 3708895"/>
                      <a:gd name="connsiteY85" fmla="*/ 2961640 h 3524177"/>
                      <a:gd name="connsiteX86" fmla="*/ 1879600 w 3708895"/>
                      <a:gd name="connsiteY86" fmla="*/ 2961640 h 3524177"/>
                      <a:gd name="connsiteX87" fmla="*/ 1879600 w 3708895"/>
                      <a:gd name="connsiteY87" fmla="*/ 2997200 h 3524177"/>
                      <a:gd name="connsiteX88" fmla="*/ 1940560 w 3708895"/>
                      <a:gd name="connsiteY88" fmla="*/ 2997200 h 3524177"/>
                      <a:gd name="connsiteX89" fmla="*/ 1940560 w 3708895"/>
                      <a:gd name="connsiteY89" fmla="*/ 3068320 h 3524177"/>
                      <a:gd name="connsiteX90" fmla="*/ 2108200 w 3708895"/>
                      <a:gd name="connsiteY90" fmla="*/ 3068320 h 3524177"/>
                      <a:gd name="connsiteX91" fmla="*/ 2108200 w 3708895"/>
                      <a:gd name="connsiteY91" fmla="*/ 3068320 h 3524177"/>
                      <a:gd name="connsiteX92" fmla="*/ 2336800 w 3708895"/>
                      <a:gd name="connsiteY92" fmla="*/ 3068320 h 3524177"/>
                      <a:gd name="connsiteX93" fmla="*/ 2336800 w 3708895"/>
                      <a:gd name="connsiteY93" fmla="*/ 3134360 h 3524177"/>
                      <a:gd name="connsiteX94" fmla="*/ 2468880 w 3708895"/>
                      <a:gd name="connsiteY94" fmla="*/ 3134360 h 3524177"/>
                      <a:gd name="connsiteX95" fmla="*/ 2468880 w 3708895"/>
                      <a:gd name="connsiteY95" fmla="*/ 3180080 h 3524177"/>
                      <a:gd name="connsiteX96" fmla="*/ 2697480 w 3708895"/>
                      <a:gd name="connsiteY96" fmla="*/ 3180080 h 3524177"/>
                      <a:gd name="connsiteX97" fmla="*/ 2697480 w 3708895"/>
                      <a:gd name="connsiteY97" fmla="*/ 3230880 h 3524177"/>
                      <a:gd name="connsiteX98" fmla="*/ 2768600 w 3708895"/>
                      <a:gd name="connsiteY98" fmla="*/ 3230880 h 3524177"/>
                      <a:gd name="connsiteX99" fmla="*/ 2768600 w 3708895"/>
                      <a:gd name="connsiteY99" fmla="*/ 3251200 h 3524177"/>
                      <a:gd name="connsiteX100" fmla="*/ 3007360 w 3708895"/>
                      <a:gd name="connsiteY100" fmla="*/ 3251200 h 3524177"/>
                      <a:gd name="connsiteX101" fmla="*/ 3007360 w 3708895"/>
                      <a:gd name="connsiteY101" fmla="*/ 3296920 h 3524177"/>
                      <a:gd name="connsiteX102" fmla="*/ 3053080 w 3708895"/>
                      <a:gd name="connsiteY102" fmla="*/ 3296920 h 3524177"/>
                      <a:gd name="connsiteX103" fmla="*/ 3053080 w 3708895"/>
                      <a:gd name="connsiteY103" fmla="*/ 3347720 h 3524177"/>
                      <a:gd name="connsiteX104" fmla="*/ 3078480 w 3708895"/>
                      <a:gd name="connsiteY104" fmla="*/ 3347720 h 3524177"/>
                      <a:gd name="connsiteX105" fmla="*/ 3078480 w 3708895"/>
                      <a:gd name="connsiteY105" fmla="*/ 3393440 h 3524177"/>
                      <a:gd name="connsiteX106" fmla="*/ 3256280 w 3708895"/>
                      <a:gd name="connsiteY106" fmla="*/ 3393440 h 3524177"/>
                      <a:gd name="connsiteX107" fmla="*/ 3256280 w 3708895"/>
                      <a:gd name="connsiteY107" fmla="*/ 3439160 h 3524177"/>
                      <a:gd name="connsiteX108" fmla="*/ 3703320 w 3708895"/>
                      <a:gd name="connsiteY108" fmla="*/ 3439160 h 3524177"/>
                      <a:gd name="connsiteX109" fmla="*/ 3705740 w 3708895"/>
                      <a:gd name="connsiteY109" fmla="*/ 3524177 h 3524177"/>
                      <a:gd name="connsiteX0" fmla="*/ 0 w 3708895"/>
                      <a:gd name="connsiteY0" fmla="*/ 0 h 3524177"/>
                      <a:gd name="connsiteX1" fmla="*/ 0 w 3708895"/>
                      <a:gd name="connsiteY1" fmla="*/ 116840 h 3524177"/>
                      <a:gd name="connsiteX2" fmla="*/ 66040 w 3708895"/>
                      <a:gd name="connsiteY2" fmla="*/ 116840 h 3524177"/>
                      <a:gd name="connsiteX3" fmla="*/ 66040 w 3708895"/>
                      <a:gd name="connsiteY3" fmla="*/ 218440 h 3524177"/>
                      <a:gd name="connsiteX4" fmla="*/ 137160 w 3708895"/>
                      <a:gd name="connsiteY4" fmla="*/ 218440 h 3524177"/>
                      <a:gd name="connsiteX5" fmla="*/ 137160 w 3708895"/>
                      <a:gd name="connsiteY5" fmla="*/ 294640 h 3524177"/>
                      <a:gd name="connsiteX6" fmla="*/ 147320 w 3708895"/>
                      <a:gd name="connsiteY6" fmla="*/ 294640 h 3524177"/>
                      <a:gd name="connsiteX7" fmla="*/ 147320 w 3708895"/>
                      <a:gd name="connsiteY7" fmla="*/ 421640 h 3524177"/>
                      <a:gd name="connsiteX8" fmla="*/ 198120 w 3708895"/>
                      <a:gd name="connsiteY8" fmla="*/ 421640 h 3524177"/>
                      <a:gd name="connsiteX9" fmla="*/ 198120 w 3708895"/>
                      <a:gd name="connsiteY9" fmla="*/ 543560 h 3524177"/>
                      <a:gd name="connsiteX10" fmla="*/ 198120 w 3708895"/>
                      <a:gd name="connsiteY10" fmla="*/ 543560 h 3524177"/>
                      <a:gd name="connsiteX11" fmla="*/ 243840 w 3708895"/>
                      <a:gd name="connsiteY11" fmla="*/ 589280 h 3524177"/>
                      <a:gd name="connsiteX12" fmla="*/ 259080 w 3708895"/>
                      <a:gd name="connsiteY12" fmla="*/ 604520 h 3524177"/>
                      <a:gd name="connsiteX13" fmla="*/ 259080 w 3708895"/>
                      <a:gd name="connsiteY13" fmla="*/ 665480 h 3524177"/>
                      <a:gd name="connsiteX14" fmla="*/ 294640 w 3708895"/>
                      <a:gd name="connsiteY14" fmla="*/ 665480 h 3524177"/>
                      <a:gd name="connsiteX15" fmla="*/ 294640 w 3708895"/>
                      <a:gd name="connsiteY15" fmla="*/ 716280 h 3524177"/>
                      <a:gd name="connsiteX16" fmla="*/ 320040 w 3708895"/>
                      <a:gd name="connsiteY16" fmla="*/ 716280 h 3524177"/>
                      <a:gd name="connsiteX17" fmla="*/ 320040 w 3708895"/>
                      <a:gd name="connsiteY17" fmla="*/ 792480 h 3524177"/>
                      <a:gd name="connsiteX18" fmla="*/ 335280 w 3708895"/>
                      <a:gd name="connsiteY18" fmla="*/ 792480 h 3524177"/>
                      <a:gd name="connsiteX19" fmla="*/ 335280 w 3708895"/>
                      <a:gd name="connsiteY19" fmla="*/ 889000 h 3524177"/>
                      <a:gd name="connsiteX20" fmla="*/ 375920 w 3708895"/>
                      <a:gd name="connsiteY20" fmla="*/ 889000 h 3524177"/>
                      <a:gd name="connsiteX21" fmla="*/ 375920 w 3708895"/>
                      <a:gd name="connsiteY21" fmla="*/ 949960 h 3524177"/>
                      <a:gd name="connsiteX22" fmla="*/ 375920 w 3708895"/>
                      <a:gd name="connsiteY22" fmla="*/ 949960 h 3524177"/>
                      <a:gd name="connsiteX23" fmla="*/ 416560 w 3708895"/>
                      <a:gd name="connsiteY23" fmla="*/ 949960 h 3524177"/>
                      <a:gd name="connsiteX24" fmla="*/ 416560 w 3708895"/>
                      <a:gd name="connsiteY24" fmla="*/ 1026160 h 3524177"/>
                      <a:gd name="connsiteX25" fmla="*/ 441960 w 3708895"/>
                      <a:gd name="connsiteY25" fmla="*/ 1026160 h 3524177"/>
                      <a:gd name="connsiteX26" fmla="*/ 441960 w 3708895"/>
                      <a:gd name="connsiteY26" fmla="*/ 1092200 h 3524177"/>
                      <a:gd name="connsiteX27" fmla="*/ 472440 w 3708895"/>
                      <a:gd name="connsiteY27" fmla="*/ 1092200 h 3524177"/>
                      <a:gd name="connsiteX28" fmla="*/ 472440 w 3708895"/>
                      <a:gd name="connsiteY28" fmla="*/ 1214120 h 3524177"/>
                      <a:gd name="connsiteX29" fmla="*/ 492760 w 3708895"/>
                      <a:gd name="connsiteY29" fmla="*/ 1234440 h 3524177"/>
                      <a:gd name="connsiteX30" fmla="*/ 492760 w 3708895"/>
                      <a:gd name="connsiteY30" fmla="*/ 1285240 h 3524177"/>
                      <a:gd name="connsiteX31" fmla="*/ 553720 w 3708895"/>
                      <a:gd name="connsiteY31" fmla="*/ 1285240 h 3524177"/>
                      <a:gd name="connsiteX32" fmla="*/ 553720 w 3708895"/>
                      <a:gd name="connsiteY32" fmla="*/ 1386840 h 3524177"/>
                      <a:gd name="connsiteX33" fmla="*/ 553720 w 3708895"/>
                      <a:gd name="connsiteY33" fmla="*/ 1427480 h 3524177"/>
                      <a:gd name="connsiteX34" fmla="*/ 599440 w 3708895"/>
                      <a:gd name="connsiteY34" fmla="*/ 1427480 h 3524177"/>
                      <a:gd name="connsiteX35" fmla="*/ 599440 w 3708895"/>
                      <a:gd name="connsiteY35" fmla="*/ 1493520 h 3524177"/>
                      <a:gd name="connsiteX36" fmla="*/ 650240 w 3708895"/>
                      <a:gd name="connsiteY36" fmla="*/ 1493520 h 3524177"/>
                      <a:gd name="connsiteX37" fmla="*/ 650240 w 3708895"/>
                      <a:gd name="connsiteY37" fmla="*/ 1539240 h 3524177"/>
                      <a:gd name="connsiteX38" fmla="*/ 695960 w 3708895"/>
                      <a:gd name="connsiteY38" fmla="*/ 1539240 h 3524177"/>
                      <a:gd name="connsiteX39" fmla="*/ 695960 w 3708895"/>
                      <a:gd name="connsiteY39" fmla="*/ 1635760 h 3524177"/>
                      <a:gd name="connsiteX40" fmla="*/ 731520 w 3708895"/>
                      <a:gd name="connsiteY40" fmla="*/ 1635760 h 3524177"/>
                      <a:gd name="connsiteX41" fmla="*/ 731520 w 3708895"/>
                      <a:gd name="connsiteY41" fmla="*/ 1706880 h 3524177"/>
                      <a:gd name="connsiteX42" fmla="*/ 762000 w 3708895"/>
                      <a:gd name="connsiteY42" fmla="*/ 1706880 h 3524177"/>
                      <a:gd name="connsiteX43" fmla="*/ 762000 w 3708895"/>
                      <a:gd name="connsiteY43" fmla="*/ 1803400 h 3524177"/>
                      <a:gd name="connsiteX44" fmla="*/ 797560 w 3708895"/>
                      <a:gd name="connsiteY44" fmla="*/ 1803400 h 3524177"/>
                      <a:gd name="connsiteX45" fmla="*/ 797560 w 3708895"/>
                      <a:gd name="connsiteY45" fmla="*/ 1854200 h 3524177"/>
                      <a:gd name="connsiteX46" fmla="*/ 853440 w 3708895"/>
                      <a:gd name="connsiteY46" fmla="*/ 1854200 h 3524177"/>
                      <a:gd name="connsiteX47" fmla="*/ 853440 w 3708895"/>
                      <a:gd name="connsiteY47" fmla="*/ 1940560 h 3524177"/>
                      <a:gd name="connsiteX48" fmla="*/ 894080 w 3708895"/>
                      <a:gd name="connsiteY48" fmla="*/ 1940560 h 3524177"/>
                      <a:gd name="connsiteX49" fmla="*/ 894080 w 3708895"/>
                      <a:gd name="connsiteY49" fmla="*/ 2011680 h 3524177"/>
                      <a:gd name="connsiteX50" fmla="*/ 939800 w 3708895"/>
                      <a:gd name="connsiteY50" fmla="*/ 2011680 h 3524177"/>
                      <a:gd name="connsiteX51" fmla="*/ 939800 w 3708895"/>
                      <a:gd name="connsiteY51" fmla="*/ 2062480 h 3524177"/>
                      <a:gd name="connsiteX52" fmla="*/ 1000760 w 3708895"/>
                      <a:gd name="connsiteY52" fmla="*/ 2062480 h 3524177"/>
                      <a:gd name="connsiteX53" fmla="*/ 1000760 w 3708895"/>
                      <a:gd name="connsiteY53" fmla="*/ 2128520 h 3524177"/>
                      <a:gd name="connsiteX54" fmla="*/ 1000760 w 3708895"/>
                      <a:gd name="connsiteY54" fmla="*/ 2128520 h 3524177"/>
                      <a:gd name="connsiteX55" fmla="*/ 1000760 w 3708895"/>
                      <a:gd name="connsiteY55" fmla="*/ 2214880 h 3524177"/>
                      <a:gd name="connsiteX56" fmla="*/ 1051560 w 3708895"/>
                      <a:gd name="connsiteY56" fmla="*/ 2214880 h 3524177"/>
                      <a:gd name="connsiteX57" fmla="*/ 1051560 w 3708895"/>
                      <a:gd name="connsiteY57" fmla="*/ 2235200 h 3524177"/>
                      <a:gd name="connsiteX58" fmla="*/ 1097280 w 3708895"/>
                      <a:gd name="connsiteY58" fmla="*/ 2235200 h 3524177"/>
                      <a:gd name="connsiteX59" fmla="*/ 1097280 w 3708895"/>
                      <a:gd name="connsiteY59" fmla="*/ 2235200 h 3524177"/>
                      <a:gd name="connsiteX60" fmla="*/ 1132840 w 3708895"/>
                      <a:gd name="connsiteY60" fmla="*/ 2270760 h 3524177"/>
                      <a:gd name="connsiteX61" fmla="*/ 1132840 w 3708895"/>
                      <a:gd name="connsiteY61" fmla="*/ 2341880 h 3524177"/>
                      <a:gd name="connsiteX62" fmla="*/ 1188720 w 3708895"/>
                      <a:gd name="connsiteY62" fmla="*/ 2341880 h 3524177"/>
                      <a:gd name="connsiteX63" fmla="*/ 1188720 w 3708895"/>
                      <a:gd name="connsiteY63" fmla="*/ 2377440 h 3524177"/>
                      <a:gd name="connsiteX64" fmla="*/ 1244600 w 3708895"/>
                      <a:gd name="connsiteY64" fmla="*/ 2377440 h 3524177"/>
                      <a:gd name="connsiteX65" fmla="*/ 1244600 w 3708895"/>
                      <a:gd name="connsiteY65" fmla="*/ 2377440 h 3524177"/>
                      <a:gd name="connsiteX66" fmla="*/ 1290320 w 3708895"/>
                      <a:gd name="connsiteY66" fmla="*/ 2377440 h 3524177"/>
                      <a:gd name="connsiteX67" fmla="*/ 1290320 w 3708895"/>
                      <a:gd name="connsiteY67" fmla="*/ 2479040 h 3524177"/>
                      <a:gd name="connsiteX68" fmla="*/ 1351280 w 3708895"/>
                      <a:gd name="connsiteY68" fmla="*/ 2479040 h 3524177"/>
                      <a:gd name="connsiteX69" fmla="*/ 1351280 w 3708895"/>
                      <a:gd name="connsiteY69" fmla="*/ 2540000 h 3524177"/>
                      <a:gd name="connsiteX70" fmla="*/ 1422400 w 3708895"/>
                      <a:gd name="connsiteY70" fmla="*/ 2540000 h 3524177"/>
                      <a:gd name="connsiteX71" fmla="*/ 1422400 w 3708895"/>
                      <a:gd name="connsiteY71" fmla="*/ 2600960 h 3524177"/>
                      <a:gd name="connsiteX72" fmla="*/ 1549400 w 3708895"/>
                      <a:gd name="connsiteY72" fmla="*/ 2600960 h 3524177"/>
                      <a:gd name="connsiteX73" fmla="*/ 1549400 w 3708895"/>
                      <a:gd name="connsiteY73" fmla="*/ 2651760 h 3524177"/>
                      <a:gd name="connsiteX74" fmla="*/ 1615440 w 3708895"/>
                      <a:gd name="connsiteY74" fmla="*/ 2651760 h 3524177"/>
                      <a:gd name="connsiteX75" fmla="*/ 1615440 w 3708895"/>
                      <a:gd name="connsiteY75" fmla="*/ 2687320 h 3524177"/>
                      <a:gd name="connsiteX76" fmla="*/ 1661160 w 3708895"/>
                      <a:gd name="connsiteY76" fmla="*/ 2687320 h 3524177"/>
                      <a:gd name="connsiteX77" fmla="*/ 1661160 w 3708895"/>
                      <a:gd name="connsiteY77" fmla="*/ 2748280 h 3524177"/>
                      <a:gd name="connsiteX78" fmla="*/ 1681480 w 3708895"/>
                      <a:gd name="connsiteY78" fmla="*/ 2768600 h 3524177"/>
                      <a:gd name="connsiteX79" fmla="*/ 1681480 w 3708895"/>
                      <a:gd name="connsiteY79" fmla="*/ 2834640 h 3524177"/>
                      <a:gd name="connsiteX80" fmla="*/ 1711960 w 3708895"/>
                      <a:gd name="connsiteY80" fmla="*/ 2834640 h 3524177"/>
                      <a:gd name="connsiteX81" fmla="*/ 1711960 w 3708895"/>
                      <a:gd name="connsiteY81" fmla="*/ 2880360 h 3524177"/>
                      <a:gd name="connsiteX82" fmla="*/ 1788160 w 3708895"/>
                      <a:gd name="connsiteY82" fmla="*/ 2880360 h 3524177"/>
                      <a:gd name="connsiteX83" fmla="*/ 1788160 w 3708895"/>
                      <a:gd name="connsiteY83" fmla="*/ 2910840 h 3524177"/>
                      <a:gd name="connsiteX84" fmla="*/ 1823720 w 3708895"/>
                      <a:gd name="connsiteY84" fmla="*/ 2910840 h 3524177"/>
                      <a:gd name="connsiteX85" fmla="*/ 1823720 w 3708895"/>
                      <a:gd name="connsiteY85" fmla="*/ 2961640 h 3524177"/>
                      <a:gd name="connsiteX86" fmla="*/ 1879600 w 3708895"/>
                      <a:gd name="connsiteY86" fmla="*/ 2961640 h 3524177"/>
                      <a:gd name="connsiteX87" fmla="*/ 1879600 w 3708895"/>
                      <a:gd name="connsiteY87" fmla="*/ 2997200 h 3524177"/>
                      <a:gd name="connsiteX88" fmla="*/ 1940560 w 3708895"/>
                      <a:gd name="connsiteY88" fmla="*/ 2997200 h 3524177"/>
                      <a:gd name="connsiteX89" fmla="*/ 1940560 w 3708895"/>
                      <a:gd name="connsiteY89" fmla="*/ 3068320 h 3524177"/>
                      <a:gd name="connsiteX90" fmla="*/ 2108200 w 3708895"/>
                      <a:gd name="connsiteY90" fmla="*/ 3068320 h 3524177"/>
                      <a:gd name="connsiteX91" fmla="*/ 2108200 w 3708895"/>
                      <a:gd name="connsiteY91" fmla="*/ 3068320 h 3524177"/>
                      <a:gd name="connsiteX92" fmla="*/ 2336800 w 3708895"/>
                      <a:gd name="connsiteY92" fmla="*/ 3068320 h 3524177"/>
                      <a:gd name="connsiteX93" fmla="*/ 2336800 w 3708895"/>
                      <a:gd name="connsiteY93" fmla="*/ 3134360 h 3524177"/>
                      <a:gd name="connsiteX94" fmla="*/ 2468880 w 3708895"/>
                      <a:gd name="connsiteY94" fmla="*/ 3134360 h 3524177"/>
                      <a:gd name="connsiteX95" fmla="*/ 2468880 w 3708895"/>
                      <a:gd name="connsiteY95" fmla="*/ 3180080 h 3524177"/>
                      <a:gd name="connsiteX96" fmla="*/ 2697480 w 3708895"/>
                      <a:gd name="connsiteY96" fmla="*/ 3180080 h 3524177"/>
                      <a:gd name="connsiteX97" fmla="*/ 2697480 w 3708895"/>
                      <a:gd name="connsiteY97" fmla="*/ 3230880 h 3524177"/>
                      <a:gd name="connsiteX98" fmla="*/ 2768600 w 3708895"/>
                      <a:gd name="connsiteY98" fmla="*/ 3230880 h 3524177"/>
                      <a:gd name="connsiteX99" fmla="*/ 2768600 w 3708895"/>
                      <a:gd name="connsiteY99" fmla="*/ 3251200 h 3524177"/>
                      <a:gd name="connsiteX100" fmla="*/ 3007360 w 3708895"/>
                      <a:gd name="connsiteY100" fmla="*/ 3251200 h 3524177"/>
                      <a:gd name="connsiteX101" fmla="*/ 3007360 w 3708895"/>
                      <a:gd name="connsiteY101" fmla="*/ 3296920 h 3524177"/>
                      <a:gd name="connsiteX102" fmla="*/ 3053080 w 3708895"/>
                      <a:gd name="connsiteY102" fmla="*/ 3296920 h 3524177"/>
                      <a:gd name="connsiteX103" fmla="*/ 3053080 w 3708895"/>
                      <a:gd name="connsiteY103" fmla="*/ 3347720 h 3524177"/>
                      <a:gd name="connsiteX104" fmla="*/ 3078480 w 3708895"/>
                      <a:gd name="connsiteY104" fmla="*/ 3347720 h 3524177"/>
                      <a:gd name="connsiteX105" fmla="*/ 3078480 w 3708895"/>
                      <a:gd name="connsiteY105" fmla="*/ 3393440 h 3524177"/>
                      <a:gd name="connsiteX106" fmla="*/ 3256280 w 3708895"/>
                      <a:gd name="connsiteY106" fmla="*/ 3393440 h 3524177"/>
                      <a:gd name="connsiteX107" fmla="*/ 3256280 w 3708895"/>
                      <a:gd name="connsiteY107" fmla="*/ 3439160 h 3524177"/>
                      <a:gd name="connsiteX108" fmla="*/ 3703320 w 3708895"/>
                      <a:gd name="connsiteY108" fmla="*/ 3439160 h 3524177"/>
                      <a:gd name="connsiteX109" fmla="*/ 3705740 w 3708895"/>
                      <a:gd name="connsiteY109" fmla="*/ 3524177 h 3524177"/>
                      <a:gd name="connsiteX110" fmla="*/ 3705740 w 3708895"/>
                      <a:gd name="connsiteY110" fmla="*/ 3524177 h 3524177"/>
                      <a:gd name="connsiteX0" fmla="*/ 0 w 3969900"/>
                      <a:gd name="connsiteY0" fmla="*/ 0 h 3524177"/>
                      <a:gd name="connsiteX1" fmla="*/ 0 w 3969900"/>
                      <a:gd name="connsiteY1" fmla="*/ 116840 h 3524177"/>
                      <a:gd name="connsiteX2" fmla="*/ 66040 w 3969900"/>
                      <a:gd name="connsiteY2" fmla="*/ 116840 h 3524177"/>
                      <a:gd name="connsiteX3" fmla="*/ 66040 w 3969900"/>
                      <a:gd name="connsiteY3" fmla="*/ 218440 h 3524177"/>
                      <a:gd name="connsiteX4" fmla="*/ 137160 w 3969900"/>
                      <a:gd name="connsiteY4" fmla="*/ 218440 h 3524177"/>
                      <a:gd name="connsiteX5" fmla="*/ 137160 w 3969900"/>
                      <a:gd name="connsiteY5" fmla="*/ 294640 h 3524177"/>
                      <a:gd name="connsiteX6" fmla="*/ 147320 w 3969900"/>
                      <a:gd name="connsiteY6" fmla="*/ 294640 h 3524177"/>
                      <a:gd name="connsiteX7" fmla="*/ 147320 w 3969900"/>
                      <a:gd name="connsiteY7" fmla="*/ 421640 h 3524177"/>
                      <a:gd name="connsiteX8" fmla="*/ 198120 w 3969900"/>
                      <a:gd name="connsiteY8" fmla="*/ 421640 h 3524177"/>
                      <a:gd name="connsiteX9" fmla="*/ 198120 w 3969900"/>
                      <a:gd name="connsiteY9" fmla="*/ 543560 h 3524177"/>
                      <a:gd name="connsiteX10" fmla="*/ 198120 w 3969900"/>
                      <a:gd name="connsiteY10" fmla="*/ 543560 h 3524177"/>
                      <a:gd name="connsiteX11" fmla="*/ 243840 w 3969900"/>
                      <a:gd name="connsiteY11" fmla="*/ 589280 h 3524177"/>
                      <a:gd name="connsiteX12" fmla="*/ 259080 w 3969900"/>
                      <a:gd name="connsiteY12" fmla="*/ 604520 h 3524177"/>
                      <a:gd name="connsiteX13" fmla="*/ 259080 w 3969900"/>
                      <a:gd name="connsiteY13" fmla="*/ 665480 h 3524177"/>
                      <a:gd name="connsiteX14" fmla="*/ 294640 w 3969900"/>
                      <a:gd name="connsiteY14" fmla="*/ 665480 h 3524177"/>
                      <a:gd name="connsiteX15" fmla="*/ 294640 w 3969900"/>
                      <a:gd name="connsiteY15" fmla="*/ 716280 h 3524177"/>
                      <a:gd name="connsiteX16" fmla="*/ 320040 w 3969900"/>
                      <a:gd name="connsiteY16" fmla="*/ 716280 h 3524177"/>
                      <a:gd name="connsiteX17" fmla="*/ 320040 w 3969900"/>
                      <a:gd name="connsiteY17" fmla="*/ 792480 h 3524177"/>
                      <a:gd name="connsiteX18" fmla="*/ 335280 w 3969900"/>
                      <a:gd name="connsiteY18" fmla="*/ 792480 h 3524177"/>
                      <a:gd name="connsiteX19" fmla="*/ 335280 w 3969900"/>
                      <a:gd name="connsiteY19" fmla="*/ 889000 h 3524177"/>
                      <a:gd name="connsiteX20" fmla="*/ 375920 w 3969900"/>
                      <a:gd name="connsiteY20" fmla="*/ 889000 h 3524177"/>
                      <a:gd name="connsiteX21" fmla="*/ 375920 w 3969900"/>
                      <a:gd name="connsiteY21" fmla="*/ 949960 h 3524177"/>
                      <a:gd name="connsiteX22" fmla="*/ 375920 w 3969900"/>
                      <a:gd name="connsiteY22" fmla="*/ 949960 h 3524177"/>
                      <a:gd name="connsiteX23" fmla="*/ 416560 w 3969900"/>
                      <a:gd name="connsiteY23" fmla="*/ 949960 h 3524177"/>
                      <a:gd name="connsiteX24" fmla="*/ 416560 w 3969900"/>
                      <a:gd name="connsiteY24" fmla="*/ 1026160 h 3524177"/>
                      <a:gd name="connsiteX25" fmla="*/ 441960 w 3969900"/>
                      <a:gd name="connsiteY25" fmla="*/ 1026160 h 3524177"/>
                      <a:gd name="connsiteX26" fmla="*/ 441960 w 3969900"/>
                      <a:gd name="connsiteY26" fmla="*/ 1092200 h 3524177"/>
                      <a:gd name="connsiteX27" fmla="*/ 472440 w 3969900"/>
                      <a:gd name="connsiteY27" fmla="*/ 1092200 h 3524177"/>
                      <a:gd name="connsiteX28" fmla="*/ 472440 w 3969900"/>
                      <a:gd name="connsiteY28" fmla="*/ 1214120 h 3524177"/>
                      <a:gd name="connsiteX29" fmla="*/ 492760 w 3969900"/>
                      <a:gd name="connsiteY29" fmla="*/ 1234440 h 3524177"/>
                      <a:gd name="connsiteX30" fmla="*/ 492760 w 3969900"/>
                      <a:gd name="connsiteY30" fmla="*/ 1285240 h 3524177"/>
                      <a:gd name="connsiteX31" fmla="*/ 553720 w 3969900"/>
                      <a:gd name="connsiteY31" fmla="*/ 1285240 h 3524177"/>
                      <a:gd name="connsiteX32" fmla="*/ 553720 w 3969900"/>
                      <a:gd name="connsiteY32" fmla="*/ 1386840 h 3524177"/>
                      <a:gd name="connsiteX33" fmla="*/ 553720 w 3969900"/>
                      <a:gd name="connsiteY33" fmla="*/ 1427480 h 3524177"/>
                      <a:gd name="connsiteX34" fmla="*/ 599440 w 3969900"/>
                      <a:gd name="connsiteY34" fmla="*/ 1427480 h 3524177"/>
                      <a:gd name="connsiteX35" fmla="*/ 599440 w 3969900"/>
                      <a:gd name="connsiteY35" fmla="*/ 1493520 h 3524177"/>
                      <a:gd name="connsiteX36" fmla="*/ 650240 w 3969900"/>
                      <a:gd name="connsiteY36" fmla="*/ 1493520 h 3524177"/>
                      <a:gd name="connsiteX37" fmla="*/ 650240 w 3969900"/>
                      <a:gd name="connsiteY37" fmla="*/ 1539240 h 3524177"/>
                      <a:gd name="connsiteX38" fmla="*/ 695960 w 3969900"/>
                      <a:gd name="connsiteY38" fmla="*/ 1539240 h 3524177"/>
                      <a:gd name="connsiteX39" fmla="*/ 695960 w 3969900"/>
                      <a:gd name="connsiteY39" fmla="*/ 1635760 h 3524177"/>
                      <a:gd name="connsiteX40" fmla="*/ 731520 w 3969900"/>
                      <a:gd name="connsiteY40" fmla="*/ 1635760 h 3524177"/>
                      <a:gd name="connsiteX41" fmla="*/ 731520 w 3969900"/>
                      <a:gd name="connsiteY41" fmla="*/ 1706880 h 3524177"/>
                      <a:gd name="connsiteX42" fmla="*/ 762000 w 3969900"/>
                      <a:gd name="connsiteY42" fmla="*/ 1706880 h 3524177"/>
                      <a:gd name="connsiteX43" fmla="*/ 762000 w 3969900"/>
                      <a:gd name="connsiteY43" fmla="*/ 1803400 h 3524177"/>
                      <a:gd name="connsiteX44" fmla="*/ 797560 w 3969900"/>
                      <a:gd name="connsiteY44" fmla="*/ 1803400 h 3524177"/>
                      <a:gd name="connsiteX45" fmla="*/ 797560 w 3969900"/>
                      <a:gd name="connsiteY45" fmla="*/ 1854200 h 3524177"/>
                      <a:gd name="connsiteX46" fmla="*/ 853440 w 3969900"/>
                      <a:gd name="connsiteY46" fmla="*/ 1854200 h 3524177"/>
                      <a:gd name="connsiteX47" fmla="*/ 853440 w 3969900"/>
                      <a:gd name="connsiteY47" fmla="*/ 1940560 h 3524177"/>
                      <a:gd name="connsiteX48" fmla="*/ 894080 w 3969900"/>
                      <a:gd name="connsiteY48" fmla="*/ 1940560 h 3524177"/>
                      <a:gd name="connsiteX49" fmla="*/ 894080 w 3969900"/>
                      <a:gd name="connsiteY49" fmla="*/ 2011680 h 3524177"/>
                      <a:gd name="connsiteX50" fmla="*/ 939800 w 3969900"/>
                      <a:gd name="connsiteY50" fmla="*/ 2011680 h 3524177"/>
                      <a:gd name="connsiteX51" fmla="*/ 939800 w 3969900"/>
                      <a:gd name="connsiteY51" fmla="*/ 2062480 h 3524177"/>
                      <a:gd name="connsiteX52" fmla="*/ 1000760 w 3969900"/>
                      <a:gd name="connsiteY52" fmla="*/ 2062480 h 3524177"/>
                      <a:gd name="connsiteX53" fmla="*/ 1000760 w 3969900"/>
                      <a:gd name="connsiteY53" fmla="*/ 2128520 h 3524177"/>
                      <a:gd name="connsiteX54" fmla="*/ 1000760 w 3969900"/>
                      <a:gd name="connsiteY54" fmla="*/ 2128520 h 3524177"/>
                      <a:gd name="connsiteX55" fmla="*/ 1000760 w 3969900"/>
                      <a:gd name="connsiteY55" fmla="*/ 2214880 h 3524177"/>
                      <a:gd name="connsiteX56" fmla="*/ 1051560 w 3969900"/>
                      <a:gd name="connsiteY56" fmla="*/ 2214880 h 3524177"/>
                      <a:gd name="connsiteX57" fmla="*/ 1051560 w 3969900"/>
                      <a:gd name="connsiteY57" fmla="*/ 2235200 h 3524177"/>
                      <a:gd name="connsiteX58" fmla="*/ 1097280 w 3969900"/>
                      <a:gd name="connsiteY58" fmla="*/ 2235200 h 3524177"/>
                      <a:gd name="connsiteX59" fmla="*/ 1097280 w 3969900"/>
                      <a:gd name="connsiteY59" fmla="*/ 2235200 h 3524177"/>
                      <a:gd name="connsiteX60" fmla="*/ 1132840 w 3969900"/>
                      <a:gd name="connsiteY60" fmla="*/ 2270760 h 3524177"/>
                      <a:gd name="connsiteX61" fmla="*/ 1132840 w 3969900"/>
                      <a:gd name="connsiteY61" fmla="*/ 2341880 h 3524177"/>
                      <a:gd name="connsiteX62" fmla="*/ 1188720 w 3969900"/>
                      <a:gd name="connsiteY62" fmla="*/ 2341880 h 3524177"/>
                      <a:gd name="connsiteX63" fmla="*/ 1188720 w 3969900"/>
                      <a:gd name="connsiteY63" fmla="*/ 2377440 h 3524177"/>
                      <a:gd name="connsiteX64" fmla="*/ 1244600 w 3969900"/>
                      <a:gd name="connsiteY64" fmla="*/ 2377440 h 3524177"/>
                      <a:gd name="connsiteX65" fmla="*/ 1244600 w 3969900"/>
                      <a:gd name="connsiteY65" fmla="*/ 2377440 h 3524177"/>
                      <a:gd name="connsiteX66" fmla="*/ 1290320 w 3969900"/>
                      <a:gd name="connsiteY66" fmla="*/ 2377440 h 3524177"/>
                      <a:gd name="connsiteX67" fmla="*/ 1290320 w 3969900"/>
                      <a:gd name="connsiteY67" fmla="*/ 2479040 h 3524177"/>
                      <a:gd name="connsiteX68" fmla="*/ 1351280 w 3969900"/>
                      <a:gd name="connsiteY68" fmla="*/ 2479040 h 3524177"/>
                      <a:gd name="connsiteX69" fmla="*/ 1351280 w 3969900"/>
                      <a:gd name="connsiteY69" fmla="*/ 2540000 h 3524177"/>
                      <a:gd name="connsiteX70" fmla="*/ 1422400 w 3969900"/>
                      <a:gd name="connsiteY70" fmla="*/ 2540000 h 3524177"/>
                      <a:gd name="connsiteX71" fmla="*/ 1422400 w 3969900"/>
                      <a:gd name="connsiteY71" fmla="*/ 2600960 h 3524177"/>
                      <a:gd name="connsiteX72" fmla="*/ 1549400 w 3969900"/>
                      <a:gd name="connsiteY72" fmla="*/ 2600960 h 3524177"/>
                      <a:gd name="connsiteX73" fmla="*/ 1549400 w 3969900"/>
                      <a:gd name="connsiteY73" fmla="*/ 2651760 h 3524177"/>
                      <a:gd name="connsiteX74" fmla="*/ 1615440 w 3969900"/>
                      <a:gd name="connsiteY74" fmla="*/ 2651760 h 3524177"/>
                      <a:gd name="connsiteX75" fmla="*/ 1615440 w 3969900"/>
                      <a:gd name="connsiteY75" fmla="*/ 2687320 h 3524177"/>
                      <a:gd name="connsiteX76" fmla="*/ 1661160 w 3969900"/>
                      <a:gd name="connsiteY76" fmla="*/ 2687320 h 3524177"/>
                      <a:gd name="connsiteX77" fmla="*/ 1661160 w 3969900"/>
                      <a:gd name="connsiteY77" fmla="*/ 2748280 h 3524177"/>
                      <a:gd name="connsiteX78" fmla="*/ 1681480 w 3969900"/>
                      <a:gd name="connsiteY78" fmla="*/ 2768600 h 3524177"/>
                      <a:gd name="connsiteX79" fmla="*/ 1681480 w 3969900"/>
                      <a:gd name="connsiteY79" fmla="*/ 2834640 h 3524177"/>
                      <a:gd name="connsiteX80" fmla="*/ 1711960 w 3969900"/>
                      <a:gd name="connsiteY80" fmla="*/ 2834640 h 3524177"/>
                      <a:gd name="connsiteX81" fmla="*/ 1711960 w 3969900"/>
                      <a:gd name="connsiteY81" fmla="*/ 2880360 h 3524177"/>
                      <a:gd name="connsiteX82" fmla="*/ 1788160 w 3969900"/>
                      <a:gd name="connsiteY82" fmla="*/ 2880360 h 3524177"/>
                      <a:gd name="connsiteX83" fmla="*/ 1788160 w 3969900"/>
                      <a:gd name="connsiteY83" fmla="*/ 2910840 h 3524177"/>
                      <a:gd name="connsiteX84" fmla="*/ 1823720 w 3969900"/>
                      <a:gd name="connsiteY84" fmla="*/ 2910840 h 3524177"/>
                      <a:gd name="connsiteX85" fmla="*/ 1823720 w 3969900"/>
                      <a:gd name="connsiteY85" fmla="*/ 2961640 h 3524177"/>
                      <a:gd name="connsiteX86" fmla="*/ 1879600 w 3969900"/>
                      <a:gd name="connsiteY86" fmla="*/ 2961640 h 3524177"/>
                      <a:gd name="connsiteX87" fmla="*/ 1879600 w 3969900"/>
                      <a:gd name="connsiteY87" fmla="*/ 2997200 h 3524177"/>
                      <a:gd name="connsiteX88" fmla="*/ 1940560 w 3969900"/>
                      <a:gd name="connsiteY88" fmla="*/ 2997200 h 3524177"/>
                      <a:gd name="connsiteX89" fmla="*/ 1940560 w 3969900"/>
                      <a:gd name="connsiteY89" fmla="*/ 3068320 h 3524177"/>
                      <a:gd name="connsiteX90" fmla="*/ 2108200 w 3969900"/>
                      <a:gd name="connsiteY90" fmla="*/ 3068320 h 3524177"/>
                      <a:gd name="connsiteX91" fmla="*/ 2108200 w 3969900"/>
                      <a:gd name="connsiteY91" fmla="*/ 3068320 h 3524177"/>
                      <a:gd name="connsiteX92" fmla="*/ 2336800 w 3969900"/>
                      <a:gd name="connsiteY92" fmla="*/ 3068320 h 3524177"/>
                      <a:gd name="connsiteX93" fmla="*/ 2336800 w 3969900"/>
                      <a:gd name="connsiteY93" fmla="*/ 3134360 h 3524177"/>
                      <a:gd name="connsiteX94" fmla="*/ 2468880 w 3969900"/>
                      <a:gd name="connsiteY94" fmla="*/ 3134360 h 3524177"/>
                      <a:gd name="connsiteX95" fmla="*/ 2468880 w 3969900"/>
                      <a:gd name="connsiteY95" fmla="*/ 3180080 h 3524177"/>
                      <a:gd name="connsiteX96" fmla="*/ 2697480 w 3969900"/>
                      <a:gd name="connsiteY96" fmla="*/ 3180080 h 3524177"/>
                      <a:gd name="connsiteX97" fmla="*/ 2697480 w 3969900"/>
                      <a:gd name="connsiteY97" fmla="*/ 3230880 h 3524177"/>
                      <a:gd name="connsiteX98" fmla="*/ 2768600 w 3969900"/>
                      <a:gd name="connsiteY98" fmla="*/ 3230880 h 3524177"/>
                      <a:gd name="connsiteX99" fmla="*/ 2768600 w 3969900"/>
                      <a:gd name="connsiteY99" fmla="*/ 3251200 h 3524177"/>
                      <a:gd name="connsiteX100" fmla="*/ 3007360 w 3969900"/>
                      <a:gd name="connsiteY100" fmla="*/ 3251200 h 3524177"/>
                      <a:gd name="connsiteX101" fmla="*/ 3007360 w 3969900"/>
                      <a:gd name="connsiteY101" fmla="*/ 3296920 h 3524177"/>
                      <a:gd name="connsiteX102" fmla="*/ 3053080 w 3969900"/>
                      <a:gd name="connsiteY102" fmla="*/ 3296920 h 3524177"/>
                      <a:gd name="connsiteX103" fmla="*/ 3053080 w 3969900"/>
                      <a:gd name="connsiteY103" fmla="*/ 3347720 h 3524177"/>
                      <a:gd name="connsiteX104" fmla="*/ 3078480 w 3969900"/>
                      <a:gd name="connsiteY104" fmla="*/ 3347720 h 3524177"/>
                      <a:gd name="connsiteX105" fmla="*/ 3078480 w 3969900"/>
                      <a:gd name="connsiteY105" fmla="*/ 3393440 h 3524177"/>
                      <a:gd name="connsiteX106" fmla="*/ 3256280 w 3969900"/>
                      <a:gd name="connsiteY106" fmla="*/ 3393440 h 3524177"/>
                      <a:gd name="connsiteX107" fmla="*/ 3256280 w 3969900"/>
                      <a:gd name="connsiteY107" fmla="*/ 3439160 h 3524177"/>
                      <a:gd name="connsiteX108" fmla="*/ 3703320 w 3969900"/>
                      <a:gd name="connsiteY108" fmla="*/ 3439160 h 3524177"/>
                      <a:gd name="connsiteX109" fmla="*/ 3705740 w 3969900"/>
                      <a:gd name="connsiteY109" fmla="*/ 3524177 h 3524177"/>
                      <a:gd name="connsiteX110" fmla="*/ 3969900 w 3969900"/>
                      <a:gd name="connsiteY110" fmla="*/ 3521637 h 3524177"/>
                      <a:gd name="connsiteX0" fmla="*/ 0 w 3990989"/>
                      <a:gd name="connsiteY0" fmla="*/ 0 h 3524177"/>
                      <a:gd name="connsiteX1" fmla="*/ 0 w 3990989"/>
                      <a:gd name="connsiteY1" fmla="*/ 116840 h 3524177"/>
                      <a:gd name="connsiteX2" fmla="*/ 66040 w 3990989"/>
                      <a:gd name="connsiteY2" fmla="*/ 116840 h 3524177"/>
                      <a:gd name="connsiteX3" fmla="*/ 66040 w 3990989"/>
                      <a:gd name="connsiteY3" fmla="*/ 218440 h 3524177"/>
                      <a:gd name="connsiteX4" fmla="*/ 137160 w 3990989"/>
                      <a:gd name="connsiteY4" fmla="*/ 218440 h 3524177"/>
                      <a:gd name="connsiteX5" fmla="*/ 137160 w 3990989"/>
                      <a:gd name="connsiteY5" fmla="*/ 294640 h 3524177"/>
                      <a:gd name="connsiteX6" fmla="*/ 147320 w 3990989"/>
                      <a:gd name="connsiteY6" fmla="*/ 294640 h 3524177"/>
                      <a:gd name="connsiteX7" fmla="*/ 147320 w 3990989"/>
                      <a:gd name="connsiteY7" fmla="*/ 421640 h 3524177"/>
                      <a:gd name="connsiteX8" fmla="*/ 198120 w 3990989"/>
                      <a:gd name="connsiteY8" fmla="*/ 421640 h 3524177"/>
                      <a:gd name="connsiteX9" fmla="*/ 198120 w 3990989"/>
                      <a:gd name="connsiteY9" fmla="*/ 543560 h 3524177"/>
                      <a:gd name="connsiteX10" fmla="*/ 198120 w 3990989"/>
                      <a:gd name="connsiteY10" fmla="*/ 543560 h 3524177"/>
                      <a:gd name="connsiteX11" fmla="*/ 243840 w 3990989"/>
                      <a:gd name="connsiteY11" fmla="*/ 589280 h 3524177"/>
                      <a:gd name="connsiteX12" fmla="*/ 259080 w 3990989"/>
                      <a:gd name="connsiteY12" fmla="*/ 604520 h 3524177"/>
                      <a:gd name="connsiteX13" fmla="*/ 259080 w 3990989"/>
                      <a:gd name="connsiteY13" fmla="*/ 665480 h 3524177"/>
                      <a:gd name="connsiteX14" fmla="*/ 294640 w 3990989"/>
                      <a:gd name="connsiteY14" fmla="*/ 665480 h 3524177"/>
                      <a:gd name="connsiteX15" fmla="*/ 294640 w 3990989"/>
                      <a:gd name="connsiteY15" fmla="*/ 716280 h 3524177"/>
                      <a:gd name="connsiteX16" fmla="*/ 320040 w 3990989"/>
                      <a:gd name="connsiteY16" fmla="*/ 716280 h 3524177"/>
                      <a:gd name="connsiteX17" fmla="*/ 320040 w 3990989"/>
                      <a:gd name="connsiteY17" fmla="*/ 792480 h 3524177"/>
                      <a:gd name="connsiteX18" fmla="*/ 335280 w 3990989"/>
                      <a:gd name="connsiteY18" fmla="*/ 792480 h 3524177"/>
                      <a:gd name="connsiteX19" fmla="*/ 335280 w 3990989"/>
                      <a:gd name="connsiteY19" fmla="*/ 889000 h 3524177"/>
                      <a:gd name="connsiteX20" fmla="*/ 375920 w 3990989"/>
                      <a:gd name="connsiteY20" fmla="*/ 889000 h 3524177"/>
                      <a:gd name="connsiteX21" fmla="*/ 375920 w 3990989"/>
                      <a:gd name="connsiteY21" fmla="*/ 949960 h 3524177"/>
                      <a:gd name="connsiteX22" fmla="*/ 375920 w 3990989"/>
                      <a:gd name="connsiteY22" fmla="*/ 949960 h 3524177"/>
                      <a:gd name="connsiteX23" fmla="*/ 416560 w 3990989"/>
                      <a:gd name="connsiteY23" fmla="*/ 949960 h 3524177"/>
                      <a:gd name="connsiteX24" fmla="*/ 416560 w 3990989"/>
                      <a:gd name="connsiteY24" fmla="*/ 1026160 h 3524177"/>
                      <a:gd name="connsiteX25" fmla="*/ 441960 w 3990989"/>
                      <a:gd name="connsiteY25" fmla="*/ 1026160 h 3524177"/>
                      <a:gd name="connsiteX26" fmla="*/ 441960 w 3990989"/>
                      <a:gd name="connsiteY26" fmla="*/ 1092200 h 3524177"/>
                      <a:gd name="connsiteX27" fmla="*/ 472440 w 3990989"/>
                      <a:gd name="connsiteY27" fmla="*/ 1092200 h 3524177"/>
                      <a:gd name="connsiteX28" fmla="*/ 472440 w 3990989"/>
                      <a:gd name="connsiteY28" fmla="*/ 1214120 h 3524177"/>
                      <a:gd name="connsiteX29" fmla="*/ 492760 w 3990989"/>
                      <a:gd name="connsiteY29" fmla="*/ 1234440 h 3524177"/>
                      <a:gd name="connsiteX30" fmla="*/ 492760 w 3990989"/>
                      <a:gd name="connsiteY30" fmla="*/ 1285240 h 3524177"/>
                      <a:gd name="connsiteX31" fmla="*/ 553720 w 3990989"/>
                      <a:gd name="connsiteY31" fmla="*/ 1285240 h 3524177"/>
                      <a:gd name="connsiteX32" fmla="*/ 553720 w 3990989"/>
                      <a:gd name="connsiteY32" fmla="*/ 1386840 h 3524177"/>
                      <a:gd name="connsiteX33" fmla="*/ 553720 w 3990989"/>
                      <a:gd name="connsiteY33" fmla="*/ 1427480 h 3524177"/>
                      <a:gd name="connsiteX34" fmla="*/ 599440 w 3990989"/>
                      <a:gd name="connsiteY34" fmla="*/ 1427480 h 3524177"/>
                      <a:gd name="connsiteX35" fmla="*/ 599440 w 3990989"/>
                      <a:gd name="connsiteY35" fmla="*/ 1493520 h 3524177"/>
                      <a:gd name="connsiteX36" fmla="*/ 650240 w 3990989"/>
                      <a:gd name="connsiteY36" fmla="*/ 1493520 h 3524177"/>
                      <a:gd name="connsiteX37" fmla="*/ 650240 w 3990989"/>
                      <a:gd name="connsiteY37" fmla="*/ 1539240 h 3524177"/>
                      <a:gd name="connsiteX38" fmla="*/ 695960 w 3990989"/>
                      <a:gd name="connsiteY38" fmla="*/ 1539240 h 3524177"/>
                      <a:gd name="connsiteX39" fmla="*/ 695960 w 3990989"/>
                      <a:gd name="connsiteY39" fmla="*/ 1635760 h 3524177"/>
                      <a:gd name="connsiteX40" fmla="*/ 731520 w 3990989"/>
                      <a:gd name="connsiteY40" fmla="*/ 1635760 h 3524177"/>
                      <a:gd name="connsiteX41" fmla="*/ 731520 w 3990989"/>
                      <a:gd name="connsiteY41" fmla="*/ 1706880 h 3524177"/>
                      <a:gd name="connsiteX42" fmla="*/ 762000 w 3990989"/>
                      <a:gd name="connsiteY42" fmla="*/ 1706880 h 3524177"/>
                      <a:gd name="connsiteX43" fmla="*/ 762000 w 3990989"/>
                      <a:gd name="connsiteY43" fmla="*/ 1803400 h 3524177"/>
                      <a:gd name="connsiteX44" fmla="*/ 797560 w 3990989"/>
                      <a:gd name="connsiteY44" fmla="*/ 1803400 h 3524177"/>
                      <a:gd name="connsiteX45" fmla="*/ 797560 w 3990989"/>
                      <a:gd name="connsiteY45" fmla="*/ 1854200 h 3524177"/>
                      <a:gd name="connsiteX46" fmla="*/ 853440 w 3990989"/>
                      <a:gd name="connsiteY46" fmla="*/ 1854200 h 3524177"/>
                      <a:gd name="connsiteX47" fmla="*/ 853440 w 3990989"/>
                      <a:gd name="connsiteY47" fmla="*/ 1940560 h 3524177"/>
                      <a:gd name="connsiteX48" fmla="*/ 894080 w 3990989"/>
                      <a:gd name="connsiteY48" fmla="*/ 1940560 h 3524177"/>
                      <a:gd name="connsiteX49" fmla="*/ 894080 w 3990989"/>
                      <a:gd name="connsiteY49" fmla="*/ 2011680 h 3524177"/>
                      <a:gd name="connsiteX50" fmla="*/ 939800 w 3990989"/>
                      <a:gd name="connsiteY50" fmla="*/ 2011680 h 3524177"/>
                      <a:gd name="connsiteX51" fmla="*/ 939800 w 3990989"/>
                      <a:gd name="connsiteY51" fmla="*/ 2062480 h 3524177"/>
                      <a:gd name="connsiteX52" fmla="*/ 1000760 w 3990989"/>
                      <a:gd name="connsiteY52" fmla="*/ 2062480 h 3524177"/>
                      <a:gd name="connsiteX53" fmla="*/ 1000760 w 3990989"/>
                      <a:gd name="connsiteY53" fmla="*/ 2128520 h 3524177"/>
                      <a:gd name="connsiteX54" fmla="*/ 1000760 w 3990989"/>
                      <a:gd name="connsiteY54" fmla="*/ 2128520 h 3524177"/>
                      <a:gd name="connsiteX55" fmla="*/ 1000760 w 3990989"/>
                      <a:gd name="connsiteY55" fmla="*/ 2214880 h 3524177"/>
                      <a:gd name="connsiteX56" fmla="*/ 1051560 w 3990989"/>
                      <a:gd name="connsiteY56" fmla="*/ 2214880 h 3524177"/>
                      <a:gd name="connsiteX57" fmla="*/ 1051560 w 3990989"/>
                      <a:gd name="connsiteY57" fmla="*/ 2235200 h 3524177"/>
                      <a:gd name="connsiteX58" fmla="*/ 1097280 w 3990989"/>
                      <a:gd name="connsiteY58" fmla="*/ 2235200 h 3524177"/>
                      <a:gd name="connsiteX59" fmla="*/ 1097280 w 3990989"/>
                      <a:gd name="connsiteY59" fmla="*/ 2235200 h 3524177"/>
                      <a:gd name="connsiteX60" fmla="*/ 1132840 w 3990989"/>
                      <a:gd name="connsiteY60" fmla="*/ 2270760 h 3524177"/>
                      <a:gd name="connsiteX61" fmla="*/ 1132840 w 3990989"/>
                      <a:gd name="connsiteY61" fmla="*/ 2341880 h 3524177"/>
                      <a:gd name="connsiteX62" fmla="*/ 1188720 w 3990989"/>
                      <a:gd name="connsiteY62" fmla="*/ 2341880 h 3524177"/>
                      <a:gd name="connsiteX63" fmla="*/ 1188720 w 3990989"/>
                      <a:gd name="connsiteY63" fmla="*/ 2377440 h 3524177"/>
                      <a:gd name="connsiteX64" fmla="*/ 1244600 w 3990989"/>
                      <a:gd name="connsiteY64" fmla="*/ 2377440 h 3524177"/>
                      <a:gd name="connsiteX65" fmla="*/ 1244600 w 3990989"/>
                      <a:gd name="connsiteY65" fmla="*/ 2377440 h 3524177"/>
                      <a:gd name="connsiteX66" fmla="*/ 1290320 w 3990989"/>
                      <a:gd name="connsiteY66" fmla="*/ 2377440 h 3524177"/>
                      <a:gd name="connsiteX67" fmla="*/ 1290320 w 3990989"/>
                      <a:gd name="connsiteY67" fmla="*/ 2479040 h 3524177"/>
                      <a:gd name="connsiteX68" fmla="*/ 1351280 w 3990989"/>
                      <a:gd name="connsiteY68" fmla="*/ 2479040 h 3524177"/>
                      <a:gd name="connsiteX69" fmla="*/ 1351280 w 3990989"/>
                      <a:gd name="connsiteY69" fmla="*/ 2540000 h 3524177"/>
                      <a:gd name="connsiteX70" fmla="*/ 1422400 w 3990989"/>
                      <a:gd name="connsiteY70" fmla="*/ 2540000 h 3524177"/>
                      <a:gd name="connsiteX71" fmla="*/ 1422400 w 3990989"/>
                      <a:gd name="connsiteY71" fmla="*/ 2600960 h 3524177"/>
                      <a:gd name="connsiteX72" fmla="*/ 1549400 w 3990989"/>
                      <a:gd name="connsiteY72" fmla="*/ 2600960 h 3524177"/>
                      <a:gd name="connsiteX73" fmla="*/ 1549400 w 3990989"/>
                      <a:gd name="connsiteY73" fmla="*/ 2651760 h 3524177"/>
                      <a:gd name="connsiteX74" fmla="*/ 1615440 w 3990989"/>
                      <a:gd name="connsiteY74" fmla="*/ 2651760 h 3524177"/>
                      <a:gd name="connsiteX75" fmla="*/ 1615440 w 3990989"/>
                      <a:gd name="connsiteY75" fmla="*/ 2687320 h 3524177"/>
                      <a:gd name="connsiteX76" fmla="*/ 1661160 w 3990989"/>
                      <a:gd name="connsiteY76" fmla="*/ 2687320 h 3524177"/>
                      <a:gd name="connsiteX77" fmla="*/ 1661160 w 3990989"/>
                      <a:gd name="connsiteY77" fmla="*/ 2748280 h 3524177"/>
                      <a:gd name="connsiteX78" fmla="*/ 1681480 w 3990989"/>
                      <a:gd name="connsiteY78" fmla="*/ 2768600 h 3524177"/>
                      <a:gd name="connsiteX79" fmla="*/ 1681480 w 3990989"/>
                      <a:gd name="connsiteY79" fmla="*/ 2834640 h 3524177"/>
                      <a:gd name="connsiteX80" fmla="*/ 1711960 w 3990989"/>
                      <a:gd name="connsiteY80" fmla="*/ 2834640 h 3524177"/>
                      <a:gd name="connsiteX81" fmla="*/ 1711960 w 3990989"/>
                      <a:gd name="connsiteY81" fmla="*/ 2880360 h 3524177"/>
                      <a:gd name="connsiteX82" fmla="*/ 1788160 w 3990989"/>
                      <a:gd name="connsiteY82" fmla="*/ 2880360 h 3524177"/>
                      <a:gd name="connsiteX83" fmla="*/ 1788160 w 3990989"/>
                      <a:gd name="connsiteY83" fmla="*/ 2910840 h 3524177"/>
                      <a:gd name="connsiteX84" fmla="*/ 1823720 w 3990989"/>
                      <a:gd name="connsiteY84" fmla="*/ 2910840 h 3524177"/>
                      <a:gd name="connsiteX85" fmla="*/ 1823720 w 3990989"/>
                      <a:gd name="connsiteY85" fmla="*/ 2961640 h 3524177"/>
                      <a:gd name="connsiteX86" fmla="*/ 1879600 w 3990989"/>
                      <a:gd name="connsiteY86" fmla="*/ 2961640 h 3524177"/>
                      <a:gd name="connsiteX87" fmla="*/ 1879600 w 3990989"/>
                      <a:gd name="connsiteY87" fmla="*/ 2997200 h 3524177"/>
                      <a:gd name="connsiteX88" fmla="*/ 1940560 w 3990989"/>
                      <a:gd name="connsiteY88" fmla="*/ 2997200 h 3524177"/>
                      <a:gd name="connsiteX89" fmla="*/ 1940560 w 3990989"/>
                      <a:gd name="connsiteY89" fmla="*/ 3068320 h 3524177"/>
                      <a:gd name="connsiteX90" fmla="*/ 2108200 w 3990989"/>
                      <a:gd name="connsiteY90" fmla="*/ 3068320 h 3524177"/>
                      <a:gd name="connsiteX91" fmla="*/ 2108200 w 3990989"/>
                      <a:gd name="connsiteY91" fmla="*/ 3068320 h 3524177"/>
                      <a:gd name="connsiteX92" fmla="*/ 2336800 w 3990989"/>
                      <a:gd name="connsiteY92" fmla="*/ 3068320 h 3524177"/>
                      <a:gd name="connsiteX93" fmla="*/ 2336800 w 3990989"/>
                      <a:gd name="connsiteY93" fmla="*/ 3134360 h 3524177"/>
                      <a:gd name="connsiteX94" fmla="*/ 2468880 w 3990989"/>
                      <a:gd name="connsiteY94" fmla="*/ 3134360 h 3524177"/>
                      <a:gd name="connsiteX95" fmla="*/ 2468880 w 3990989"/>
                      <a:gd name="connsiteY95" fmla="*/ 3180080 h 3524177"/>
                      <a:gd name="connsiteX96" fmla="*/ 2697480 w 3990989"/>
                      <a:gd name="connsiteY96" fmla="*/ 3180080 h 3524177"/>
                      <a:gd name="connsiteX97" fmla="*/ 2697480 w 3990989"/>
                      <a:gd name="connsiteY97" fmla="*/ 3230880 h 3524177"/>
                      <a:gd name="connsiteX98" fmla="*/ 2768600 w 3990989"/>
                      <a:gd name="connsiteY98" fmla="*/ 3230880 h 3524177"/>
                      <a:gd name="connsiteX99" fmla="*/ 2768600 w 3990989"/>
                      <a:gd name="connsiteY99" fmla="*/ 3251200 h 3524177"/>
                      <a:gd name="connsiteX100" fmla="*/ 3007360 w 3990989"/>
                      <a:gd name="connsiteY100" fmla="*/ 3251200 h 3524177"/>
                      <a:gd name="connsiteX101" fmla="*/ 3007360 w 3990989"/>
                      <a:gd name="connsiteY101" fmla="*/ 3296920 h 3524177"/>
                      <a:gd name="connsiteX102" fmla="*/ 3053080 w 3990989"/>
                      <a:gd name="connsiteY102" fmla="*/ 3296920 h 3524177"/>
                      <a:gd name="connsiteX103" fmla="*/ 3053080 w 3990989"/>
                      <a:gd name="connsiteY103" fmla="*/ 3347720 h 3524177"/>
                      <a:gd name="connsiteX104" fmla="*/ 3078480 w 3990989"/>
                      <a:gd name="connsiteY104" fmla="*/ 3347720 h 3524177"/>
                      <a:gd name="connsiteX105" fmla="*/ 3078480 w 3990989"/>
                      <a:gd name="connsiteY105" fmla="*/ 3393440 h 3524177"/>
                      <a:gd name="connsiteX106" fmla="*/ 3256280 w 3990989"/>
                      <a:gd name="connsiteY106" fmla="*/ 3393440 h 3524177"/>
                      <a:gd name="connsiteX107" fmla="*/ 3256280 w 3990989"/>
                      <a:gd name="connsiteY107" fmla="*/ 3439160 h 3524177"/>
                      <a:gd name="connsiteX108" fmla="*/ 3703320 w 3990989"/>
                      <a:gd name="connsiteY108" fmla="*/ 3439160 h 3524177"/>
                      <a:gd name="connsiteX109" fmla="*/ 3705740 w 3990989"/>
                      <a:gd name="connsiteY109" fmla="*/ 3524177 h 3524177"/>
                      <a:gd name="connsiteX110" fmla="*/ 3969900 w 3990989"/>
                      <a:gd name="connsiteY110" fmla="*/ 3521637 h 3524177"/>
                      <a:gd name="connsiteX111" fmla="*/ 3974979 w 3990989"/>
                      <a:gd name="connsiteY111" fmla="*/ 3519097 h 3524177"/>
                      <a:gd name="connsiteX0" fmla="*/ 0 w 3989610"/>
                      <a:gd name="connsiteY0" fmla="*/ 0 h 3610539"/>
                      <a:gd name="connsiteX1" fmla="*/ 0 w 3989610"/>
                      <a:gd name="connsiteY1" fmla="*/ 116840 h 3610539"/>
                      <a:gd name="connsiteX2" fmla="*/ 66040 w 3989610"/>
                      <a:gd name="connsiteY2" fmla="*/ 116840 h 3610539"/>
                      <a:gd name="connsiteX3" fmla="*/ 66040 w 3989610"/>
                      <a:gd name="connsiteY3" fmla="*/ 218440 h 3610539"/>
                      <a:gd name="connsiteX4" fmla="*/ 137160 w 3989610"/>
                      <a:gd name="connsiteY4" fmla="*/ 218440 h 3610539"/>
                      <a:gd name="connsiteX5" fmla="*/ 137160 w 3989610"/>
                      <a:gd name="connsiteY5" fmla="*/ 294640 h 3610539"/>
                      <a:gd name="connsiteX6" fmla="*/ 147320 w 3989610"/>
                      <a:gd name="connsiteY6" fmla="*/ 294640 h 3610539"/>
                      <a:gd name="connsiteX7" fmla="*/ 147320 w 3989610"/>
                      <a:gd name="connsiteY7" fmla="*/ 421640 h 3610539"/>
                      <a:gd name="connsiteX8" fmla="*/ 198120 w 3989610"/>
                      <a:gd name="connsiteY8" fmla="*/ 421640 h 3610539"/>
                      <a:gd name="connsiteX9" fmla="*/ 198120 w 3989610"/>
                      <a:gd name="connsiteY9" fmla="*/ 543560 h 3610539"/>
                      <a:gd name="connsiteX10" fmla="*/ 198120 w 3989610"/>
                      <a:gd name="connsiteY10" fmla="*/ 543560 h 3610539"/>
                      <a:gd name="connsiteX11" fmla="*/ 243840 w 3989610"/>
                      <a:gd name="connsiteY11" fmla="*/ 589280 h 3610539"/>
                      <a:gd name="connsiteX12" fmla="*/ 259080 w 3989610"/>
                      <a:gd name="connsiteY12" fmla="*/ 604520 h 3610539"/>
                      <a:gd name="connsiteX13" fmla="*/ 259080 w 3989610"/>
                      <a:gd name="connsiteY13" fmla="*/ 665480 h 3610539"/>
                      <a:gd name="connsiteX14" fmla="*/ 294640 w 3989610"/>
                      <a:gd name="connsiteY14" fmla="*/ 665480 h 3610539"/>
                      <a:gd name="connsiteX15" fmla="*/ 294640 w 3989610"/>
                      <a:gd name="connsiteY15" fmla="*/ 716280 h 3610539"/>
                      <a:gd name="connsiteX16" fmla="*/ 320040 w 3989610"/>
                      <a:gd name="connsiteY16" fmla="*/ 716280 h 3610539"/>
                      <a:gd name="connsiteX17" fmla="*/ 320040 w 3989610"/>
                      <a:gd name="connsiteY17" fmla="*/ 792480 h 3610539"/>
                      <a:gd name="connsiteX18" fmla="*/ 335280 w 3989610"/>
                      <a:gd name="connsiteY18" fmla="*/ 792480 h 3610539"/>
                      <a:gd name="connsiteX19" fmla="*/ 335280 w 3989610"/>
                      <a:gd name="connsiteY19" fmla="*/ 889000 h 3610539"/>
                      <a:gd name="connsiteX20" fmla="*/ 375920 w 3989610"/>
                      <a:gd name="connsiteY20" fmla="*/ 889000 h 3610539"/>
                      <a:gd name="connsiteX21" fmla="*/ 375920 w 3989610"/>
                      <a:gd name="connsiteY21" fmla="*/ 949960 h 3610539"/>
                      <a:gd name="connsiteX22" fmla="*/ 375920 w 3989610"/>
                      <a:gd name="connsiteY22" fmla="*/ 949960 h 3610539"/>
                      <a:gd name="connsiteX23" fmla="*/ 416560 w 3989610"/>
                      <a:gd name="connsiteY23" fmla="*/ 949960 h 3610539"/>
                      <a:gd name="connsiteX24" fmla="*/ 416560 w 3989610"/>
                      <a:gd name="connsiteY24" fmla="*/ 1026160 h 3610539"/>
                      <a:gd name="connsiteX25" fmla="*/ 441960 w 3989610"/>
                      <a:gd name="connsiteY25" fmla="*/ 1026160 h 3610539"/>
                      <a:gd name="connsiteX26" fmla="*/ 441960 w 3989610"/>
                      <a:gd name="connsiteY26" fmla="*/ 1092200 h 3610539"/>
                      <a:gd name="connsiteX27" fmla="*/ 472440 w 3989610"/>
                      <a:gd name="connsiteY27" fmla="*/ 1092200 h 3610539"/>
                      <a:gd name="connsiteX28" fmla="*/ 472440 w 3989610"/>
                      <a:gd name="connsiteY28" fmla="*/ 1214120 h 3610539"/>
                      <a:gd name="connsiteX29" fmla="*/ 492760 w 3989610"/>
                      <a:gd name="connsiteY29" fmla="*/ 1234440 h 3610539"/>
                      <a:gd name="connsiteX30" fmla="*/ 492760 w 3989610"/>
                      <a:gd name="connsiteY30" fmla="*/ 1285240 h 3610539"/>
                      <a:gd name="connsiteX31" fmla="*/ 553720 w 3989610"/>
                      <a:gd name="connsiteY31" fmla="*/ 1285240 h 3610539"/>
                      <a:gd name="connsiteX32" fmla="*/ 553720 w 3989610"/>
                      <a:gd name="connsiteY32" fmla="*/ 1386840 h 3610539"/>
                      <a:gd name="connsiteX33" fmla="*/ 553720 w 3989610"/>
                      <a:gd name="connsiteY33" fmla="*/ 1427480 h 3610539"/>
                      <a:gd name="connsiteX34" fmla="*/ 599440 w 3989610"/>
                      <a:gd name="connsiteY34" fmla="*/ 1427480 h 3610539"/>
                      <a:gd name="connsiteX35" fmla="*/ 599440 w 3989610"/>
                      <a:gd name="connsiteY35" fmla="*/ 1493520 h 3610539"/>
                      <a:gd name="connsiteX36" fmla="*/ 650240 w 3989610"/>
                      <a:gd name="connsiteY36" fmla="*/ 1493520 h 3610539"/>
                      <a:gd name="connsiteX37" fmla="*/ 650240 w 3989610"/>
                      <a:gd name="connsiteY37" fmla="*/ 1539240 h 3610539"/>
                      <a:gd name="connsiteX38" fmla="*/ 695960 w 3989610"/>
                      <a:gd name="connsiteY38" fmla="*/ 1539240 h 3610539"/>
                      <a:gd name="connsiteX39" fmla="*/ 695960 w 3989610"/>
                      <a:gd name="connsiteY39" fmla="*/ 1635760 h 3610539"/>
                      <a:gd name="connsiteX40" fmla="*/ 731520 w 3989610"/>
                      <a:gd name="connsiteY40" fmla="*/ 1635760 h 3610539"/>
                      <a:gd name="connsiteX41" fmla="*/ 731520 w 3989610"/>
                      <a:gd name="connsiteY41" fmla="*/ 1706880 h 3610539"/>
                      <a:gd name="connsiteX42" fmla="*/ 762000 w 3989610"/>
                      <a:gd name="connsiteY42" fmla="*/ 1706880 h 3610539"/>
                      <a:gd name="connsiteX43" fmla="*/ 762000 w 3989610"/>
                      <a:gd name="connsiteY43" fmla="*/ 1803400 h 3610539"/>
                      <a:gd name="connsiteX44" fmla="*/ 797560 w 3989610"/>
                      <a:gd name="connsiteY44" fmla="*/ 1803400 h 3610539"/>
                      <a:gd name="connsiteX45" fmla="*/ 797560 w 3989610"/>
                      <a:gd name="connsiteY45" fmla="*/ 1854200 h 3610539"/>
                      <a:gd name="connsiteX46" fmla="*/ 853440 w 3989610"/>
                      <a:gd name="connsiteY46" fmla="*/ 1854200 h 3610539"/>
                      <a:gd name="connsiteX47" fmla="*/ 853440 w 3989610"/>
                      <a:gd name="connsiteY47" fmla="*/ 1940560 h 3610539"/>
                      <a:gd name="connsiteX48" fmla="*/ 894080 w 3989610"/>
                      <a:gd name="connsiteY48" fmla="*/ 1940560 h 3610539"/>
                      <a:gd name="connsiteX49" fmla="*/ 894080 w 3989610"/>
                      <a:gd name="connsiteY49" fmla="*/ 2011680 h 3610539"/>
                      <a:gd name="connsiteX50" fmla="*/ 939800 w 3989610"/>
                      <a:gd name="connsiteY50" fmla="*/ 2011680 h 3610539"/>
                      <a:gd name="connsiteX51" fmla="*/ 939800 w 3989610"/>
                      <a:gd name="connsiteY51" fmla="*/ 2062480 h 3610539"/>
                      <a:gd name="connsiteX52" fmla="*/ 1000760 w 3989610"/>
                      <a:gd name="connsiteY52" fmla="*/ 2062480 h 3610539"/>
                      <a:gd name="connsiteX53" fmla="*/ 1000760 w 3989610"/>
                      <a:gd name="connsiteY53" fmla="*/ 2128520 h 3610539"/>
                      <a:gd name="connsiteX54" fmla="*/ 1000760 w 3989610"/>
                      <a:gd name="connsiteY54" fmla="*/ 2128520 h 3610539"/>
                      <a:gd name="connsiteX55" fmla="*/ 1000760 w 3989610"/>
                      <a:gd name="connsiteY55" fmla="*/ 2214880 h 3610539"/>
                      <a:gd name="connsiteX56" fmla="*/ 1051560 w 3989610"/>
                      <a:gd name="connsiteY56" fmla="*/ 2214880 h 3610539"/>
                      <a:gd name="connsiteX57" fmla="*/ 1051560 w 3989610"/>
                      <a:gd name="connsiteY57" fmla="*/ 2235200 h 3610539"/>
                      <a:gd name="connsiteX58" fmla="*/ 1097280 w 3989610"/>
                      <a:gd name="connsiteY58" fmla="*/ 2235200 h 3610539"/>
                      <a:gd name="connsiteX59" fmla="*/ 1097280 w 3989610"/>
                      <a:gd name="connsiteY59" fmla="*/ 2235200 h 3610539"/>
                      <a:gd name="connsiteX60" fmla="*/ 1132840 w 3989610"/>
                      <a:gd name="connsiteY60" fmla="*/ 2270760 h 3610539"/>
                      <a:gd name="connsiteX61" fmla="*/ 1132840 w 3989610"/>
                      <a:gd name="connsiteY61" fmla="*/ 2341880 h 3610539"/>
                      <a:gd name="connsiteX62" fmla="*/ 1188720 w 3989610"/>
                      <a:gd name="connsiteY62" fmla="*/ 2341880 h 3610539"/>
                      <a:gd name="connsiteX63" fmla="*/ 1188720 w 3989610"/>
                      <a:gd name="connsiteY63" fmla="*/ 2377440 h 3610539"/>
                      <a:gd name="connsiteX64" fmla="*/ 1244600 w 3989610"/>
                      <a:gd name="connsiteY64" fmla="*/ 2377440 h 3610539"/>
                      <a:gd name="connsiteX65" fmla="*/ 1244600 w 3989610"/>
                      <a:gd name="connsiteY65" fmla="*/ 2377440 h 3610539"/>
                      <a:gd name="connsiteX66" fmla="*/ 1290320 w 3989610"/>
                      <a:gd name="connsiteY66" fmla="*/ 2377440 h 3610539"/>
                      <a:gd name="connsiteX67" fmla="*/ 1290320 w 3989610"/>
                      <a:gd name="connsiteY67" fmla="*/ 2479040 h 3610539"/>
                      <a:gd name="connsiteX68" fmla="*/ 1351280 w 3989610"/>
                      <a:gd name="connsiteY68" fmla="*/ 2479040 h 3610539"/>
                      <a:gd name="connsiteX69" fmla="*/ 1351280 w 3989610"/>
                      <a:gd name="connsiteY69" fmla="*/ 2540000 h 3610539"/>
                      <a:gd name="connsiteX70" fmla="*/ 1422400 w 3989610"/>
                      <a:gd name="connsiteY70" fmla="*/ 2540000 h 3610539"/>
                      <a:gd name="connsiteX71" fmla="*/ 1422400 w 3989610"/>
                      <a:gd name="connsiteY71" fmla="*/ 2600960 h 3610539"/>
                      <a:gd name="connsiteX72" fmla="*/ 1549400 w 3989610"/>
                      <a:gd name="connsiteY72" fmla="*/ 2600960 h 3610539"/>
                      <a:gd name="connsiteX73" fmla="*/ 1549400 w 3989610"/>
                      <a:gd name="connsiteY73" fmla="*/ 2651760 h 3610539"/>
                      <a:gd name="connsiteX74" fmla="*/ 1615440 w 3989610"/>
                      <a:gd name="connsiteY74" fmla="*/ 2651760 h 3610539"/>
                      <a:gd name="connsiteX75" fmla="*/ 1615440 w 3989610"/>
                      <a:gd name="connsiteY75" fmla="*/ 2687320 h 3610539"/>
                      <a:gd name="connsiteX76" fmla="*/ 1661160 w 3989610"/>
                      <a:gd name="connsiteY76" fmla="*/ 2687320 h 3610539"/>
                      <a:gd name="connsiteX77" fmla="*/ 1661160 w 3989610"/>
                      <a:gd name="connsiteY77" fmla="*/ 2748280 h 3610539"/>
                      <a:gd name="connsiteX78" fmla="*/ 1681480 w 3989610"/>
                      <a:gd name="connsiteY78" fmla="*/ 2768600 h 3610539"/>
                      <a:gd name="connsiteX79" fmla="*/ 1681480 w 3989610"/>
                      <a:gd name="connsiteY79" fmla="*/ 2834640 h 3610539"/>
                      <a:gd name="connsiteX80" fmla="*/ 1711960 w 3989610"/>
                      <a:gd name="connsiteY80" fmla="*/ 2834640 h 3610539"/>
                      <a:gd name="connsiteX81" fmla="*/ 1711960 w 3989610"/>
                      <a:gd name="connsiteY81" fmla="*/ 2880360 h 3610539"/>
                      <a:gd name="connsiteX82" fmla="*/ 1788160 w 3989610"/>
                      <a:gd name="connsiteY82" fmla="*/ 2880360 h 3610539"/>
                      <a:gd name="connsiteX83" fmla="*/ 1788160 w 3989610"/>
                      <a:gd name="connsiteY83" fmla="*/ 2910840 h 3610539"/>
                      <a:gd name="connsiteX84" fmla="*/ 1823720 w 3989610"/>
                      <a:gd name="connsiteY84" fmla="*/ 2910840 h 3610539"/>
                      <a:gd name="connsiteX85" fmla="*/ 1823720 w 3989610"/>
                      <a:gd name="connsiteY85" fmla="*/ 2961640 h 3610539"/>
                      <a:gd name="connsiteX86" fmla="*/ 1879600 w 3989610"/>
                      <a:gd name="connsiteY86" fmla="*/ 2961640 h 3610539"/>
                      <a:gd name="connsiteX87" fmla="*/ 1879600 w 3989610"/>
                      <a:gd name="connsiteY87" fmla="*/ 2997200 h 3610539"/>
                      <a:gd name="connsiteX88" fmla="*/ 1940560 w 3989610"/>
                      <a:gd name="connsiteY88" fmla="*/ 2997200 h 3610539"/>
                      <a:gd name="connsiteX89" fmla="*/ 1940560 w 3989610"/>
                      <a:gd name="connsiteY89" fmla="*/ 3068320 h 3610539"/>
                      <a:gd name="connsiteX90" fmla="*/ 2108200 w 3989610"/>
                      <a:gd name="connsiteY90" fmla="*/ 3068320 h 3610539"/>
                      <a:gd name="connsiteX91" fmla="*/ 2108200 w 3989610"/>
                      <a:gd name="connsiteY91" fmla="*/ 3068320 h 3610539"/>
                      <a:gd name="connsiteX92" fmla="*/ 2336800 w 3989610"/>
                      <a:gd name="connsiteY92" fmla="*/ 3068320 h 3610539"/>
                      <a:gd name="connsiteX93" fmla="*/ 2336800 w 3989610"/>
                      <a:gd name="connsiteY93" fmla="*/ 3134360 h 3610539"/>
                      <a:gd name="connsiteX94" fmla="*/ 2468880 w 3989610"/>
                      <a:gd name="connsiteY94" fmla="*/ 3134360 h 3610539"/>
                      <a:gd name="connsiteX95" fmla="*/ 2468880 w 3989610"/>
                      <a:gd name="connsiteY95" fmla="*/ 3180080 h 3610539"/>
                      <a:gd name="connsiteX96" fmla="*/ 2697480 w 3989610"/>
                      <a:gd name="connsiteY96" fmla="*/ 3180080 h 3610539"/>
                      <a:gd name="connsiteX97" fmla="*/ 2697480 w 3989610"/>
                      <a:gd name="connsiteY97" fmla="*/ 3230880 h 3610539"/>
                      <a:gd name="connsiteX98" fmla="*/ 2768600 w 3989610"/>
                      <a:gd name="connsiteY98" fmla="*/ 3230880 h 3610539"/>
                      <a:gd name="connsiteX99" fmla="*/ 2768600 w 3989610"/>
                      <a:gd name="connsiteY99" fmla="*/ 3251200 h 3610539"/>
                      <a:gd name="connsiteX100" fmla="*/ 3007360 w 3989610"/>
                      <a:gd name="connsiteY100" fmla="*/ 3251200 h 3610539"/>
                      <a:gd name="connsiteX101" fmla="*/ 3007360 w 3989610"/>
                      <a:gd name="connsiteY101" fmla="*/ 3296920 h 3610539"/>
                      <a:gd name="connsiteX102" fmla="*/ 3053080 w 3989610"/>
                      <a:gd name="connsiteY102" fmla="*/ 3296920 h 3610539"/>
                      <a:gd name="connsiteX103" fmla="*/ 3053080 w 3989610"/>
                      <a:gd name="connsiteY103" fmla="*/ 3347720 h 3610539"/>
                      <a:gd name="connsiteX104" fmla="*/ 3078480 w 3989610"/>
                      <a:gd name="connsiteY104" fmla="*/ 3347720 h 3610539"/>
                      <a:gd name="connsiteX105" fmla="*/ 3078480 w 3989610"/>
                      <a:gd name="connsiteY105" fmla="*/ 3393440 h 3610539"/>
                      <a:gd name="connsiteX106" fmla="*/ 3256280 w 3989610"/>
                      <a:gd name="connsiteY106" fmla="*/ 3393440 h 3610539"/>
                      <a:gd name="connsiteX107" fmla="*/ 3256280 w 3989610"/>
                      <a:gd name="connsiteY107" fmla="*/ 3439160 h 3610539"/>
                      <a:gd name="connsiteX108" fmla="*/ 3703320 w 3989610"/>
                      <a:gd name="connsiteY108" fmla="*/ 3439160 h 3610539"/>
                      <a:gd name="connsiteX109" fmla="*/ 3705740 w 3989610"/>
                      <a:gd name="connsiteY109" fmla="*/ 3524177 h 3610539"/>
                      <a:gd name="connsiteX110" fmla="*/ 3969900 w 3989610"/>
                      <a:gd name="connsiteY110" fmla="*/ 3521637 h 3610539"/>
                      <a:gd name="connsiteX111" fmla="*/ 3969899 w 3989610"/>
                      <a:gd name="connsiteY111" fmla="*/ 3610537 h 3610539"/>
                      <a:gd name="connsiteX0" fmla="*/ 0 w 3969900"/>
                      <a:gd name="connsiteY0" fmla="*/ 0 h 3610539"/>
                      <a:gd name="connsiteX1" fmla="*/ 0 w 3969900"/>
                      <a:gd name="connsiteY1" fmla="*/ 116840 h 3610539"/>
                      <a:gd name="connsiteX2" fmla="*/ 66040 w 3969900"/>
                      <a:gd name="connsiteY2" fmla="*/ 116840 h 3610539"/>
                      <a:gd name="connsiteX3" fmla="*/ 66040 w 3969900"/>
                      <a:gd name="connsiteY3" fmla="*/ 218440 h 3610539"/>
                      <a:gd name="connsiteX4" fmla="*/ 137160 w 3969900"/>
                      <a:gd name="connsiteY4" fmla="*/ 218440 h 3610539"/>
                      <a:gd name="connsiteX5" fmla="*/ 137160 w 3969900"/>
                      <a:gd name="connsiteY5" fmla="*/ 294640 h 3610539"/>
                      <a:gd name="connsiteX6" fmla="*/ 147320 w 3969900"/>
                      <a:gd name="connsiteY6" fmla="*/ 294640 h 3610539"/>
                      <a:gd name="connsiteX7" fmla="*/ 147320 w 3969900"/>
                      <a:gd name="connsiteY7" fmla="*/ 421640 h 3610539"/>
                      <a:gd name="connsiteX8" fmla="*/ 198120 w 3969900"/>
                      <a:gd name="connsiteY8" fmla="*/ 421640 h 3610539"/>
                      <a:gd name="connsiteX9" fmla="*/ 198120 w 3969900"/>
                      <a:gd name="connsiteY9" fmla="*/ 543560 h 3610539"/>
                      <a:gd name="connsiteX10" fmla="*/ 198120 w 3969900"/>
                      <a:gd name="connsiteY10" fmla="*/ 543560 h 3610539"/>
                      <a:gd name="connsiteX11" fmla="*/ 243840 w 3969900"/>
                      <a:gd name="connsiteY11" fmla="*/ 589280 h 3610539"/>
                      <a:gd name="connsiteX12" fmla="*/ 259080 w 3969900"/>
                      <a:gd name="connsiteY12" fmla="*/ 604520 h 3610539"/>
                      <a:gd name="connsiteX13" fmla="*/ 259080 w 3969900"/>
                      <a:gd name="connsiteY13" fmla="*/ 665480 h 3610539"/>
                      <a:gd name="connsiteX14" fmla="*/ 294640 w 3969900"/>
                      <a:gd name="connsiteY14" fmla="*/ 665480 h 3610539"/>
                      <a:gd name="connsiteX15" fmla="*/ 294640 w 3969900"/>
                      <a:gd name="connsiteY15" fmla="*/ 716280 h 3610539"/>
                      <a:gd name="connsiteX16" fmla="*/ 320040 w 3969900"/>
                      <a:gd name="connsiteY16" fmla="*/ 716280 h 3610539"/>
                      <a:gd name="connsiteX17" fmla="*/ 320040 w 3969900"/>
                      <a:gd name="connsiteY17" fmla="*/ 792480 h 3610539"/>
                      <a:gd name="connsiteX18" fmla="*/ 335280 w 3969900"/>
                      <a:gd name="connsiteY18" fmla="*/ 792480 h 3610539"/>
                      <a:gd name="connsiteX19" fmla="*/ 335280 w 3969900"/>
                      <a:gd name="connsiteY19" fmla="*/ 889000 h 3610539"/>
                      <a:gd name="connsiteX20" fmla="*/ 375920 w 3969900"/>
                      <a:gd name="connsiteY20" fmla="*/ 889000 h 3610539"/>
                      <a:gd name="connsiteX21" fmla="*/ 375920 w 3969900"/>
                      <a:gd name="connsiteY21" fmla="*/ 949960 h 3610539"/>
                      <a:gd name="connsiteX22" fmla="*/ 375920 w 3969900"/>
                      <a:gd name="connsiteY22" fmla="*/ 949960 h 3610539"/>
                      <a:gd name="connsiteX23" fmla="*/ 416560 w 3969900"/>
                      <a:gd name="connsiteY23" fmla="*/ 949960 h 3610539"/>
                      <a:gd name="connsiteX24" fmla="*/ 416560 w 3969900"/>
                      <a:gd name="connsiteY24" fmla="*/ 1026160 h 3610539"/>
                      <a:gd name="connsiteX25" fmla="*/ 441960 w 3969900"/>
                      <a:gd name="connsiteY25" fmla="*/ 1026160 h 3610539"/>
                      <a:gd name="connsiteX26" fmla="*/ 441960 w 3969900"/>
                      <a:gd name="connsiteY26" fmla="*/ 1092200 h 3610539"/>
                      <a:gd name="connsiteX27" fmla="*/ 472440 w 3969900"/>
                      <a:gd name="connsiteY27" fmla="*/ 1092200 h 3610539"/>
                      <a:gd name="connsiteX28" fmla="*/ 472440 w 3969900"/>
                      <a:gd name="connsiteY28" fmla="*/ 1214120 h 3610539"/>
                      <a:gd name="connsiteX29" fmla="*/ 492760 w 3969900"/>
                      <a:gd name="connsiteY29" fmla="*/ 1234440 h 3610539"/>
                      <a:gd name="connsiteX30" fmla="*/ 492760 w 3969900"/>
                      <a:gd name="connsiteY30" fmla="*/ 1285240 h 3610539"/>
                      <a:gd name="connsiteX31" fmla="*/ 553720 w 3969900"/>
                      <a:gd name="connsiteY31" fmla="*/ 1285240 h 3610539"/>
                      <a:gd name="connsiteX32" fmla="*/ 553720 w 3969900"/>
                      <a:gd name="connsiteY32" fmla="*/ 1386840 h 3610539"/>
                      <a:gd name="connsiteX33" fmla="*/ 553720 w 3969900"/>
                      <a:gd name="connsiteY33" fmla="*/ 1427480 h 3610539"/>
                      <a:gd name="connsiteX34" fmla="*/ 599440 w 3969900"/>
                      <a:gd name="connsiteY34" fmla="*/ 1427480 h 3610539"/>
                      <a:gd name="connsiteX35" fmla="*/ 599440 w 3969900"/>
                      <a:gd name="connsiteY35" fmla="*/ 1493520 h 3610539"/>
                      <a:gd name="connsiteX36" fmla="*/ 650240 w 3969900"/>
                      <a:gd name="connsiteY36" fmla="*/ 1493520 h 3610539"/>
                      <a:gd name="connsiteX37" fmla="*/ 650240 w 3969900"/>
                      <a:gd name="connsiteY37" fmla="*/ 1539240 h 3610539"/>
                      <a:gd name="connsiteX38" fmla="*/ 695960 w 3969900"/>
                      <a:gd name="connsiteY38" fmla="*/ 1539240 h 3610539"/>
                      <a:gd name="connsiteX39" fmla="*/ 695960 w 3969900"/>
                      <a:gd name="connsiteY39" fmla="*/ 1635760 h 3610539"/>
                      <a:gd name="connsiteX40" fmla="*/ 731520 w 3969900"/>
                      <a:gd name="connsiteY40" fmla="*/ 1635760 h 3610539"/>
                      <a:gd name="connsiteX41" fmla="*/ 731520 w 3969900"/>
                      <a:gd name="connsiteY41" fmla="*/ 1706880 h 3610539"/>
                      <a:gd name="connsiteX42" fmla="*/ 762000 w 3969900"/>
                      <a:gd name="connsiteY42" fmla="*/ 1706880 h 3610539"/>
                      <a:gd name="connsiteX43" fmla="*/ 762000 w 3969900"/>
                      <a:gd name="connsiteY43" fmla="*/ 1803400 h 3610539"/>
                      <a:gd name="connsiteX44" fmla="*/ 797560 w 3969900"/>
                      <a:gd name="connsiteY44" fmla="*/ 1803400 h 3610539"/>
                      <a:gd name="connsiteX45" fmla="*/ 797560 w 3969900"/>
                      <a:gd name="connsiteY45" fmla="*/ 1854200 h 3610539"/>
                      <a:gd name="connsiteX46" fmla="*/ 853440 w 3969900"/>
                      <a:gd name="connsiteY46" fmla="*/ 1854200 h 3610539"/>
                      <a:gd name="connsiteX47" fmla="*/ 853440 w 3969900"/>
                      <a:gd name="connsiteY47" fmla="*/ 1940560 h 3610539"/>
                      <a:gd name="connsiteX48" fmla="*/ 894080 w 3969900"/>
                      <a:gd name="connsiteY48" fmla="*/ 1940560 h 3610539"/>
                      <a:gd name="connsiteX49" fmla="*/ 894080 w 3969900"/>
                      <a:gd name="connsiteY49" fmla="*/ 2011680 h 3610539"/>
                      <a:gd name="connsiteX50" fmla="*/ 939800 w 3969900"/>
                      <a:gd name="connsiteY50" fmla="*/ 2011680 h 3610539"/>
                      <a:gd name="connsiteX51" fmla="*/ 939800 w 3969900"/>
                      <a:gd name="connsiteY51" fmla="*/ 2062480 h 3610539"/>
                      <a:gd name="connsiteX52" fmla="*/ 1000760 w 3969900"/>
                      <a:gd name="connsiteY52" fmla="*/ 2062480 h 3610539"/>
                      <a:gd name="connsiteX53" fmla="*/ 1000760 w 3969900"/>
                      <a:gd name="connsiteY53" fmla="*/ 2128520 h 3610539"/>
                      <a:gd name="connsiteX54" fmla="*/ 1000760 w 3969900"/>
                      <a:gd name="connsiteY54" fmla="*/ 2128520 h 3610539"/>
                      <a:gd name="connsiteX55" fmla="*/ 1000760 w 3969900"/>
                      <a:gd name="connsiteY55" fmla="*/ 2214880 h 3610539"/>
                      <a:gd name="connsiteX56" fmla="*/ 1051560 w 3969900"/>
                      <a:gd name="connsiteY56" fmla="*/ 2214880 h 3610539"/>
                      <a:gd name="connsiteX57" fmla="*/ 1051560 w 3969900"/>
                      <a:gd name="connsiteY57" fmla="*/ 2235200 h 3610539"/>
                      <a:gd name="connsiteX58" fmla="*/ 1097280 w 3969900"/>
                      <a:gd name="connsiteY58" fmla="*/ 2235200 h 3610539"/>
                      <a:gd name="connsiteX59" fmla="*/ 1097280 w 3969900"/>
                      <a:gd name="connsiteY59" fmla="*/ 2235200 h 3610539"/>
                      <a:gd name="connsiteX60" fmla="*/ 1132840 w 3969900"/>
                      <a:gd name="connsiteY60" fmla="*/ 2270760 h 3610539"/>
                      <a:gd name="connsiteX61" fmla="*/ 1132840 w 3969900"/>
                      <a:gd name="connsiteY61" fmla="*/ 2341880 h 3610539"/>
                      <a:gd name="connsiteX62" fmla="*/ 1188720 w 3969900"/>
                      <a:gd name="connsiteY62" fmla="*/ 2341880 h 3610539"/>
                      <a:gd name="connsiteX63" fmla="*/ 1188720 w 3969900"/>
                      <a:gd name="connsiteY63" fmla="*/ 2377440 h 3610539"/>
                      <a:gd name="connsiteX64" fmla="*/ 1244600 w 3969900"/>
                      <a:gd name="connsiteY64" fmla="*/ 2377440 h 3610539"/>
                      <a:gd name="connsiteX65" fmla="*/ 1244600 w 3969900"/>
                      <a:gd name="connsiteY65" fmla="*/ 2377440 h 3610539"/>
                      <a:gd name="connsiteX66" fmla="*/ 1290320 w 3969900"/>
                      <a:gd name="connsiteY66" fmla="*/ 2377440 h 3610539"/>
                      <a:gd name="connsiteX67" fmla="*/ 1290320 w 3969900"/>
                      <a:gd name="connsiteY67" fmla="*/ 2479040 h 3610539"/>
                      <a:gd name="connsiteX68" fmla="*/ 1351280 w 3969900"/>
                      <a:gd name="connsiteY68" fmla="*/ 2479040 h 3610539"/>
                      <a:gd name="connsiteX69" fmla="*/ 1351280 w 3969900"/>
                      <a:gd name="connsiteY69" fmla="*/ 2540000 h 3610539"/>
                      <a:gd name="connsiteX70" fmla="*/ 1422400 w 3969900"/>
                      <a:gd name="connsiteY70" fmla="*/ 2540000 h 3610539"/>
                      <a:gd name="connsiteX71" fmla="*/ 1422400 w 3969900"/>
                      <a:gd name="connsiteY71" fmla="*/ 2600960 h 3610539"/>
                      <a:gd name="connsiteX72" fmla="*/ 1549400 w 3969900"/>
                      <a:gd name="connsiteY72" fmla="*/ 2600960 h 3610539"/>
                      <a:gd name="connsiteX73" fmla="*/ 1549400 w 3969900"/>
                      <a:gd name="connsiteY73" fmla="*/ 2651760 h 3610539"/>
                      <a:gd name="connsiteX74" fmla="*/ 1615440 w 3969900"/>
                      <a:gd name="connsiteY74" fmla="*/ 2651760 h 3610539"/>
                      <a:gd name="connsiteX75" fmla="*/ 1615440 w 3969900"/>
                      <a:gd name="connsiteY75" fmla="*/ 2687320 h 3610539"/>
                      <a:gd name="connsiteX76" fmla="*/ 1661160 w 3969900"/>
                      <a:gd name="connsiteY76" fmla="*/ 2687320 h 3610539"/>
                      <a:gd name="connsiteX77" fmla="*/ 1661160 w 3969900"/>
                      <a:gd name="connsiteY77" fmla="*/ 2748280 h 3610539"/>
                      <a:gd name="connsiteX78" fmla="*/ 1681480 w 3969900"/>
                      <a:gd name="connsiteY78" fmla="*/ 2768600 h 3610539"/>
                      <a:gd name="connsiteX79" fmla="*/ 1681480 w 3969900"/>
                      <a:gd name="connsiteY79" fmla="*/ 2834640 h 3610539"/>
                      <a:gd name="connsiteX80" fmla="*/ 1711960 w 3969900"/>
                      <a:gd name="connsiteY80" fmla="*/ 2834640 h 3610539"/>
                      <a:gd name="connsiteX81" fmla="*/ 1711960 w 3969900"/>
                      <a:gd name="connsiteY81" fmla="*/ 2880360 h 3610539"/>
                      <a:gd name="connsiteX82" fmla="*/ 1788160 w 3969900"/>
                      <a:gd name="connsiteY82" fmla="*/ 2880360 h 3610539"/>
                      <a:gd name="connsiteX83" fmla="*/ 1788160 w 3969900"/>
                      <a:gd name="connsiteY83" fmla="*/ 2910840 h 3610539"/>
                      <a:gd name="connsiteX84" fmla="*/ 1823720 w 3969900"/>
                      <a:gd name="connsiteY84" fmla="*/ 2910840 h 3610539"/>
                      <a:gd name="connsiteX85" fmla="*/ 1823720 w 3969900"/>
                      <a:gd name="connsiteY85" fmla="*/ 2961640 h 3610539"/>
                      <a:gd name="connsiteX86" fmla="*/ 1879600 w 3969900"/>
                      <a:gd name="connsiteY86" fmla="*/ 2961640 h 3610539"/>
                      <a:gd name="connsiteX87" fmla="*/ 1879600 w 3969900"/>
                      <a:gd name="connsiteY87" fmla="*/ 2997200 h 3610539"/>
                      <a:gd name="connsiteX88" fmla="*/ 1940560 w 3969900"/>
                      <a:gd name="connsiteY88" fmla="*/ 2997200 h 3610539"/>
                      <a:gd name="connsiteX89" fmla="*/ 1940560 w 3969900"/>
                      <a:gd name="connsiteY89" fmla="*/ 3068320 h 3610539"/>
                      <a:gd name="connsiteX90" fmla="*/ 2108200 w 3969900"/>
                      <a:gd name="connsiteY90" fmla="*/ 3068320 h 3610539"/>
                      <a:gd name="connsiteX91" fmla="*/ 2108200 w 3969900"/>
                      <a:gd name="connsiteY91" fmla="*/ 3068320 h 3610539"/>
                      <a:gd name="connsiteX92" fmla="*/ 2336800 w 3969900"/>
                      <a:gd name="connsiteY92" fmla="*/ 3068320 h 3610539"/>
                      <a:gd name="connsiteX93" fmla="*/ 2336800 w 3969900"/>
                      <a:gd name="connsiteY93" fmla="*/ 3134360 h 3610539"/>
                      <a:gd name="connsiteX94" fmla="*/ 2468880 w 3969900"/>
                      <a:gd name="connsiteY94" fmla="*/ 3134360 h 3610539"/>
                      <a:gd name="connsiteX95" fmla="*/ 2468880 w 3969900"/>
                      <a:gd name="connsiteY95" fmla="*/ 3180080 h 3610539"/>
                      <a:gd name="connsiteX96" fmla="*/ 2697480 w 3969900"/>
                      <a:gd name="connsiteY96" fmla="*/ 3180080 h 3610539"/>
                      <a:gd name="connsiteX97" fmla="*/ 2697480 w 3969900"/>
                      <a:gd name="connsiteY97" fmla="*/ 3230880 h 3610539"/>
                      <a:gd name="connsiteX98" fmla="*/ 2768600 w 3969900"/>
                      <a:gd name="connsiteY98" fmla="*/ 3230880 h 3610539"/>
                      <a:gd name="connsiteX99" fmla="*/ 2768600 w 3969900"/>
                      <a:gd name="connsiteY99" fmla="*/ 3251200 h 3610539"/>
                      <a:gd name="connsiteX100" fmla="*/ 3007360 w 3969900"/>
                      <a:gd name="connsiteY100" fmla="*/ 3251200 h 3610539"/>
                      <a:gd name="connsiteX101" fmla="*/ 3007360 w 3969900"/>
                      <a:gd name="connsiteY101" fmla="*/ 3296920 h 3610539"/>
                      <a:gd name="connsiteX102" fmla="*/ 3053080 w 3969900"/>
                      <a:gd name="connsiteY102" fmla="*/ 3296920 h 3610539"/>
                      <a:gd name="connsiteX103" fmla="*/ 3053080 w 3969900"/>
                      <a:gd name="connsiteY103" fmla="*/ 3347720 h 3610539"/>
                      <a:gd name="connsiteX104" fmla="*/ 3078480 w 3969900"/>
                      <a:gd name="connsiteY104" fmla="*/ 3347720 h 3610539"/>
                      <a:gd name="connsiteX105" fmla="*/ 3078480 w 3969900"/>
                      <a:gd name="connsiteY105" fmla="*/ 3393440 h 3610539"/>
                      <a:gd name="connsiteX106" fmla="*/ 3256280 w 3969900"/>
                      <a:gd name="connsiteY106" fmla="*/ 3393440 h 3610539"/>
                      <a:gd name="connsiteX107" fmla="*/ 3256280 w 3969900"/>
                      <a:gd name="connsiteY107" fmla="*/ 3439160 h 3610539"/>
                      <a:gd name="connsiteX108" fmla="*/ 3703320 w 3969900"/>
                      <a:gd name="connsiteY108" fmla="*/ 3439160 h 3610539"/>
                      <a:gd name="connsiteX109" fmla="*/ 3705740 w 3969900"/>
                      <a:gd name="connsiteY109" fmla="*/ 3524177 h 3610539"/>
                      <a:gd name="connsiteX110" fmla="*/ 3969900 w 3969900"/>
                      <a:gd name="connsiteY110" fmla="*/ 3521637 h 3610539"/>
                      <a:gd name="connsiteX111" fmla="*/ 3969899 w 3969900"/>
                      <a:gd name="connsiteY111" fmla="*/ 3610537 h 3610539"/>
                      <a:gd name="connsiteX0" fmla="*/ 0 w 3969900"/>
                      <a:gd name="connsiteY0" fmla="*/ 0 h 3617122"/>
                      <a:gd name="connsiteX1" fmla="*/ 0 w 3969900"/>
                      <a:gd name="connsiteY1" fmla="*/ 116840 h 3617122"/>
                      <a:gd name="connsiteX2" fmla="*/ 66040 w 3969900"/>
                      <a:gd name="connsiteY2" fmla="*/ 116840 h 3617122"/>
                      <a:gd name="connsiteX3" fmla="*/ 66040 w 3969900"/>
                      <a:gd name="connsiteY3" fmla="*/ 218440 h 3617122"/>
                      <a:gd name="connsiteX4" fmla="*/ 137160 w 3969900"/>
                      <a:gd name="connsiteY4" fmla="*/ 218440 h 3617122"/>
                      <a:gd name="connsiteX5" fmla="*/ 137160 w 3969900"/>
                      <a:gd name="connsiteY5" fmla="*/ 294640 h 3617122"/>
                      <a:gd name="connsiteX6" fmla="*/ 147320 w 3969900"/>
                      <a:gd name="connsiteY6" fmla="*/ 294640 h 3617122"/>
                      <a:gd name="connsiteX7" fmla="*/ 147320 w 3969900"/>
                      <a:gd name="connsiteY7" fmla="*/ 421640 h 3617122"/>
                      <a:gd name="connsiteX8" fmla="*/ 198120 w 3969900"/>
                      <a:gd name="connsiteY8" fmla="*/ 421640 h 3617122"/>
                      <a:gd name="connsiteX9" fmla="*/ 198120 w 3969900"/>
                      <a:gd name="connsiteY9" fmla="*/ 543560 h 3617122"/>
                      <a:gd name="connsiteX10" fmla="*/ 198120 w 3969900"/>
                      <a:gd name="connsiteY10" fmla="*/ 543560 h 3617122"/>
                      <a:gd name="connsiteX11" fmla="*/ 243840 w 3969900"/>
                      <a:gd name="connsiteY11" fmla="*/ 589280 h 3617122"/>
                      <a:gd name="connsiteX12" fmla="*/ 259080 w 3969900"/>
                      <a:gd name="connsiteY12" fmla="*/ 604520 h 3617122"/>
                      <a:gd name="connsiteX13" fmla="*/ 259080 w 3969900"/>
                      <a:gd name="connsiteY13" fmla="*/ 665480 h 3617122"/>
                      <a:gd name="connsiteX14" fmla="*/ 294640 w 3969900"/>
                      <a:gd name="connsiteY14" fmla="*/ 665480 h 3617122"/>
                      <a:gd name="connsiteX15" fmla="*/ 294640 w 3969900"/>
                      <a:gd name="connsiteY15" fmla="*/ 716280 h 3617122"/>
                      <a:gd name="connsiteX16" fmla="*/ 320040 w 3969900"/>
                      <a:gd name="connsiteY16" fmla="*/ 716280 h 3617122"/>
                      <a:gd name="connsiteX17" fmla="*/ 320040 w 3969900"/>
                      <a:gd name="connsiteY17" fmla="*/ 792480 h 3617122"/>
                      <a:gd name="connsiteX18" fmla="*/ 335280 w 3969900"/>
                      <a:gd name="connsiteY18" fmla="*/ 792480 h 3617122"/>
                      <a:gd name="connsiteX19" fmla="*/ 335280 w 3969900"/>
                      <a:gd name="connsiteY19" fmla="*/ 889000 h 3617122"/>
                      <a:gd name="connsiteX20" fmla="*/ 375920 w 3969900"/>
                      <a:gd name="connsiteY20" fmla="*/ 889000 h 3617122"/>
                      <a:gd name="connsiteX21" fmla="*/ 375920 w 3969900"/>
                      <a:gd name="connsiteY21" fmla="*/ 949960 h 3617122"/>
                      <a:gd name="connsiteX22" fmla="*/ 375920 w 3969900"/>
                      <a:gd name="connsiteY22" fmla="*/ 949960 h 3617122"/>
                      <a:gd name="connsiteX23" fmla="*/ 416560 w 3969900"/>
                      <a:gd name="connsiteY23" fmla="*/ 949960 h 3617122"/>
                      <a:gd name="connsiteX24" fmla="*/ 416560 w 3969900"/>
                      <a:gd name="connsiteY24" fmla="*/ 1026160 h 3617122"/>
                      <a:gd name="connsiteX25" fmla="*/ 441960 w 3969900"/>
                      <a:gd name="connsiteY25" fmla="*/ 1026160 h 3617122"/>
                      <a:gd name="connsiteX26" fmla="*/ 441960 w 3969900"/>
                      <a:gd name="connsiteY26" fmla="*/ 1092200 h 3617122"/>
                      <a:gd name="connsiteX27" fmla="*/ 472440 w 3969900"/>
                      <a:gd name="connsiteY27" fmla="*/ 1092200 h 3617122"/>
                      <a:gd name="connsiteX28" fmla="*/ 472440 w 3969900"/>
                      <a:gd name="connsiteY28" fmla="*/ 1214120 h 3617122"/>
                      <a:gd name="connsiteX29" fmla="*/ 492760 w 3969900"/>
                      <a:gd name="connsiteY29" fmla="*/ 1234440 h 3617122"/>
                      <a:gd name="connsiteX30" fmla="*/ 492760 w 3969900"/>
                      <a:gd name="connsiteY30" fmla="*/ 1285240 h 3617122"/>
                      <a:gd name="connsiteX31" fmla="*/ 553720 w 3969900"/>
                      <a:gd name="connsiteY31" fmla="*/ 1285240 h 3617122"/>
                      <a:gd name="connsiteX32" fmla="*/ 553720 w 3969900"/>
                      <a:gd name="connsiteY32" fmla="*/ 1386840 h 3617122"/>
                      <a:gd name="connsiteX33" fmla="*/ 553720 w 3969900"/>
                      <a:gd name="connsiteY33" fmla="*/ 1427480 h 3617122"/>
                      <a:gd name="connsiteX34" fmla="*/ 599440 w 3969900"/>
                      <a:gd name="connsiteY34" fmla="*/ 1427480 h 3617122"/>
                      <a:gd name="connsiteX35" fmla="*/ 599440 w 3969900"/>
                      <a:gd name="connsiteY35" fmla="*/ 1493520 h 3617122"/>
                      <a:gd name="connsiteX36" fmla="*/ 650240 w 3969900"/>
                      <a:gd name="connsiteY36" fmla="*/ 1493520 h 3617122"/>
                      <a:gd name="connsiteX37" fmla="*/ 650240 w 3969900"/>
                      <a:gd name="connsiteY37" fmla="*/ 1539240 h 3617122"/>
                      <a:gd name="connsiteX38" fmla="*/ 695960 w 3969900"/>
                      <a:gd name="connsiteY38" fmla="*/ 1539240 h 3617122"/>
                      <a:gd name="connsiteX39" fmla="*/ 695960 w 3969900"/>
                      <a:gd name="connsiteY39" fmla="*/ 1635760 h 3617122"/>
                      <a:gd name="connsiteX40" fmla="*/ 731520 w 3969900"/>
                      <a:gd name="connsiteY40" fmla="*/ 1635760 h 3617122"/>
                      <a:gd name="connsiteX41" fmla="*/ 731520 w 3969900"/>
                      <a:gd name="connsiteY41" fmla="*/ 1706880 h 3617122"/>
                      <a:gd name="connsiteX42" fmla="*/ 762000 w 3969900"/>
                      <a:gd name="connsiteY42" fmla="*/ 1706880 h 3617122"/>
                      <a:gd name="connsiteX43" fmla="*/ 762000 w 3969900"/>
                      <a:gd name="connsiteY43" fmla="*/ 1803400 h 3617122"/>
                      <a:gd name="connsiteX44" fmla="*/ 797560 w 3969900"/>
                      <a:gd name="connsiteY44" fmla="*/ 1803400 h 3617122"/>
                      <a:gd name="connsiteX45" fmla="*/ 797560 w 3969900"/>
                      <a:gd name="connsiteY45" fmla="*/ 1854200 h 3617122"/>
                      <a:gd name="connsiteX46" fmla="*/ 853440 w 3969900"/>
                      <a:gd name="connsiteY46" fmla="*/ 1854200 h 3617122"/>
                      <a:gd name="connsiteX47" fmla="*/ 853440 w 3969900"/>
                      <a:gd name="connsiteY47" fmla="*/ 1940560 h 3617122"/>
                      <a:gd name="connsiteX48" fmla="*/ 894080 w 3969900"/>
                      <a:gd name="connsiteY48" fmla="*/ 1940560 h 3617122"/>
                      <a:gd name="connsiteX49" fmla="*/ 894080 w 3969900"/>
                      <a:gd name="connsiteY49" fmla="*/ 2011680 h 3617122"/>
                      <a:gd name="connsiteX50" fmla="*/ 939800 w 3969900"/>
                      <a:gd name="connsiteY50" fmla="*/ 2011680 h 3617122"/>
                      <a:gd name="connsiteX51" fmla="*/ 939800 w 3969900"/>
                      <a:gd name="connsiteY51" fmla="*/ 2062480 h 3617122"/>
                      <a:gd name="connsiteX52" fmla="*/ 1000760 w 3969900"/>
                      <a:gd name="connsiteY52" fmla="*/ 2062480 h 3617122"/>
                      <a:gd name="connsiteX53" fmla="*/ 1000760 w 3969900"/>
                      <a:gd name="connsiteY53" fmla="*/ 2128520 h 3617122"/>
                      <a:gd name="connsiteX54" fmla="*/ 1000760 w 3969900"/>
                      <a:gd name="connsiteY54" fmla="*/ 2128520 h 3617122"/>
                      <a:gd name="connsiteX55" fmla="*/ 1000760 w 3969900"/>
                      <a:gd name="connsiteY55" fmla="*/ 2214880 h 3617122"/>
                      <a:gd name="connsiteX56" fmla="*/ 1051560 w 3969900"/>
                      <a:gd name="connsiteY56" fmla="*/ 2214880 h 3617122"/>
                      <a:gd name="connsiteX57" fmla="*/ 1051560 w 3969900"/>
                      <a:gd name="connsiteY57" fmla="*/ 2235200 h 3617122"/>
                      <a:gd name="connsiteX58" fmla="*/ 1097280 w 3969900"/>
                      <a:gd name="connsiteY58" fmla="*/ 2235200 h 3617122"/>
                      <a:gd name="connsiteX59" fmla="*/ 1097280 w 3969900"/>
                      <a:gd name="connsiteY59" fmla="*/ 2235200 h 3617122"/>
                      <a:gd name="connsiteX60" fmla="*/ 1132840 w 3969900"/>
                      <a:gd name="connsiteY60" fmla="*/ 2270760 h 3617122"/>
                      <a:gd name="connsiteX61" fmla="*/ 1132840 w 3969900"/>
                      <a:gd name="connsiteY61" fmla="*/ 2341880 h 3617122"/>
                      <a:gd name="connsiteX62" fmla="*/ 1188720 w 3969900"/>
                      <a:gd name="connsiteY62" fmla="*/ 2341880 h 3617122"/>
                      <a:gd name="connsiteX63" fmla="*/ 1188720 w 3969900"/>
                      <a:gd name="connsiteY63" fmla="*/ 2377440 h 3617122"/>
                      <a:gd name="connsiteX64" fmla="*/ 1244600 w 3969900"/>
                      <a:gd name="connsiteY64" fmla="*/ 2377440 h 3617122"/>
                      <a:gd name="connsiteX65" fmla="*/ 1244600 w 3969900"/>
                      <a:gd name="connsiteY65" fmla="*/ 2377440 h 3617122"/>
                      <a:gd name="connsiteX66" fmla="*/ 1290320 w 3969900"/>
                      <a:gd name="connsiteY66" fmla="*/ 2377440 h 3617122"/>
                      <a:gd name="connsiteX67" fmla="*/ 1290320 w 3969900"/>
                      <a:gd name="connsiteY67" fmla="*/ 2479040 h 3617122"/>
                      <a:gd name="connsiteX68" fmla="*/ 1351280 w 3969900"/>
                      <a:gd name="connsiteY68" fmla="*/ 2479040 h 3617122"/>
                      <a:gd name="connsiteX69" fmla="*/ 1351280 w 3969900"/>
                      <a:gd name="connsiteY69" fmla="*/ 2540000 h 3617122"/>
                      <a:gd name="connsiteX70" fmla="*/ 1422400 w 3969900"/>
                      <a:gd name="connsiteY70" fmla="*/ 2540000 h 3617122"/>
                      <a:gd name="connsiteX71" fmla="*/ 1422400 w 3969900"/>
                      <a:gd name="connsiteY71" fmla="*/ 2600960 h 3617122"/>
                      <a:gd name="connsiteX72" fmla="*/ 1549400 w 3969900"/>
                      <a:gd name="connsiteY72" fmla="*/ 2600960 h 3617122"/>
                      <a:gd name="connsiteX73" fmla="*/ 1549400 w 3969900"/>
                      <a:gd name="connsiteY73" fmla="*/ 2651760 h 3617122"/>
                      <a:gd name="connsiteX74" fmla="*/ 1615440 w 3969900"/>
                      <a:gd name="connsiteY74" fmla="*/ 2651760 h 3617122"/>
                      <a:gd name="connsiteX75" fmla="*/ 1615440 w 3969900"/>
                      <a:gd name="connsiteY75" fmla="*/ 2687320 h 3617122"/>
                      <a:gd name="connsiteX76" fmla="*/ 1661160 w 3969900"/>
                      <a:gd name="connsiteY76" fmla="*/ 2687320 h 3617122"/>
                      <a:gd name="connsiteX77" fmla="*/ 1661160 w 3969900"/>
                      <a:gd name="connsiteY77" fmla="*/ 2748280 h 3617122"/>
                      <a:gd name="connsiteX78" fmla="*/ 1681480 w 3969900"/>
                      <a:gd name="connsiteY78" fmla="*/ 2768600 h 3617122"/>
                      <a:gd name="connsiteX79" fmla="*/ 1681480 w 3969900"/>
                      <a:gd name="connsiteY79" fmla="*/ 2834640 h 3617122"/>
                      <a:gd name="connsiteX80" fmla="*/ 1711960 w 3969900"/>
                      <a:gd name="connsiteY80" fmla="*/ 2834640 h 3617122"/>
                      <a:gd name="connsiteX81" fmla="*/ 1711960 w 3969900"/>
                      <a:gd name="connsiteY81" fmla="*/ 2880360 h 3617122"/>
                      <a:gd name="connsiteX82" fmla="*/ 1788160 w 3969900"/>
                      <a:gd name="connsiteY82" fmla="*/ 2880360 h 3617122"/>
                      <a:gd name="connsiteX83" fmla="*/ 1788160 w 3969900"/>
                      <a:gd name="connsiteY83" fmla="*/ 2910840 h 3617122"/>
                      <a:gd name="connsiteX84" fmla="*/ 1823720 w 3969900"/>
                      <a:gd name="connsiteY84" fmla="*/ 2910840 h 3617122"/>
                      <a:gd name="connsiteX85" fmla="*/ 1823720 w 3969900"/>
                      <a:gd name="connsiteY85" fmla="*/ 2961640 h 3617122"/>
                      <a:gd name="connsiteX86" fmla="*/ 1879600 w 3969900"/>
                      <a:gd name="connsiteY86" fmla="*/ 2961640 h 3617122"/>
                      <a:gd name="connsiteX87" fmla="*/ 1879600 w 3969900"/>
                      <a:gd name="connsiteY87" fmla="*/ 2997200 h 3617122"/>
                      <a:gd name="connsiteX88" fmla="*/ 1940560 w 3969900"/>
                      <a:gd name="connsiteY88" fmla="*/ 2997200 h 3617122"/>
                      <a:gd name="connsiteX89" fmla="*/ 1940560 w 3969900"/>
                      <a:gd name="connsiteY89" fmla="*/ 3068320 h 3617122"/>
                      <a:gd name="connsiteX90" fmla="*/ 2108200 w 3969900"/>
                      <a:gd name="connsiteY90" fmla="*/ 3068320 h 3617122"/>
                      <a:gd name="connsiteX91" fmla="*/ 2108200 w 3969900"/>
                      <a:gd name="connsiteY91" fmla="*/ 3068320 h 3617122"/>
                      <a:gd name="connsiteX92" fmla="*/ 2336800 w 3969900"/>
                      <a:gd name="connsiteY92" fmla="*/ 3068320 h 3617122"/>
                      <a:gd name="connsiteX93" fmla="*/ 2336800 w 3969900"/>
                      <a:gd name="connsiteY93" fmla="*/ 3134360 h 3617122"/>
                      <a:gd name="connsiteX94" fmla="*/ 2468880 w 3969900"/>
                      <a:gd name="connsiteY94" fmla="*/ 3134360 h 3617122"/>
                      <a:gd name="connsiteX95" fmla="*/ 2468880 w 3969900"/>
                      <a:gd name="connsiteY95" fmla="*/ 3180080 h 3617122"/>
                      <a:gd name="connsiteX96" fmla="*/ 2697480 w 3969900"/>
                      <a:gd name="connsiteY96" fmla="*/ 3180080 h 3617122"/>
                      <a:gd name="connsiteX97" fmla="*/ 2697480 w 3969900"/>
                      <a:gd name="connsiteY97" fmla="*/ 3230880 h 3617122"/>
                      <a:gd name="connsiteX98" fmla="*/ 2768600 w 3969900"/>
                      <a:gd name="connsiteY98" fmla="*/ 3230880 h 3617122"/>
                      <a:gd name="connsiteX99" fmla="*/ 2768600 w 3969900"/>
                      <a:gd name="connsiteY99" fmla="*/ 3251200 h 3617122"/>
                      <a:gd name="connsiteX100" fmla="*/ 3007360 w 3969900"/>
                      <a:gd name="connsiteY100" fmla="*/ 3251200 h 3617122"/>
                      <a:gd name="connsiteX101" fmla="*/ 3007360 w 3969900"/>
                      <a:gd name="connsiteY101" fmla="*/ 3296920 h 3617122"/>
                      <a:gd name="connsiteX102" fmla="*/ 3053080 w 3969900"/>
                      <a:gd name="connsiteY102" fmla="*/ 3296920 h 3617122"/>
                      <a:gd name="connsiteX103" fmla="*/ 3053080 w 3969900"/>
                      <a:gd name="connsiteY103" fmla="*/ 3347720 h 3617122"/>
                      <a:gd name="connsiteX104" fmla="*/ 3078480 w 3969900"/>
                      <a:gd name="connsiteY104" fmla="*/ 3347720 h 3617122"/>
                      <a:gd name="connsiteX105" fmla="*/ 3078480 w 3969900"/>
                      <a:gd name="connsiteY105" fmla="*/ 3393440 h 3617122"/>
                      <a:gd name="connsiteX106" fmla="*/ 3256280 w 3969900"/>
                      <a:gd name="connsiteY106" fmla="*/ 3393440 h 3617122"/>
                      <a:gd name="connsiteX107" fmla="*/ 3256280 w 3969900"/>
                      <a:gd name="connsiteY107" fmla="*/ 3439160 h 3617122"/>
                      <a:gd name="connsiteX108" fmla="*/ 3703320 w 3969900"/>
                      <a:gd name="connsiteY108" fmla="*/ 3439160 h 3617122"/>
                      <a:gd name="connsiteX109" fmla="*/ 3705740 w 3969900"/>
                      <a:gd name="connsiteY109" fmla="*/ 3524177 h 3617122"/>
                      <a:gd name="connsiteX110" fmla="*/ 3969900 w 3969900"/>
                      <a:gd name="connsiteY110" fmla="*/ 3521637 h 3617122"/>
                      <a:gd name="connsiteX111" fmla="*/ 3969899 w 3969900"/>
                      <a:gd name="connsiteY111" fmla="*/ 3610537 h 3617122"/>
                      <a:gd name="connsiteX112" fmla="*/ 3967359 w 3969900"/>
                      <a:gd name="connsiteY112" fmla="*/ 3610537 h 3617122"/>
                      <a:gd name="connsiteX0" fmla="*/ 0 w 4028322"/>
                      <a:gd name="connsiteY0" fmla="*/ 0 h 3617852"/>
                      <a:gd name="connsiteX1" fmla="*/ 0 w 4028322"/>
                      <a:gd name="connsiteY1" fmla="*/ 116840 h 3617852"/>
                      <a:gd name="connsiteX2" fmla="*/ 66040 w 4028322"/>
                      <a:gd name="connsiteY2" fmla="*/ 116840 h 3617852"/>
                      <a:gd name="connsiteX3" fmla="*/ 66040 w 4028322"/>
                      <a:gd name="connsiteY3" fmla="*/ 218440 h 3617852"/>
                      <a:gd name="connsiteX4" fmla="*/ 137160 w 4028322"/>
                      <a:gd name="connsiteY4" fmla="*/ 218440 h 3617852"/>
                      <a:gd name="connsiteX5" fmla="*/ 137160 w 4028322"/>
                      <a:gd name="connsiteY5" fmla="*/ 294640 h 3617852"/>
                      <a:gd name="connsiteX6" fmla="*/ 147320 w 4028322"/>
                      <a:gd name="connsiteY6" fmla="*/ 294640 h 3617852"/>
                      <a:gd name="connsiteX7" fmla="*/ 147320 w 4028322"/>
                      <a:gd name="connsiteY7" fmla="*/ 421640 h 3617852"/>
                      <a:gd name="connsiteX8" fmla="*/ 198120 w 4028322"/>
                      <a:gd name="connsiteY8" fmla="*/ 421640 h 3617852"/>
                      <a:gd name="connsiteX9" fmla="*/ 198120 w 4028322"/>
                      <a:gd name="connsiteY9" fmla="*/ 543560 h 3617852"/>
                      <a:gd name="connsiteX10" fmla="*/ 198120 w 4028322"/>
                      <a:gd name="connsiteY10" fmla="*/ 543560 h 3617852"/>
                      <a:gd name="connsiteX11" fmla="*/ 243840 w 4028322"/>
                      <a:gd name="connsiteY11" fmla="*/ 589280 h 3617852"/>
                      <a:gd name="connsiteX12" fmla="*/ 259080 w 4028322"/>
                      <a:gd name="connsiteY12" fmla="*/ 604520 h 3617852"/>
                      <a:gd name="connsiteX13" fmla="*/ 259080 w 4028322"/>
                      <a:gd name="connsiteY13" fmla="*/ 665480 h 3617852"/>
                      <a:gd name="connsiteX14" fmla="*/ 294640 w 4028322"/>
                      <a:gd name="connsiteY14" fmla="*/ 665480 h 3617852"/>
                      <a:gd name="connsiteX15" fmla="*/ 294640 w 4028322"/>
                      <a:gd name="connsiteY15" fmla="*/ 716280 h 3617852"/>
                      <a:gd name="connsiteX16" fmla="*/ 320040 w 4028322"/>
                      <a:gd name="connsiteY16" fmla="*/ 716280 h 3617852"/>
                      <a:gd name="connsiteX17" fmla="*/ 320040 w 4028322"/>
                      <a:gd name="connsiteY17" fmla="*/ 792480 h 3617852"/>
                      <a:gd name="connsiteX18" fmla="*/ 335280 w 4028322"/>
                      <a:gd name="connsiteY18" fmla="*/ 792480 h 3617852"/>
                      <a:gd name="connsiteX19" fmla="*/ 335280 w 4028322"/>
                      <a:gd name="connsiteY19" fmla="*/ 889000 h 3617852"/>
                      <a:gd name="connsiteX20" fmla="*/ 375920 w 4028322"/>
                      <a:gd name="connsiteY20" fmla="*/ 889000 h 3617852"/>
                      <a:gd name="connsiteX21" fmla="*/ 375920 w 4028322"/>
                      <a:gd name="connsiteY21" fmla="*/ 949960 h 3617852"/>
                      <a:gd name="connsiteX22" fmla="*/ 375920 w 4028322"/>
                      <a:gd name="connsiteY22" fmla="*/ 949960 h 3617852"/>
                      <a:gd name="connsiteX23" fmla="*/ 416560 w 4028322"/>
                      <a:gd name="connsiteY23" fmla="*/ 949960 h 3617852"/>
                      <a:gd name="connsiteX24" fmla="*/ 416560 w 4028322"/>
                      <a:gd name="connsiteY24" fmla="*/ 1026160 h 3617852"/>
                      <a:gd name="connsiteX25" fmla="*/ 441960 w 4028322"/>
                      <a:gd name="connsiteY25" fmla="*/ 1026160 h 3617852"/>
                      <a:gd name="connsiteX26" fmla="*/ 441960 w 4028322"/>
                      <a:gd name="connsiteY26" fmla="*/ 1092200 h 3617852"/>
                      <a:gd name="connsiteX27" fmla="*/ 472440 w 4028322"/>
                      <a:gd name="connsiteY27" fmla="*/ 1092200 h 3617852"/>
                      <a:gd name="connsiteX28" fmla="*/ 472440 w 4028322"/>
                      <a:gd name="connsiteY28" fmla="*/ 1214120 h 3617852"/>
                      <a:gd name="connsiteX29" fmla="*/ 492760 w 4028322"/>
                      <a:gd name="connsiteY29" fmla="*/ 1234440 h 3617852"/>
                      <a:gd name="connsiteX30" fmla="*/ 492760 w 4028322"/>
                      <a:gd name="connsiteY30" fmla="*/ 1285240 h 3617852"/>
                      <a:gd name="connsiteX31" fmla="*/ 553720 w 4028322"/>
                      <a:gd name="connsiteY31" fmla="*/ 1285240 h 3617852"/>
                      <a:gd name="connsiteX32" fmla="*/ 553720 w 4028322"/>
                      <a:gd name="connsiteY32" fmla="*/ 1386840 h 3617852"/>
                      <a:gd name="connsiteX33" fmla="*/ 553720 w 4028322"/>
                      <a:gd name="connsiteY33" fmla="*/ 1427480 h 3617852"/>
                      <a:gd name="connsiteX34" fmla="*/ 599440 w 4028322"/>
                      <a:gd name="connsiteY34" fmla="*/ 1427480 h 3617852"/>
                      <a:gd name="connsiteX35" fmla="*/ 599440 w 4028322"/>
                      <a:gd name="connsiteY35" fmla="*/ 1493520 h 3617852"/>
                      <a:gd name="connsiteX36" fmla="*/ 650240 w 4028322"/>
                      <a:gd name="connsiteY36" fmla="*/ 1493520 h 3617852"/>
                      <a:gd name="connsiteX37" fmla="*/ 650240 w 4028322"/>
                      <a:gd name="connsiteY37" fmla="*/ 1539240 h 3617852"/>
                      <a:gd name="connsiteX38" fmla="*/ 695960 w 4028322"/>
                      <a:gd name="connsiteY38" fmla="*/ 1539240 h 3617852"/>
                      <a:gd name="connsiteX39" fmla="*/ 695960 w 4028322"/>
                      <a:gd name="connsiteY39" fmla="*/ 1635760 h 3617852"/>
                      <a:gd name="connsiteX40" fmla="*/ 731520 w 4028322"/>
                      <a:gd name="connsiteY40" fmla="*/ 1635760 h 3617852"/>
                      <a:gd name="connsiteX41" fmla="*/ 731520 w 4028322"/>
                      <a:gd name="connsiteY41" fmla="*/ 1706880 h 3617852"/>
                      <a:gd name="connsiteX42" fmla="*/ 762000 w 4028322"/>
                      <a:gd name="connsiteY42" fmla="*/ 1706880 h 3617852"/>
                      <a:gd name="connsiteX43" fmla="*/ 762000 w 4028322"/>
                      <a:gd name="connsiteY43" fmla="*/ 1803400 h 3617852"/>
                      <a:gd name="connsiteX44" fmla="*/ 797560 w 4028322"/>
                      <a:gd name="connsiteY44" fmla="*/ 1803400 h 3617852"/>
                      <a:gd name="connsiteX45" fmla="*/ 797560 w 4028322"/>
                      <a:gd name="connsiteY45" fmla="*/ 1854200 h 3617852"/>
                      <a:gd name="connsiteX46" fmla="*/ 853440 w 4028322"/>
                      <a:gd name="connsiteY46" fmla="*/ 1854200 h 3617852"/>
                      <a:gd name="connsiteX47" fmla="*/ 853440 w 4028322"/>
                      <a:gd name="connsiteY47" fmla="*/ 1940560 h 3617852"/>
                      <a:gd name="connsiteX48" fmla="*/ 894080 w 4028322"/>
                      <a:gd name="connsiteY48" fmla="*/ 1940560 h 3617852"/>
                      <a:gd name="connsiteX49" fmla="*/ 894080 w 4028322"/>
                      <a:gd name="connsiteY49" fmla="*/ 2011680 h 3617852"/>
                      <a:gd name="connsiteX50" fmla="*/ 939800 w 4028322"/>
                      <a:gd name="connsiteY50" fmla="*/ 2011680 h 3617852"/>
                      <a:gd name="connsiteX51" fmla="*/ 939800 w 4028322"/>
                      <a:gd name="connsiteY51" fmla="*/ 2062480 h 3617852"/>
                      <a:gd name="connsiteX52" fmla="*/ 1000760 w 4028322"/>
                      <a:gd name="connsiteY52" fmla="*/ 2062480 h 3617852"/>
                      <a:gd name="connsiteX53" fmla="*/ 1000760 w 4028322"/>
                      <a:gd name="connsiteY53" fmla="*/ 2128520 h 3617852"/>
                      <a:gd name="connsiteX54" fmla="*/ 1000760 w 4028322"/>
                      <a:gd name="connsiteY54" fmla="*/ 2128520 h 3617852"/>
                      <a:gd name="connsiteX55" fmla="*/ 1000760 w 4028322"/>
                      <a:gd name="connsiteY55" fmla="*/ 2214880 h 3617852"/>
                      <a:gd name="connsiteX56" fmla="*/ 1051560 w 4028322"/>
                      <a:gd name="connsiteY56" fmla="*/ 2214880 h 3617852"/>
                      <a:gd name="connsiteX57" fmla="*/ 1051560 w 4028322"/>
                      <a:gd name="connsiteY57" fmla="*/ 2235200 h 3617852"/>
                      <a:gd name="connsiteX58" fmla="*/ 1097280 w 4028322"/>
                      <a:gd name="connsiteY58" fmla="*/ 2235200 h 3617852"/>
                      <a:gd name="connsiteX59" fmla="*/ 1097280 w 4028322"/>
                      <a:gd name="connsiteY59" fmla="*/ 2235200 h 3617852"/>
                      <a:gd name="connsiteX60" fmla="*/ 1132840 w 4028322"/>
                      <a:gd name="connsiteY60" fmla="*/ 2270760 h 3617852"/>
                      <a:gd name="connsiteX61" fmla="*/ 1132840 w 4028322"/>
                      <a:gd name="connsiteY61" fmla="*/ 2341880 h 3617852"/>
                      <a:gd name="connsiteX62" fmla="*/ 1188720 w 4028322"/>
                      <a:gd name="connsiteY62" fmla="*/ 2341880 h 3617852"/>
                      <a:gd name="connsiteX63" fmla="*/ 1188720 w 4028322"/>
                      <a:gd name="connsiteY63" fmla="*/ 2377440 h 3617852"/>
                      <a:gd name="connsiteX64" fmla="*/ 1244600 w 4028322"/>
                      <a:gd name="connsiteY64" fmla="*/ 2377440 h 3617852"/>
                      <a:gd name="connsiteX65" fmla="*/ 1244600 w 4028322"/>
                      <a:gd name="connsiteY65" fmla="*/ 2377440 h 3617852"/>
                      <a:gd name="connsiteX66" fmla="*/ 1290320 w 4028322"/>
                      <a:gd name="connsiteY66" fmla="*/ 2377440 h 3617852"/>
                      <a:gd name="connsiteX67" fmla="*/ 1290320 w 4028322"/>
                      <a:gd name="connsiteY67" fmla="*/ 2479040 h 3617852"/>
                      <a:gd name="connsiteX68" fmla="*/ 1351280 w 4028322"/>
                      <a:gd name="connsiteY68" fmla="*/ 2479040 h 3617852"/>
                      <a:gd name="connsiteX69" fmla="*/ 1351280 w 4028322"/>
                      <a:gd name="connsiteY69" fmla="*/ 2540000 h 3617852"/>
                      <a:gd name="connsiteX70" fmla="*/ 1422400 w 4028322"/>
                      <a:gd name="connsiteY70" fmla="*/ 2540000 h 3617852"/>
                      <a:gd name="connsiteX71" fmla="*/ 1422400 w 4028322"/>
                      <a:gd name="connsiteY71" fmla="*/ 2600960 h 3617852"/>
                      <a:gd name="connsiteX72" fmla="*/ 1549400 w 4028322"/>
                      <a:gd name="connsiteY72" fmla="*/ 2600960 h 3617852"/>
                      <a:gd name="connsiteX73" fmla="*/ 1549400 w 4028322"/>
                      <a:gd name="connsiteY73" fmla="*/ 2651760 h 3617852"/>
                      <a:gd name="connsiteX74" fmla="*/ 1615440 w 4028322"/>
                      <a:gd name="connsiteY74" fmla="*/ 2651760 h 3617852"/>
                      <a:gd name="connsiteX75" fmla="*/ 1615440 w 4028322"/>
                      <a:gd name="connsiteY75" fmla="*/ 2687320 h 3617852"/>
                      <a:gd name="connsiteX76" fmla="*/ 1661160 w 4028322"/>
                      <a:gd name="connsiteY76" fmla="*/ 2687320 h 3617852"/>
                      <a:gd name="connsiteX77" fmla="*/ 1661160 w 4028322"/>
                      <a:gd name="connsiteY77" fmla="*/ 2748280 h 3617852"/>
                      <a:gd name="connsiteX78" fmla="*/ 1681480 w 4028322"/>
                      <a:gd name="connsiteY78" fmla="*/ 2768600 h 3617852"/>
                      <a:gd name="connsiteX79" fmla="*/ 1681480 w 4028322"/>
                      <a:gd name="connsiteY79" fmla="*/ 2834640 h 3617852"/>
                      <a:gd name="connsiteX80" fmla="*/ 1711960 w 4028322"/>
                      <a:gd name="connsiteY80" fmla="*/ 2834640 h 3617852"/>
                      <a:gd name="connsiteX81" fmla="*/ 1711960 w 4028322"/>
                      <a:gd name="connsiteY81" fmla="*/ 2880360 h 3617852"/>
                      <a:gd name="connsiteX82" fmla="*/ 1788160 w 4028322"/>
                      <a:gd name="connsiteY82" fmla="*/ 2880360 h 3617852"/>
                      <a:gd name="connsiteX83" fmla="*/ 1788160 w 4028322"/>
                      <a:gd name="connsiteY83" fmla="*/ 2910840 h 3617852"/>
                      <a:gd name="connsiteX84" fmla="*/ 1823720 w 4028322"/>
                      <a:gd name="connsiteY84" fmla="*/ 2910840 h 3617852"/>
                      <a:gd name="connsiteX85" fmla="*/ 1823720 w 4028322"/>
                      <a:gd name="connsiteY85" fmla="*/ 2961640 h 3617852"/>
                      <a:gd name="connsiteX86" fmla="*/ 1879600 w 4028322"/>
                      <a:gd name="connsiteY86" fmla="*/ 2961640 h 3617852"/>
                      <a:gd name="connsiteX87" fmla="*/ 1879600 w 4028322"/>
                      <a:gd name="connsiteY87" fmla="*/ 2997200 h 3617852"/>
                      <a:gd name="connsiteX88" fmla="*/ 1940560 w 4028322"/>
                      <a:gd name="connsiteY88" fmla="*/ 2997200 h 3617852"/>
                      <a:gd name="connsiteX89" fmla="*/ 1940560 w 4028322"/>
                      <a:gd name="connsiteY89" fmla="*/ 3068320 h 3617852"/>
                      <a:gd name="connsiteX90" fmla="*/ 2108200 w 4028322"/>
                      <a:gd name="connsiteY90" fmla="*/ 3068320 h 3617852"/>
                      <a:gd name="connsiteX91" fmla="*/ 2108200 w 4028322"/>
                      <a:gd name="connsiteY91" fmla="*/ 3068320 h 3617852"/>
                      <a:gd name="connsiteX92" fmla="*/ 2336800 w 4028322"/>
                      <a:gd name="connsiteY92" fmla="*/ 3068320 h 3617852"/>
                      <a:gd name="connsiteX93" fmla="*/ 2336800 w 4028322"/>
                      <a:gd name="connsiteY93" fmla="*/ 3134360 h 3617852"/>
                      <a:gd name="connsiteX94" fmla="*/ 2468880 w 4028322"/>
                      <a:gd name="connsiteY94" fmla="*/ 3134360 h 3617852"/>
                      <a:gd name="connsiteX95" fmla="*/ 2468880 w 4028322"/>
                      <a:gd name="connsiteY95" fmla="*/ 3180080 h 3617852"/>
                      <a:gd name="connsiteX96" fmla="*/ 2697480 w 4028322"/>
                      <a:gd name="connsiteY96" fmla="*/ 3180080 h 3617852"/>
                      <a:gd name="connsiteX97" fmla="*/ 2697480 w 4028322"/>
                      <a:gd name="connsiteY97" fmla="*/ 3230880 h 3617852"/>
                      <a:gd name="connsiteX98" fmla="*/ 2768600 w 4028322"/>
                      <a:gd name="connsiteY98" fmla="*/ 3230880 h 3617852"/>
                      <a:gd name="connsiteX99" fmla="*/ 2768600 w 4028322"/>
                      <a:gd name="connsiteY99" fmla="*/ 3251200 h 3617852"/>
                      <a:gd name="connsiteX100" fmla="*/ 3007360 w 4028322"/>
                      <a:gd name="connsiteY100" fmla="*/ 3251200 h 3617852"/>
                      <a:gd name="connsiteX101" fmla="*/ 3007360 w 4028322"/>
                      <a:gd name="connsiteY101" fmla="*/ 3296920 h 3617852"/>
                      <a:gd name="connsiteX102" fmla="*/ 3053080 w 4028322"/>
                      <a:gd name="connsiteY102" fmla="*/ 3296920 h 3617852"/>
                      <a:gd name="connsiteX103" fmla="*/ 3053080 w 4028322"/>
                      <a:gd name="connsiteY103" fmla="*/ 3347720 h 3617852"/>
                      <a:gd name="connsiteX104" fmla="*/ 3078480 w 4028322"/>
                      <a:gd name="connsiteY104" fmla="*/ 3347720 h 3617852"/>
                      <a:gd name="connsiteX105" fmla="*/ 3078480 w 4028322"/>
                      <a:gd name="connsiteY105" fmla="*/ 3393440 h 3617852"/>
                      <a:gd name="connsiteX106" fmla="*/ 3256280 w 4028322"/>
                      <a:gd name="connsiteY106" fmla="*/ 3393440 h 3617852"/>
                      <a:gd name="connsiteX107" fmla="*/ 3256280 w 4028322"/>
                      <a:gd name="connsiteY107" fmla="*/ 3439160 h 3617852"/>
                      <a:gd name="connsiteX108" fmla="*/ 3703320 w 4028322"/>
                      <a:gd name="connsiteY108" fmla="*/ 3439160 h 3617852"/>
                      <a:gd name="connsiteX109" fmla="*/ 3705740 w 4028322"/>
                      <a:gd name="connsiteY109" fmla="*/ 3524177 h 3617852"/>
                      <a:gd name="connsiteX110" fmla="*/ 3969900 w 4028322"/>
                      <a:gd name="connsiteY110" fmla="*/ 3521637 h 3617852"/>
                      <a:gd name="connsiteX111" fmla="*/ 3969899 w 4028322"/>
                      <a:gd name="connsiteY111" fmla="*/ 3610537 h 3617852"/>
                      <a:gd name="connsiteX112" fmla="*/ 4028319 w 4028322"/>
                      <a:gd name="connsiteY112" fmla="*/ 3613077 h 3617852"/>
                      <a:gd name="connsiteX0" fmla="*/ 0 w 4034451"/>
                      <a:gd name="connsiteY0" fmla="*/ 0 h 3617852"/>
                      <a:gd name="connsiteX1" fmla="*/ 0 w 4034451"/>
                      <a:gd name="connsiteY1" fmla="*/ 116840 h 3617852"/>
                      <a:gd name="connsiteX2" fmla="*/ 66040 w 4034451"/>
                      <a:gd name="connsiteY2" fmla="*/ 116840 h 3617852"/>
                      <a:gd name="connsiteX3" fmla="*/ 66040 w 4034451"/>
                      <a:gd name="connsiteY3" fmla="*/ 218440 h 3617852"/>
                      <a:gd name="connsiteX4" fmla="*/ 137160 w 4034451"/>
                      <a:gd name="connsiteY4" fmla="*/ 218440 h 3617852"/>
                      <a:gd name="connsiteX5" fmla="*/ 137160 w 4034451"/>
                      <a:gd name="connsiteY5" fmla="*/ 294640 h 3617852"/>
                      <a:gd name="connsiteX6" fmla="*/ 147320 w 4034451"/>
                      <a:gd name="connsiteY6" fmla="*/ 294640 h 3617852"/>
                      <a:gd name="connsiteX7" fmla="*/ 147320 w 4034451"/>
                      <a:gd name="connsiteY7" fmla="*/ 421640 h 3617852"/>
                      <a:gd name="connsiteX8" fmla="*/ 198120 w 4034451"/>
                      <a:gd name="connsiteY8" fmla="*/ 421640 h 3617852"/>
                      <a:gd name="connsiteX9" fmla="*/ 198120 w 4034451"/>
                      <a:gd name="connsiteY9" fmla="*/ 543560 h 3617852"/>
                      <a:gd name="connsiteX10" fmla="*/ 198120 w 4034451"/>
                      <a:gd name="connsiteY10" fmla="*/ 543560 h 3617852"/>
                      <a:gd name="connsiteX11" fmla="*/ 243840 w 4034451"/>
                      <a:gd name="connsiteY11" fmla="*/ 589280 h 3617852"/>
                      <a:gd name="connsiteX12" fmla="*/ 259080 w 4034451"/>
                      <a:gd name="connsiteY12" fmla="*/ 604520 h 3617852"/>
                      <a:gd name="connsiteX13" fmla="*/ 259080 w 4034451"/>
                      <a:gd name="connsiteY13" fmla="*/ 665480 h 3617852"/>
                      <a:gd name="connsiteX14" fmla="*/ 294640 w 4034451"/>
                      <a:gd name="connsiteY14" fmla="*/ 665480 h 3617852"/>
                      <a:gd name="connsiteX15" fmla="*/ 294640 w 4034451"/>
                      <a:gd name="connsiteY15" fmla="*/ 716280 h 3617852"/>
                      <a:gd name="connsiteX16" fmla="*/ 320040 w 4034451"/>
                      <a:gd name="connsiteY16" fmla="*/ 716280 h 3617852"/>
                      <a:gd name="connsiteX17" fmla="*/ 320040 w 4034451"/>
                      <a:gd name="connsiteY17" fmla="*/ 792480 h 3617852"/>
                      <a:gd name="connsiteX18" fmla="*/ 335280 w 4034451"/>
                      <a:gd name="connsiteY18" fmla="*/ 792480 h 3617852"/>
                      <a:gd name="connsiteX19" fmla="*/ 335280 w 4034451"/>
                      <a:gd name="connsiteY19" fmla="*/ 889000 h 3617852"/>
                      <a:gd name="connsiteX20" fmla="*/ 375920 w 4034451"/>
                      <a:gd name="connsiteY20" fmla="*/ 889000 h 3617852"/>
                      <a:gd name="connsiteX21" fmla="*/ 375920 w 4034451"/>
                      <a:gd name="connsiteY21" fmla="*/ 949960 h 3617852"/>
                      <a:gd name="connsiteX22" fmla="*/ 375920 w 4034451"/>
                      <a:gd name="connsiteY22" fmla="*/ 949960 h 3617852"/>
                      <a:gd name="connsiteX23" fmla="*/ 416560 w 4034451"/>
                      <a:gd name="connsiteY23" fmla="*/ 949960 h 3617852"/>
                      <a:gd name="connsiteX24" fmla="*/ 416560 w 4034451"/>
                      <a:gd name="connsiteY24" fmla="*/ 1026160 h 3617852"/>
                      <a:gd name="connsiteX25" fmla="*/ 441960 w 4034451"/>
                      <a:gd name="connsiteY25" fmla="*/ 1026160 h 3617852"/>
                      <a:gd name="connsiteX26" fmla="*/ 441960 w 4034451"/>
                      <a:gd name="connsiteY26" fmla="*/ 1092200 h 3617852"/>
                      <a:gd name="connsiteX27" fmla="*/ 472440 w 4034451"/>
                      <a:gd name="connsiteY27" fmla="*/ 1092200 h 3617852"/>
                      <a:gd name="connsiteX28" fmla="*/ 472440 w 4034451"/>
                      <a:gd name="connsiteY28" fmla="*/ 1214120 h 3617852"/>
                      <a:gd name="connsiteX29" fmla="*/ 492760 w 4034451"/>
                      <a:gd name="connsiteY29" fmla="*/ 1234440 h 3617852"/>
                      <a:gd name="connsiteX30" fmla="*/ 492760 w 4034451"/>
                      <a:gd name="connsiteY30" fmla="*/ 1285240 h 3617852"/>
                      <a:gd name="connsiteX31" fmla="*/ 553720 w 4034451"/>
                      <a:gd name="connsiteY31" fmla="*/ 1285240 h 3617852"/>
                      <a:gd name="connsiteX32" fmla="*/ 553720 w 4034451"/>
                      <a:gd name="connsiteY32" fmla="*/ 1386840 h 3617852"/>
                      <a:gd name="connsiteX33" fmla="*/ 553720 w 4034451"/>
                      <a:gd name="connsiteY33" fmla="*/ 1427480 h 3617852"/>
                      <a:gd name="connsiteX34" fmla="*/ 599440 w 4034451"/>
                      <a:gd name="connsiteY34" fmla="*/ 1427480 h 3617852"/>
                      <a:gd name="connsiteX35" fmla="*/ 599440 w 4034451"/>
                      <a:gd name="connsiteY35" fmla="*/ 1493520 h 3617852"/>
                      <a:gd name="connsiteX36" fmla="*/ 650240 w 4034451"/>
                      <a:gd name="connsiteY36" fmla="*/ 1493520 h 3617852"/>
                      <a:gd name="connsiteX37" fmla="*/ 650240 w 4034451"/>
                      <a:gd name="connsiteY37" fmla="*/ 1539240 h 3617852"/>
                      <a:gd name="connsiteX38" fmla="*/ 695960 w 4034451"/>
                      <a:gd name="connsiteY38" fmla="*/ 1539240 h 3617852"/>
                      <a:gd name="connsiteX39" fmla="*/ 695960 w 4034451"/>
                      <a:gd name="connsiteY39" fmla="*/ 1635760 h 3617852"/>
                      <a:gd name="connsiteX40" fmla="*/ 731520 w 4034451"/>
                      <a:gd name="connsiteY40" fmla="*/ 1635760 h 3617852"/>
                      <a:gd name="connsiteX41" fmla="*/ 731520 w 4034451"/>
                      <a:gd name="connsiteY41" fmla="*/ 1706880 h 3617852"/>
                      <a:gd name="connsiteX42" fmla="*/ 762000 w 4034451"/>
                      <a:gd name="connsiteY42" fmla="*/ 1706880 h 3617852"/>
                      <a:gd name="connsiteX43" fmla="*/ 762000 w 4034451"/>
                      <a:gd name="connsiteY43" fmla="*/ 1803400 h 3617852"/>
                      <a:gd name="connsiteX44" fmla="*/ 797560 w 4034451"/>
                      <a:gd name="connsiteY44" fmla="*/ 1803400 h 3617852"/>
                      <a:gd name="connsiteX45" fmla="*/ 797560 w 4034451"/>
                      <a:gd name="connsiteY45" fmla="*/ 1854200 h 3617852"/>
                      <a:gd name="connsiteX46" fmla="*/ 853440 w 4034451"/>
                      <a:gd name="connsiteY46" fmla="*/ 1854200 h 3617852"/>
                      <a:gd name="connsiteX47" fmla="*/ 853440 w 4034451"/>
                      <a:gd name="connsiteY47" fmla="*/ 1940560 h 3617852"/>
                      <a:gd name="connsiteX48" fmla="*/ 894080 w 4034451"/>
                      <a:gd name="connsiteY48" fmla="*/ 1940560 h 3617852"/>
                      <a:gd name="connsiteX49" fmla="*/ 894080 w 4034451"/>
                      <a:gd name="connsiteY49" fmla="*/ 2011680 h 3617852"/>
                      <a:gd name="connsiteX50" fmla="*/ 939800 w 4034451"/>
                      <a:gd name="connsiteY50" fmla="*/ 2011680 h 3617852"/>
                      <a:gd name="connsiteX51" fmla="*/ 939800 w 4034451"/>
                      <a:gd name="connsiteY51" fmla="*/ 2062480 h 3617852"/>
                      <a:gd name="connsiteX52" fmla="*/ 1000760 w 4034451"/>
                      <a:gd name="connsiteY52" fmla="*/ 2062480 h 3617852"/>
                      <a:gd name="connsiteX53" fmla="*/ 1000760 w 4034451"/>
                      <a:gd name="connsiteY53" fmla="*/ 2128520 h 3617852"/>
                      <a:gd name="connsiteX54" fmla="*/ 1000760 w 4034451"/>
                      <a:gd name="connsiteY54" fmla="*/ 2128520 h 3617852"/>
                      <a:gd name="connsiteX55" fmla="*/ 1000760 w 4034451"/>
                      <a:gd name="connsiteY55" fmla="*/ 2214880 h 3617852"/>
                      <a:gd name="connsiteX56" fmla="*/ 1051560 w 4034451"/>
                      <a:gd name="connsiteY56" fmla="*/ 2214880 h 3617852"/>
                      <a:gd name="connsiteX57" fmla="*/ 1051560 w 4034451"/>
                      <a:gd name="connsiteY57" fmla="*/ 2235200 h 3617852"/>
                      <a:gd name="connsiteX58" fmla="*/ 1097280 w 4034451"/>
                      <a:gd name="connsiteY58" fmla="*/ 2235200 h 3617852"/>
                      <a:gd name="connsiteX59" fmla="*/ 1097280 w 4034451"/>
                      <a:gd name="connsiteY59" fmla="*/ 2235200 h 3617852"/>
                      <a:gd name="connsiteX60" fmla="*/ 1132840 w 4034451"/>
                      <a:gd name="connsiteY60" fmla="*/ 2270760 h 3617852"/>
                      <a:gd name="connsiteX61" fmla="*/ 1132840 w 4034451"/>
                      <a:gd name="connsiteY61" fmla="*/ 2341880 h 3617852"/>
                      <a:gd name="connsiteX62" fmla="*/ 1188720 w 4034451"/>
                      <a:gd name="connsiteY62" fmla="*/ 2341880 h 3617852"/>
                      <a:gd name="connsiteX63" fmla="*/ 1188720 w 4034451"/>
                      <a:gd name="connsiteY63" fmla="*/ 2377440 h 3617852"/>
                      <a:gd name="connsiteX64" fmla="*/ 1244600 w 4034451"/>
                      <a:gd name="connsiteY64" fmla="*/ 2377440 h 3617852"/>
                      <a:gd name="connsiteX65" fmla="*/ 1244600 w 4034451"/>
                      <a:gd name="connsiteY65" fmla="*/ 2377440 h 3617852"/>
                      <a:gd name="connsiteX66" fmla="*/ 1290320 w 4034451"/>
                      <a:gd name="connsiteY66" fmla="*/ 2377440 h 3617852"/>
                      <a:gd name="connsiteX67" fmla="*/ 1290320 w 4034451"/>
                      <a:gd name="connsiteY67" fmla="*/ 2479040 h 3617852"/>
                      <a:gd name="connsiteX68" fmla="*/ 1351280 w 4034451"/>
                      <a:gd name="connsiteY68" fmla="*/ 2479040 h 3617852"/>
                      <a:gd name="connsiteX69" fmla="*/ 1351280 w 4034451"/>
                      <a:gd name="connsiteY69" fmla="*/ 2540000 h 3617852"/>
                      <a:gd name="connsiteX70" fmla="*/ 1422400 w 4034451"/>
                      <a:gd name="connsiteY70" fmla="*/ 2540000 h 3617852"/>
                      <a:gd name="connsiteX71" fmla="*/ 1422400 w 4034451"/>
                      <a:gd name="connsiteY71" fmla="*/ 2600960 h 3617852"/>
                      <a:gd name="connsiteX72" fmla="*/ 1549400 w 4034451"/>
                      <a:gd name="connsiteY72" fmla="*/ 2600960 h 3617852"/>
                      <a:gd name="connsiteX73" fmla="*/ 1549400 w 4034451"/>
                      <a:gd name="connsiteY73" fmla="*/ 2651760 h 3617852"/>
                      <a:gd name="connsiteX74" fmla="*/ 1615440 w 4034451"/>
                      <a:gd name="connsiteY74" fmla="*/ 2651760 h 3617852"/>
                      <a:gd name="connsiteX75" fmla="*/ 1615440 w 4034451"/>
                      <a:gd name="connsiteY75" fmla="*/ 2687320 h 3617852"/>
                      <a:gd name="connsiteX76" fmla="*/ 1661160 w 4034451"/>
                      <a:gd name="connsiteY76" fmla="*/ 2687320 h 3617852"/>
                      <a:gd name="connsiteX77" fmla="*/ 1661160 w 4034451"/>
                      <a:gd name="connsiteY77" fmla="*/ 2748280 h 3617852"/>
                      <a:gd name="connsiteX78" fmla="*/ 1681480 w 4034451"/>
                      <a:gd name="connsiteY78" fmla="*/ 2768600 h 3617852"/>
                      <a:gd name="connsiteX79" fmla="*/ 1681480 w 4034451"/>
                      <a:gd name="connsiteY79" fmla="*/ 2834640 h 3617852"/>
                      <a:gd name="connsiteX80" fmla="*/ 1711960 w 4034451"/>
                      <a:gd name="connsiteY80" fmla="*/ 2834640 h 3617852"/>
                      <a:gd name="connsiteX81" fmla="*/ 1711960 w 4034451"/>
                      <a:gd name="connsiteY81" fmla="*/ 2880360 h 3617852"/>
                      <a:gd name="connsiteX82" fmla="*/ 1788160 w 4034451"/>
                      <a:gd name="connsiteY82" fmla="*/ 2880360 h 3617852"/>
                      <a:gd name="connsiteX83" fmla="*/ 1788160 w 4034451"/>
                      <a:gd name="connsiteY83" fmla="*/ 2910840 h 3617852"/>
                      <a:gd name="connsiteX84" fmla="*/ 1823720 w 4034451"/>
                      <a:gd name="connsiteY84" fmla="*/ 2910840 h 3617852"/>
                      <a:gd name="connsiteX85" fmla="*/ 1823720 w 4034451"/>
                      <a:gd name="connsiteY85" fmla="*/ 2961640 h 3617852"/>
                      <a:gd name="connsiteX86" fmla="*/ 1879600 w 4034451"/>
                      <a:gd name="connsiteY86" fmla="*/ 2961640 h 3617852"/>
                      <a:gd name="connsiteX87" fmla="*/ 1879600 w 4034451"/>
                      <a:gd name="connsiteY87" fmla="*/ 2997200 h 3617852"/>
                      <a:gd name="connsiteX88" fmla="*/ 1940560 w 4034451"/>
                      <a:gd name="connsiteY88" fmla="*/ 2997200 h 3617852"/>
                      <a:gd name="connsiteX89" fmla="*/ 1940560 w 4034451"/>
                      <a:gd name="connsiteY89" fmla="*/ 3068320 h 3617852"/>
                      <a:gd name="connsiteX90" fmla="*/ 2108200 w 4034451"/>
                      <a:gd name="connsiteY90" fmla="*/ 3068320 h 3617852"/>
                      <a:gd name="connsiteX91" fmla="*/ 2108200 w 4034451"/>
                      <a:gd name="connsiteY91" fmla="*/ 3068320 h 3617852"/>
                      <a:gd name="connsiteX92" fmla="*/ 2336800 w 4034451"/>
                      <a:gd name="connsiteY92" fmla="*/ 3068320 h 3617852"/>
                      <a:gd name="connsiteX93" fmla="*/ 2336800 w 4034451"/>
                      <a:gd name="connsiteY93" fmla="*/ 3134360 h 3617852"/>
                      <a:gd name="connsiteX94" fmla="*/ 2468880 w 4034451"/>
                      <a:gd name="connsiteY94" fmla="*/ 3134360 h 3617852"/>
                      <a:gd name="connsiteX95" fmla="*/ 2468880 w 4034451"/>
                      <a:gd name="connsiteY95" fmla="*/ 3180080 h 3617852"/>
                      <a:gd name="connsiteX96" fmla="*/ 2697480 w 4034451"/>
                      <a:gd name="connsiteY96" fmla="*/ 3180080 h 3617852"/>
                      <a:gd name="connsiteX97" fmla="*/ 2697480 w 4034451"/>
                      <a:gd name="connsiteY97" fmla="*/ 3230880 h 3617852"/>
                      <a:gd name="connsiteX98" fmla="*/ 2768600 w 4034451"/>
                      <a:gd name="connsiteY98" fmla="*/ 3230880 h 3617852"/>
                      <a:gd name="connsiteX99" fmla="*/ 2768600 w 4034451"/>
                      <a:gd name="connsiteY99" fmla="*/ 3251200 h 3617852"/>
                      <a:gd name="connsiteX100" fmla="*/ 3007360 w 4034451"/>
                      <a:gd name="connsiteY100" fmla="*/ 3251200 h 3617852"/>
                      <a:gd name="connsiteX101" fmla="*/ 3007360 w 4034451"/>
                      <a:gd name="connsiteY101" fmla="*/ 3296920 h 3617852"/>
                      <a:gd name="connsiteX102" fmla="*/ 3053080 w 4034451"/>
                      <a:gd name="connsiteY102" fmla="*/ 3296920 h 3617852"/>
                      <a:gd name="connsiteX103" fmla="*/ 3053080 w 4034451"/>
                      <a:gd name="connsiteY103" fmla="*/ 3347720 h 3617852"/>
                      <a:gd name="connsiteX104" fmla="*/ 3078480 w 4034451"/>
                      <a:gd name="connsiteY104" fmla="*/ 3347720 h 3617852"/>
                      <a:gd name="connsiteX105" fmla="*/ 3078480 w 4034451"/>
                      <a:gd name="connsiteY105" fmla="*/ 3393440 h 3617852"/>
                      <a:gd name="connsiteX106" fmla="*/ 3256280 w 4034451"/>
                      <a:gd name="connsiteY106" fmla="*/ 3393440 h 3617852"/>
                      <a:gd name="connsiteX107" fmla="*/ 3256280 w 4034451"/>
                      <a:gd name="connsiteY107" fmla="*/ 3439160 h 3617852"/>
                      <a:gd name="connsiteX108" fmla="*/ 3703320 w 4034451"/>
                      <a:gd name="connsiteY108" fmla="*/ 3439160 h 3617852"/>
                      <a:gd name="connsiteX109" fmla="*/ 3705740 w 4034451"/>
                      <a:gd name="connsiteY109" fmla="*/ 3524177 h 3617852"/>
                      <a:gd name="connsiteX110" fmla="*/ 3969900 w 4034451"/>
                      <a:gd name="connsiteY110" fmla="*/ 3521637 h 3617852"/>
                      <a:gd name="connsiteX111" fmla="*/ 3969899 w 4034451"/>
                      <a:gd name="connsiteY111" fmla="*/ 3610537 h 3617852"/>
                      <a:gd name="connsiteX112" fmla="*/ 4028319 w 4034451"/>
                      <a:gd name="connsiteY112" fmla="*/ 3613077 h 3617852"/>
                      <a:gd name="connsiteX113" fmla="*/ 4033399 w 4034451"/>
                      <a:gd name="connsiteY113" fmla="*/ 3615616 h 3617852"/>
                      <a:gd name="connsiteX0" fmla="*/ 0 w 4033494"/>
                      <a:gd name="connsiteY0" fmla="*/ 0 h 3701976"/>
                      <a:gd name="connsiteX1" fmla="*/ 0 w 4033494"/>
                      <a:gd name="connsiteY1" fmla="*/ 116840 h 3701976"/>
                      <a:gd name="connsiteX2" fmla="*/ 66040 w 4033494"/>
                      <a:gd name="connsiteY2" fmla="*/ 116840 h 3701976"/>
                      <a:gd name="connsiteX3" fmla="*/ 66040 w 4033494"/>
                      <a:gd name="connsiteY3" fmla="*/ 218440 h 3701976"/>
                      <a:gd name="connsiteX4" fmla="*/ 137160 w 4033494"/>
                      <a:gd name="connsiteY4" fmla="*/ 218440 h 3701976"/>
                      <a:gd name="connsiteX5" fmla="*/ 137160 w 4033494"/>
                      <a:gd name="connsiteY5" fmla="*/ 294640 h 3701976"/>
                      <a:gd name="connsiteX6" fmla="*/ 147320 w 4033494"/>
                      <a:gd name="connsiteY6" fmla="*/ 294640 h 3701976"/>
                      <a:gd name="connsiteX7" fmla="*/ 147320 w 4033494"/>
                      <a:gd name="connsiteY7" fmla="*/ 421640 h 3701976"/>
                      <a:gd name="connsiteX8" fmla="*/ 198120 w 4033494"/>
                      <a:gd name="connsiteY8" fmla="*/ 421640 h 3701976"/>
                      <a:gd name="connsiteX9" fmla="*/ 198120 w 4033494"/>
                      <a:gd name="connsiteY9" fmla="*/ 543560 h 3701976"/>
                      <a:gd name="connsiteX10" fmla="*/ 198120 w 4033494"/>
                      <a:gd name="connsiteY10" fmla="*/ 543560 h 3701976"/>
                      <a:gd name="connsiteX11" fmla="*/ 243840 w 4033494"/>
                      <a:gd name="connsiteY11" fmla="*/ 589280 h 3701976"/>
                      <a:gd name="connsiteX12" fmla="*/ 259080 w 4033494"/>
                      <a:gd name="connsiteY12" fmla="*/ 604520 h 3701976"/>
                      <a:gd name="connsiteX13" fmla="*/ 259080 w 4033494"/>
                      <a:gd name="connsiteY13" fmla="*/ 665480 h 3701976"/>
                      <a:gd name="connsiteX14" fmla="*/ 294640 w 4033494"/>
                      <a:gd name="connsiteY14" fmla="*/ 665480 h 3701976"/>
                      <a:gd name="connsiteX15" fmla="*/ 294640 w 4033494"/>
                      <a:gd name="connsiteY15" fmla="*/ 716280 h 3701976"/>
                      <a:gd name="connsiteX16" fmla="*/ 320040 w 4033494"/>
                      <a:gd name="connsiteY16" fmla="*/ 716280 h 3701976"/>
                      <a:gd name="connsiteX17" fmla="*/ 320040 w 4033494"/>
                      <a:gd name="connsiteY17" fmla="*/ 792480 h 3701976"/>
                      <a:gd name="connsiteX18" fmla="*/ 335280 w 4033494"/>
                      <a:gd name="connsiteY18" fmla="*/ 792480 h 3701976"/>
                      <a:gd name="connsiteX19" fmla="*/ 335280 w 4033494"/>
                      <a:gd name="connsiteY19" fmla="*/ 889000 h 3701976"/>
                      <a:gd name="connsiteX20" fmla="*/ 375920 w 4033494"/>
                      <a:gd name="connsiteY20" fmla="*/ 889000 h 3701976"/>
                      <a:gd name="connsiteX21" fmla="*/ 375920 w 4033494"/>
                      <a:gd name="connsiteY21" fmla="*/ 949960 h 3701976"/>
                      <a:gd name="connsiteX22" fmla="*/ 375920 w 4033494"/>
                      <a:gd name="connsiteY22" fmla="*/ 949960 h 3701976"/>
                      <a:gd name="connsiteX23" fmla="*/ 416560 w 4033494"/>
                      <a:gd name="connsiteY23" fmla="*/ 949960 h 3701976"/>
                      <a:gd name="connsiteX24" fmla="*/ 416560 w 4033494"/>
                      <a:gd name="connsiteY24" fmla="*/ 1026160 h 3701976"/>
                      <a:gd name="connsiteX25" fmla="*/ 441960 w 4033494"/>
                      <a:gd name="connsiteY25" fmla="*/ 1026160 h 3701976"/>
                      <a:gd name="connsiteX26" fmla="*/ 441960 w 4033494"/>
                      <a:gd name="connsiteY26" fmla="*/ 1092200 h 3701976"/>
                      <a:gd name="connsiteX27" fmla="*/ 472440 w 4033494"/>
                      <a:gd name="connsiteY27" fmla="*/ 1092200 h 3701976"/>
                      <a:gd name="connsiteX28" fmla="*/ 472440 w 4033494"/>
                      <a:gd name="connsiteY28" fmla="*/ 1214120 h 3701976"/>
                      <a:gd name="connsiteX29" fmla="*/ 492760 w 4033494"/>
                      <a:gd name="connsiteY29" fmla="*/ 1234440 h 3701976"/>
                      <a:gd name="connsiteX30" fmla="*/ 492760 w 4033494"/>
                      <a:gd name="connsiteY30" fmla="*/ 1285240 h 3701976"/>
                      <a:gd name="connsiteX31" fmla="*/ 553720 w 4033494"/>
                      <a:gd name="connsiteY31" fmla="*/ 1285240 h 3701976"/>
                      <a:gd name="connsiteX32" fmla="*/ 553720 w 4033494"/>
                      <a:gd name="connsiteY32" fmla="*/ 1386840 h 3701976"/>
                      <a:gd name="connsiteX33" fmla="*/ 553720 w 4033494"/>
                      <a:gd name="connsiteY33" fmla="*/ 1427480 h 3701976"/>
                      <a:gd name="connsiteX34" fmla="*/ 599440 w 4033494"/>
                      <a:gd name="connsiteY34" fmla="*/ 1427480 h 3701976"/>
                      <a:gd name="connsiteX35" fmla="*/ 599440 w 4033494"/>
                      <a:gd name="connsiteY35" fmla="*/ 1493520 h 3701976"/>
                      <a:gd name="connsiteX36" fmla="*/ 650240 w 4033494"/>
                      <a:gd name="connsiteY36" fmla="*/ 1493520 h 3701976"/>
                      <a:gd name="connsiteX37" fmla="*/ 650240 w 4033494"/>
                      <a:gd name="connsiteY37" fmla="*/ 1539240 h 3701976"/>
                      <a:gd name="connsiteX38" fmla="*/ 695960 w 4033494"/>
                      <a:gd name="connsiteY38" fmla="*/ 1539240 h 3701976"/>
                      <a:gd name="connsiteX39" fmla="*/ 695960 w 4033494"/>
                      <a:gd name="connsiteY39" fmla="*/ 1635760 h 3701976"/>
                      <a:gd name="connsiteX40" fmla="*/ 731520 w 4033494"/>
                      <a:gd name="connsiteY40" fmla="*/ 1635760 h 3701976"/>
                      <a:gd name="connsiteX41" fmla="*/ 731520 w 4033494"/>
                      <a:gd name="connsiteY41" fmla="*/ 1706880 h 3701976"/>
                      <a:gd name="connsiteX42" fmla="*/ 762000 w 4033494"/>
                      <a:gd name="connsiteY42" fmla="*/ 1706880 h 3701976"/>
                      <a:gd name="connsiteX43" fmla="*/ 762000 w 4033494"/>
                      <a:gd name="connsiteY43" fmla="*/ 1803400 h 3701976"/>
                      <a:gd name="connsiteX44" fmla="*/ 797560 w 4033494"/>
                      <a:gd name="connsiteY44" fmla="*/ 1803400 h 3701976"/>
                      <a:gd name="connsiteX45" fmla="*/ 797560 w 4033494"/>
                      <a:gd name="connsiteY45" fmla="*/ 1854200 h 3701976"/>
                      <a:gd name="connsiteX46" fmla="*/ 853440 w 4033494"/>
                      <a:gd name="connsiteY46" fmla="*/ 1854200 h 3701976"/>
                      <a:gd name="connsiteX47" fmla="*/ 853440 w 4033494"/>
                      <a:gd name="connsiteY47" fmla="*/ 1940560 h 3701976"/>
                      <a:gd name="connsiteX48" fmla="*/ 894080 w 4033494"/>
                      <a:gd name="connsiteY48" fmla="*/ 1940560 h 3701976"/>
                      <a:gd name="connsiteX49" fmla="*/ 894080 w 4033494"/>
                      <a:gd name="connsiteY49" fmla="*/ 2011680 h 3701976"/>
                      <a:gd name="connsiteX50" fmla="*/ 939800 w 4033494"/>
                      <a:gd name="connsiteY50" fmla="*/ 2011680 h 3701976"/>
                      <a:gd name="connsiteX51" fmla="*/ 939800 w 4033494"/>
                      <a:gd name="connsiteY51" fmla="*/ 2062480 h 3701976"/>
                      <a:gd name="connsiteX52" fmla="*/ 1000760 w 4033494"/>
                      <a:gd name="connsiteY52" fmla="*/ 2062480 h 3701976"/>
                      <a:gd name="connsiteX53" fmla="*/ 1000760 w 4033494"/>
                      <a:gd name="connsiteY53" fmla="*/ 2128520 h 3701976"/>
                      <a:gd name="connsiteX54" fmla="*/ 1000760 w 4033494"/>
                      <a:gd name="connsiteY54" fmla="*/ 2128520 h 3701976"/>
                      <a:gd name="connsiteX55" fmla="*/ 1000760 w 4033494"/>
                      <a:gd name="connsiteY55" fmla="*/ 2214880 h 3701976"/>
                      <a:gd name="connsiteX56" fmla="*/ 1051560 w 4033494"/>
                      <a:gd name="connsiteY56" fmla="*/ 2214880 h 3701976"/>
                      <a:gd name="connsiteX57" fmla="*/ 1051560 w 4033494"/>
                      <a:gd name="connsiteY57" fmla="*/ 2235200 h 3701976"/>
                      <a:gd name="connsiteX58" fmla="*/ 1097280 w 4033494"/>
                      <a:gd name="connsiteY58" fmla="*/ 2235200 h 3701976"/>
                      <a:gd name="connsiteX59" fmla="*/ 1097280 w 4033494"/>
                      <a:gd name="connsiteY59" fmla="*/ 2235200 h 3701976"/>
                      <a:gd name="connsiteX60" fmla="*/ 1132840 w 4033494"/>
                      <a:gd name="connsiteY60" fmla="*/ 2270760 h 3701976"/>
                      <a:gd name="connsiteX61" fmla="*/ 1132840 w 4033494"/>
                      <a:gd name="connsiteY61" fmla="*/ 2341880 h 3701976"/>
                      <a:gd name="connsiteX62" fmla="*/ 1188720 w 4033494"/>
                      <a:gd name="connsiteY62" fmla="*/ 2341880 h 3701976"/>
                      <a:gd name="connsiteX63" fmla="*/ 1188720 w 4033494"/>
                      <a:gd name="connsiteY63" fmla="*/ 2377440 h 3701976"/>
                      <a:gd name="connsiteX64" fmla="*/ 1244600 w 4033494"/>
                      <a:gd name="connsiteY64" fmla="*/ 2377440 h 3701976"/>
                      <a:gd name="connsiteX65" fmla="*/ 1244600 w 4033494"/>
                      <a:gd name="connsiteY65" fmla="*/ 2377440 h 3701976"/>
                      <a:gd name="connsiteX66" fmla="*/ 1290320 w 4033494"/>
                      <a:gd name="connsiteY66" fmla="*/ 2377440 h 3701976"/>
                      <a:gd name="connsiteX67" fmla="*/ 1290320 w 4033494"/>
                      <a:gd name="connsiteY67" fmla="*/ 2479040 h 3701976"/>
                      <a:gd name="connsiteX68" fmla="*/ 1351280 w 4033494"/>
                      <a:gd name="connsiteY68" fmla="*/ 2479040 h 3701976"/>
                      <a:gd name="connsiteX69" fmla="*/ 1351280 w 4033494"/>
                      <a:gd name="connsiteY69" fmla="*/ 2540000 h 3701976"/>
                      <a:gd name="connsiteX70" fmla="*/ 1422400 w 4033494"/>
                      <a:gd name="connsiteY70" fmla="*/ 2540000 h 3701976"/>
                      <a:gd name="connsiteX71" fmla="*/ 1422400 w 4033494"/>
                      <a:gd name="connsiteY71" fmla="*/ 2600960 h 3701976"/>
                      <a:gd name="connsiteX72" fmla="*/ 1549400 w 4033494"/>
                      <a:gd name="connsiteY72" fmla="*/ 2600960 h 3701976"/>
                      <a:gd name="connsiteX73" fmla="*/ 1549400 w 4033494"/>
                      <a:gd name="connsiteY73" fmla="*/ 2651760 h 3701976"/>
                      <a:gd name="connsiteX74" fmla="*/ 1615440 w 4033494"/>
                      <a:gd name="connsiteY74" fmla="*/ 2651760 h 3701976"/>
                      <a:gd name="connsiteX75" fmla="*/ 1615440 w 4033494"/>
                      <a:gd name="connsiteY75" fmla="*/ 2687320 h 3701976"/>
                      <a:gd name="connsiteX76" fmla="*/ 1661160 w 4033494"/>
                      <a:gd name="connsiteY76" fmla="*/ 2687320 h 3701976"/>
                      <a:gd name="connsiteX77" fmla="*/ 1661160 w 4033494"/>
                      <a:gd name="connsiteY77" fmla="*/ 2748280 h 3701976"/>
                      <a:gd name="connsiteX78" fmla="*/ 1681480 w 4033494"/>
                      <a:gd name="connsiteY78" fmla="*/ 2768600 h 3701976"/>
                      <a:gd name="connsiteX79" fmla="*/ 1681480 w 4033494"/>
                      <a:gd name="connsiteY79" fmla="*/ 2834640 h 3701976"/>
                      <a:gd name="connsiteX80" fmla="*/ 1711960 w 4033494"/>
                      <a:gd name="connsiteY80" fmla="*/ 2834640 h 3701976"/>
                      <a:gd name="connsiteX81" fmla="*/ 1711960 w 4033494"/>
                      <a:gd name="connsiteY81" fmla="*/ 2880360 h 3701976"/>
                      <a:gd name="connsiteX82" fmla="*/ 1788160 w 4033494"/>
                      <a:gd name="connsiteY82" fmla="*/ 2880360 h 3701976"/>
                      <a:gd name="connsiteX83" fmla="*/ 1788160 w 4033494"/>
                      <a:gd name="connsiteY83" fmla="*/ 2910840 h 3701976"/>
                      <a:gd name="connsiteX84" fmla="*/ 1823720 w 4033494"/>
                      <a:gd name="connsiteY84" fmla="*/ 2910840 h 3701976"/>
                      <a:gd name="connsiteX85" fmla="*/ 1823720 w 4033494"/>
                      <a:gd name="connsiteY85" fmla="*/ 2961640 h 3701976"/>
                      <a:gd name="connsiteX86" fmla="*/ 1879600 w 4033494"/>
                      <a:gd name="connsiteY86" fmla="*/ 2961640 h 3701976"/>
                      <a:gd name="connsiteX87" fmla="*/ 1879600 w 4033494"/>
                      <a:gd name="connsiteY87" fmla="*/ 2997200 h 3701976"/>
                      <a:gd name="connsiteX88" fmla="*/ 1940560 w 4033494"/>
                      <a:gd name="connsiteY88" fmla="*/ 2997200 h 3701976"/>
                      <a:gd name="connsiteX89" fmla="*/ 1940560 w 4033494"/>
                      <a:gd name="connsiteY89" fmla="*/ 3068320 h 3701976"/>
                      <a:gd name="connsiteX90" fmla="*/ 2108200 w 4033494"/>
                      <a:gd name="connsiteY90" fmla="*/ 3068320 h 3701976"/>
                      <a:gd name="connsiteX91" fmla="*/ 2108200 w 4033494"/>
                      <a:gd name="connsiteY91" fmla="*/ 3068320 h 3701976"/>
                      <a:gd name="connsiteX92" fmla="*/ 2336800 w 4033494"/>
                      <a:gd name="connsiteY92" fmla="*/ 3068320 h 3701976"/>
                      <a:gd name="connsiteX93" fmla="*/ 2336800 w 4033494"/>
                      <a:gd name="connsiteY93" fmla="*/ 3134360 h 3701976"/>
                      <a:gd name="connsiteX94" fmla="*/ 2468880 w 4033494"/>
                      <a:gd name="connsiteY94" fmla="*/ 3134360 h 3701976"/>
                      <a:gd name="connsiteX95" fmla="*/ 2468880 w 4033494"/>
                      <a:gd name="connsiteY95" fmla="*/ 3180080 h 3701976"/>
                      <a:gd name="connsiteX96" fmla="*/ 2697480 w 4033494"/>
                      <a:gd name="connsiteY96" fmla="*/ 3180080 h 3701976"/>
                      <a:gd name="connsiteX97" fmla="*/ 2697480 w 4033494"/>
                      <a:gd name="connsiteY97" fmla="*/ 3230880 h 3701976"/>
                      <a:gd name="connsiteX98" fmla="*/ 2768600 w 4033494"/>
                      <a:gd name="connsiteY98" fmla="*/ 3230880 h 3701976"/>
                      <a:gd name="connsiteX99" fmla="*/ 2768600 w 4033494"/>
                      <a:gd name="connsiteY99" fmla="*/ 3251200 h 3701976"/>
                      <a:gd name="connsiteX100" fmla="*/ 3007360 w 4033494"/>
                      <a:gd name="connsiteY100" fmla="*/ 3251200 h 3701976"/>
                      <a:gd name="connsiteX101" fmla="*/ 3007360 w 4033494"/>
                      <a:gd name="connsiteY101" fmla="*/ 3296920 h 3701976"/>
                      <a:gd name="connsiteX102" fmla="*/ 3053080 w 4033494"/>
                      <a:gd name="connsiteY102" fmla="*/ 3296920 h 3701976"/>
                      <a:gd name="connsiteX103" fmla="*/ 3053080 w 4033494"/>
                      <a:gd name="connsiteY103" fmla="*/ 3347720 h 3701976"/>
                      <a:gd name="connsiteX104" fmla="*/ 3078480 w 4033494"/>
                      <a:gd name="connsiteY104" fmla="*/ 3347720 h 3701976"/>
                      <a:gd name="connsiteX105" fmla="*/ 3078480 w 4033494"/>
                      <a:gd name="connsiteY105" fmla="*/ 3393440 h 3701976"/>
                      <a:gd name="connsiteX106" fmla="*/ 3256280 w 4033494"/>
                      <a:gd name="connsiteY106" fmla="*/ 3393440 h 3701976"/>
                      <a:gd name="connsiteX107" fmla="*/ 3256280 w 4033494"/>
                      <a:gd name="connsiteY107" fmla="*/ 3439160 h 3701976"/>
                      <a:gd name="connsiteX108" fmla="*/ 3703320 w 4033494"/>
                      <a:gd name="connsiteY108" fmla="*/ 3439160 h 3701976"/>
                      <a:gd name="connsiteX109" fmla="*/ 3705740 w 4033494"/>
                      <a:gd name="connsiteY109" fmla="*/ 3524177 h 3701976"/>
                      <a:gd name="connsiteX110" fmla="*/ 3969900 w 4033494"/>
                      <a:gd name="connsiteY110" fmla="*/ 3521637 h 3701976"/>
                      <a:gd name="connsiteX111" fmla="*/ 3969899 w 4033494"/>
                      <a:gd name="connsiteY111" fmla="*/ 3610537 h 3701976"/>
                      <a:gd name="connsiteX112" fmla="*/ 4028319 w 4033494"/>
                      <a:gd name="connsiteY112" fmla="*/ 3613077 h 3701976"/>
                      <a:gd name="connsiteX113" fmla="*/ 4030859 w 4033494"/>
                      <a:gd name="connsiteY113" fmla="*/ 3701976 h 3701976"/>
                      <a:gd name="connsiteX0" fmla="*/ 0 w 4033494"/>
                      <a:gd name="connsiteY0" fmla="*/ 0 h 3711258"/>
                      <a:gd name="connsiteX1" fmla="*/ 0 w 4033494"/>
                      <a:gd name="connsiteY1" fmla="*/ 116840 h 3711258"/>
                      <a:gd name="connsiteX2" fmla="*/ 66040 w 4033494"/>
                      <a:gd name="connsiteY2" fmla="*/ 116840 h 3711258"/>
                      <a:gd name="connsiteX3" fmla="*/ 66040 w 4033494"/>
                      <a:gd name="connsiteY3" fmla="*/ 218440 h 3711258"/>
                      <a:gd name="connsiteX4" fmla="*/ 137160 w 4033494"/>
                      <a:gd name="connsiteY4" fmla="*/ 218440 h 3711258"/>
                      <a:gd name="connsiteX5" fmla="*/ 137160 w 4033494"/>
                      <a:gd name="connsiteY5" fmla="*/ 294640 h 3711258"/>
                      <a:gd name="connsiteX6" fmla="*/ 147320 w 4033494"/>
                      <a:gd name="connsiteY6" fmla="*/ 294640 h 3711258"/>
                      <a:gd name="connsiteX7" fmla="*/ 147320 w 4033494"/>
                      <a:gd name="connsiteY7" fmla="*/ 421640 h 3711258"/>
                      <a:gd name="connsiteX8" fmla="*/ 198120 w 4033494"/>
                      <a:gd name="connsiteY8" fmla="*/ 421640 h 3711258"/>
                      <a:gd name="connsiteX9" fmla="*/ 198120 w 4033494"/>
                      <a:gd name="connsiteY9" fmla="*/ 543560 h 3711258"/>
                      <a:gd name="connsiteX10" fmla="*/ 198120 w 4033494"/>
                      <a:gd name="connsiteY10" fmla="*/ 543560 h 3711258"/>
                      <a:gd name="connsiteX11" fmla="*/ 243840 w 4033494"/>
                      <a:gd name="connsiteY11" fmla="*/ 589280 h 3711258"/>
                      <a:gd name="connsiteX12" fmla="*/ 259080 w 4033494"/>
                      <a:gd name="connsiteY12" fmla="*/ 604520 h 3711258"/>
                      <a:gd name="connsiteX13" fmla="*/ 259080 w 4033494"/>
                      <a:gd name="connsiteY13" fmla="*/ 665480 h 3711258"/>
                      <a:gd name="connsiteX14" fmla="*/ 294640 w 4033494"/>
                      <a:gd name="connsiteY14" fmla="*/ 665480 h 3711258"/>
                      <a:gd name="connsiteX15" fmla="*/ 294640 w 4033494"/>
                      <a:gd name="connsiteY15" fmla="*/ 716280 h 3711258"/>
                      <a:gd name="connsiteX16" fmla="*/ 320040 w 4033494"/>
                      <a:gd name="connsiteY16" fmla="*/ 716280 h 3711258"/>
                      <a:gd name="connsiteX17" fmla="*/ 320040 w 4033494"/>
                      <a:gd name="connsiteY17" fmla="*/ 792480 h 3711258"/>
                      <a:gd name="connsiteX18" fmla="*/ 335280 w 4033494"/>
                      <a:gd name="connsiteY18" fmla="*/ 792480 h 3711258"/>
                      <a:gd name="connsiteX19" fmla="*/ 335280 w 4033494"/>
                      <a:gd name="connsiteY19" fmla="*/ 889000 h 3711258"/>
                      <a:gd name="connsiteX20" fmla="*/ 375920 w 4033494"/>
                      <a:gd name="connsiteY20" fmla="*/ 889000 h 3711258"/>
                      <a:gd name="connsiteX21" fmla="*/ 375920 w 4033494"/>
                      <a:gd name="connsiteY21" fmla="*/ 949960 h 3711258"/>
                      <a:gd name="connsiteX22" fmla="*/ 375920 w 4033494"/>
                      <a:gd name="connsiteY22" fmla="*/ 949960 h 3711258"/>
                      <a:gd name="connsiteX23" fmla="*/ 416560 w 4033494"/>
                      <a:gd name="connsiteY23" fmla="*/ 949960 h 3711258"/>
                      <a:gd name="connsiteX24" fmla="*/ 416560 w 4033494"/>
                      <a:gd name="connsiteY24" fmla="*/ 1026160 h 3711258"/>
                      <a:gd name="connsiteX25" fmla="*/ 441960 w 4033494"/>
                      <a:gd name="connsiteY25" fmla="*/ 1026160 h 3711258"/>
                      <a:gd name="connsiteX26" fmla="*/ 441960 w 4033494"/>
                      <a:gd name="connsiteY26" fmla="*/ 1092200 h 3711258"/>
                      <a:gd name="connsiteX27" fmla="*/ 472440 w 4033494"/>
                      <a:gd name="connsiteY27" fmla="*/ 1092200 h 3711258"/>
                      <a:gd name="connsiteX28" fmla="*/ 472440 w 4033494"/>
                      <a:gd name="connsiteY28" fmla="*/ 1214120 h 3711258"/>
                      <a:gd name="connsiteX29" fmla="*/ 492760 w 4033494"/>
                      <a:gd name="connsiteY29" fmla="*/ 1234440 h 3711258"/>
                      <a:gd name="connsiteX30" fmla="*/ 492760 w 4033494"/>
                      <a:gd name="connsiteY30" fmla="*/ 1285240 h 3711258"/>
                      <a:gd name="connsiteX31" fmla="*/ 553720 w 4033494"/>
                      <a:gd name="connsiteY31" fmla="*/ 1285240 h 3711258"/>
                      <a:gd name="connsiteX32" fmla="*/ 553720 w 4033494"/>
                      <a:gd name="connsiteY32" fmla="*/ 1386840 h 3711258"/>
                      <a:gd name="connsiteX33" fmla="*/ 553720 w 4033494"/>
                      <a:gd name="connsiteY33" fmla="*/ 1427480 h 3711258"/>
                      <a:gd name="connsiteX34" fmla="*/ 599440 w 4033494"/>
                      <a:gd name="connsiteY34" fmla="*/ 1427480 h 3711258"/>
                      <a:gd name="connsiteX35" fmla="*/ 599440 w 4033494"/>
                      <a:gd name="connsiteY35" fmla="*/ 1493520 h 3711258"/>
                      <a:gd name="connsiteX36" fmla="*/ 650240 w 4033494"/>
                      <a:gd name="connsiteY36" fmla="*/ 1493520 h 3711258"/>
                      <a:gd name="connsiteX37" fmla="*/ 650240 w 4033494"/>
                      <a:gd name="connsiteY37" fmla="*/ 1539240 h 3711258"/>
                      <a:gd name="connsiteX38" fmla="*/ 695960 w 4033494"/>
                      <a:gd name="connsiteY38" fmla="*/ 1539240 h 3711258"/>
                      <a:gd name="connsiteX39" fmla="*/ 695960 w 4033494"/>
                      <a:gd name="connsiteY39" fmla="*/ 1635760 h 3711258"/>
                      <a:gd name="connsiteX40" fmla="*/ 731520 w 4033494"/>
                      <a:gd name="connsiteY40" fmla="*/ 1635760 h 3711258"/>
                      <a:gd name="connsiteX41" fmla="*/ 731520 w 4033494"/>
                      <a:gd name="connsiteY41" fmla="*/ 1706880 h 3711258"/>
                      <a:gd name="connsiteX42" fmla="*/ 762000 w 4033494"/>
                      <a:gd name="connsiteY42" fmla="*/ 1706880 h 3711258"/>
                      <a:gd name="connsiteX43" fmla="*/ 762000 w 4033494"/>
                      <a:gd name="connsiteY43" fmla="*/ 1803400 h 3711258"/>
                      <a:gd name="connsiteX44" fmla="*/ 797560 w 4033494"/>
                      <a:gd name="connsiteY44" fmla="*/ 1803400 h 3711258"/>
                      <a:gd name="connsiteX45" fmla="*/ 797560 w 4033494"/>
                      <a:gd name="connsiteY45" fmla="*/ 1854200 h 3711258"/>
                      <a:gd name="connsiteX46" fmla="*/ 853440 w 4033494"/>
                      <a:gd name="connsiteY46" fmla="*/ 1854200 h 3711258"/>
                      <a:gd name="connsiteX47" fmla="*/ 853440 w 4033494"/>
                      <a:gd name="connsiteY47" fmla="*/ 1940560 h 3711258"/>
                      <a:gd name="connsiteX48" fmla="*/ 894080 w 4033494"/>
                      <a:gd name="connsiteY48" fmla="*/ 1940560 h 3711258"/>
                      <a:gd name="connsiteX49" fmla="*/ 894080 w 4033494"/>
                      <a:gd name="connsiteY49" fmla="*/ 2011680 h 3711258"/>
                      <a:gd name="connsiteX50" fmla="*/ 939800 w 4033494"/>
                      <a:gd name="connsiteY50" fmla="*/ 2011680 h 3711258"/>
                      <a:gd name="connsiteX51" fmla="*/ 939800 w 4033494"/>
                      <a:gd name="connsiteY51" fmla="*/ 2062480 h 3711258"/>
                      <a:gd name="connsiteX52" fmla="*/ 1000760 w 4033494"/>
                      <a:gd name="connsiteY52" fmla="*/ 2062480 h 3711258"/>
                      <a:gd name="connsiteX53" fmla="*/ 1000760 w 4033494"/>
                      <a:gd name="connsiteY53" fmla="*/ 2128520 h 3711258"/>
                      <a:gd name="connsiteX54" fmla="*/ 1000760 w 4033494"/>
                      <a:gd name="connsiteY54" fmla="*/ 2128520 h 3711258"/>
                      <a:gd name="connsiteX55" fmla="*/ 1000760 w 4033494"/>
                      <a:gd name="connsiteY55" fmla="*/ 2214880 h 3711258"/>
                      <a:gd name="connsiteX56" fmla="*/ 1051560 w 4033494"/>
                      <a:gd name="connsiteY56" fmla="*/ 2214880 h 3711258"/>
                      <a:gd name="connsiteX57" fmla="*/ 1051560 w 4033494"/>
                      <a:gd name="connsiteY57" fmla="*/ 2235200 h 3711258"/>
                      <a:gd name="connsiteX58" fmla="*/ 1097280 w 4033494"/>
                      <a:gd name="connsiteY58" fmla="*/ 2235200 h 3711258"/>
                      <a:gd name="connsiteX59" fmla="*/ 1097280 w 4033494"/>
                      <a:gd name="connsiteY59" fmla="*/ 2235200 h 3711258"/>
                      <a:gd name="connsiteX60" fmla="*/ 1132840 w 4033494"/>
                      <a:gd name="connsiteY60" fmla="*/ 2270760 h 3711258"/>
                      <a:gd name="connsiteX61" fmla="*/ 1132840 w 4033494"/>
                      <a:gd name="connsiteY61" fmla="*/ 2341880 h 3711258"/>
                      <a:gd name="connsiteX62" fmla="*/ 1188720 w 4033494"/>
                      <a:gd name="connsiteY62" fmla="*/ 2341880 h 3711258"/>
                      <a:gd name="connsiteX63" fmla="*/ 1188720 w 4033494"/>
                      <a:gd name="connsiteY63" fmla="*/ 2377440 h 3711258"/>
                      <a:gd name="connsiteX64" fmla="*/ 1244600 w 4033494"/>
                      <a:gd name="connsiteY64" fmla="*/ 2377440 h 3711258"/>
                      <a:gd name="connsiteX65" fmla="*/ 1244600 w 4033494"/>
                      <a:gd name="connsiteY65" fmla="*/ 2377440 h 3711258"/>
                      <a:gd name="connsiteX66" fmla="*/ 1290320 w 4033494"/>
                      <a:gd name="connsiteY66" fmla="*/ 2377440 h 3711258"/>
                      <a:gd name="connsiteX67" fmla="*/ 1290320 w 4033494"/>
                      <a:gd name="connsiteY67" fmla="*/ 2479040 h 3711258"/>
                      <a:gd name="connsiteX68" fmla="*/ 1351280 w 4033494"/>
                      <a:gd name="connsiteY68" fmla="*/ 2479040 h 3711258"/>
                      <a:gd name="connsiteX69" fmla="*/ 1351280 w 4033494"/>
                      <a:gd name="connsiteY69" fmla="*/ 2540000 h 3711258"/>
                      <a:gd name="connsiteX70" fmla="*/ 1422400 w 4033494"/>
                      <a:gd name="connsiteY70" fmla="*/ 2540000 h 3711258"/>
                      <a:gd name="connsiteX71" fmla="*/ 1422400 w 4033494"/>
                      <a:gd name="connsiteY71" fmla="*/ 2600960 h 3711258"/>
                      <a:gd name="connsiteX72" fmla="*/ 1549400 w 4033494"/>
                      <a:gd name="connsiteY72" fmla="*/ 2600960 h 3711258"/>
                      <a:gd name="connsiteX73" fmla="*/ 1549400 w 4033494"/>
                      <a:gd name="connsiteY73" fmla="*/ 2651760 h 3711258"/>
                      <a:gd name="connsiteX74" fmla="*/ 1615440 w 4033494"/>
                      <a:gd name="connsiteY74" fmla="*/ 2651760 h 3711258"/>
                      <a:gd name="connsiteX75" fmla="*/ 1615440 w 4033494"/>
                      <a:gd name="connsiteY75" fmla="*/ 2687320 h 3711258"/>
                      <a:gd name="connsiteX76" fmla="*/ 1661160 w 4033494"/>
                      <a:gd name="connsiteY76" fmla="*/ 2687320 h 3711258"/>
                      <a:gd name="connsiteX77" fmla="*/ 1661160 w 4033494"/>
                      <a:gd name="connsiteY77" fmla="*/ 2748280 h 3711258"/>
                      <a:gd name="connsiteX78" fmla="*/ 1681480 w 4033494"/>
                      <a:gd name="connsiteY78" fmla="*/ 2768600 h 3711258"/>
                      <a:gd name="connsiteX79" fmla="*/ 1681480 w 4033494"/>
                      <a:gd name="connsiteY79" fmla="*/ 2834640 h 3711258"/>
                      <a:gd name="connsiteX80" fmla="*/ 1711960 w 4033494"/>
                      <a:gd name="connsiteY80" fmla="*/ 2834640 h 3711258"/>
                      <a:gd name="connsiteX81" fmla="*/ 1711960 w 4033494"/>
                      <a:gd name="connsiteY81" fmla="*/ 2880360 h 3711258"/>
                      <a:gd name="connsiteX82" fmla="*/ 1788160 w 4033494"/>
                      <a:gd name="connsiteY82" fmla="*/ 2880360 h 3711258"/>
                      <a:gd name="connsiteX83" fmla="*/ 1788160 w 4033494"/>
                      <a:gd name="connsiteY83" fmla="*/ 2910840 h 3711258"/>
                      <a:gd name="connsiteX84" fmla="*/ 1823720 w 4033494"/>
                      <a:gd name="connsiteY84" fmla="*/ 2910840 h 3711258"/>
                      <a:gd name="connsiteX85" fmla="*/ 1823720 w 4033494"/>
                      <a:gd name="connsiteY85" fmla="*/ 2961640 h 3711258"/>
                      <a:gd name="connsiteX86" fmla="*/ 1879600 w 4033494"/>
                      <a:gd name="connsiteY86" fmla="*/ 2961640 h 3711258"/>
                      <a:gd name="connsiteX87" fmla="*/ 1879600 w 4033494"/>
                      <a:gd name="connsiteY87" fmla="*/ 2997200 h 3711258"/>
                      <a:gd name="connsiteX88" fmla="*/ 1940560 w 4033494"/>
                      <a:gd name="connsiteY88" fmla="*/ 2997200 h 3711258"/>
                      <a:gd name="connsiteX89" fmla="*/ 1940560 w 4033494"/>
                      <a:gd name="connsiteY89" fmla="*/ 3068320 h 3711258"/>
                      <a:gd name="connsiteX90" fmla="*/ 2108200 w 4033494"/>
                      <a:gd name="connsiteY90" fmla="*/ 3068320 h 3711258"/>
                      <a:gd name="connsiteX91" fmla="*/ 2108200 w 4033494"/>
                      <a:gd name="connsiteY91" fmla="*/ 3068320 h 3711258"/>
                      <a:gd name="connsiteX92" fmla="*/ 2336800 w 4033494"/>
                      <a:gd name="connsiteY92" fmla="*/ 3068320 h 3711258"/>
                      <a:gd name="connsiteX93" fmla="*/ 2336800 w 4033494"/>
                      <a:gd name="connsiteY93" fmla="*/ 3134360 h 3711258"/>
                      <a:gd name="connsiteX94" fmla="*/ 2468880 w 4033494"/>
                      <a:gd name="connsiteY94" fmla="*/ 3134360 h 3711258"/>
                      <a:gd name="connsiteX95" fmla="*/ 2468880 w 4033494"/>
                      <a:gd name="connsiteY95" fmla="*/ 3180080 h 3711258"/>
                      <a:gd name="connsiteX96" fmla="*/ 2697480 w 4033494"/>
                      <a:gd name="connsiteY96" fmla="*/ 3180080 h 3711258"/>
                      <a:gd name="connsiteX97" fmla="*/ 2697480 w 4033494"/>
                      <a:gd name="connsiteY97" fmla="*/ 3230880 h 3711258"/>
                      <a:gd name="connsiteX98" fmla="*/ 2768600 w 4033494"/>
                      <a:gd name="connsiteY98" fmla="*/ 3230880 h 3711258"/>
                      <a:gd name="connsiteX99" fmla="*/ 2768600 w 4033494"/>
                      <a:gd name="connsiteY99" fmla="*/ 3251200 h 3711258"/>
                      <a:gd name="connsiteX100" fmla="*/ 3007360 w 4033494"/>
                      <a:gd name="connsiteY100" fmla="*/ 3251200 h 3711258"/>
                      <a:gd name="connsiteX101" fmla="*/ 3007360 w 4033494"/>
                      <a:gd name="connsiteY101" fmla="*/ 3296920 h 3711258"/>
                      <a:gd name="connsiteX102" fmla="*/ 3053080 w 4033494"/>
                      <a:gd name="connsiteY102" fmla="*/ 3296920 h 3711258"/>
                      <a:gd name="connsiteX103" fmla="*/ 3053080 w 4033494"/>
                      <a:gd name="connsiteY103" fmla="*/ 3347720 h 3711258"/>
                      <a:gd name="connsiteX104" fmla="*/ 3078480 w 4033494"/>
                      <a:gd name="connsiteY104" fmla="*/ 3347720 h 3711258"/>
                      <a:gd name="connsiteX105" fmla="*/ 3078480 w 4033494"/>
                      <a:gd name="connsiteY105" fmla="*/ 3393440 h 3711258"/>
                      <a:gd name="connsiteX106" fmla="*/ 3256280 w 4033494"/>
                      <a:gd name="connsiteY106" fmla="*/ 3393440 h 3711258"/>
                      <a:gd name="connsiteX107" fmla="*/ 3256280 w 4033494"/>
                      <a:gd name="connsiteY107" fmla="*/ 3439160 h 3711258"/>
                      <a:gd name="connsiteX108" fmla="*/ 3703320 w 4033494"/>
                      <a:gd name="connsiteY108" fmla="*/ 3439160 h 3711258"/>
                      <a:gd name="connsiteX109" fmla="*/ 3705740 w 4033494"/>
                      <a:gd name="connsiteY109" fmla="*/ 3524177 h 3711258"/>
                      <a:gd name="connsiteX110" fmla="*/ 3969900 w 4033494"/>
                      <a:gd name="connsiteY110" fmla="*/ 3521637 h 3711258"/>
                      <a:gd name="connsiteX111" fmla="*/ 3969899 w 4033494"/>
                      <a:gd name="connsiteY111" fmla="*/ 3610537 h 3711258"/>
                      <a:gd name="connsiteX112" fmla="*/ 4028319 w 4033494"/>
                      <a:gd name="connsiteY112" fmla="*/ 3613077 h 3711258"/>
                      <a:gd name="connsiteX113" fmla="*/ 4030859 w 4033494"/>
                      <a:gd name="connsiteY113" fmla="*/ 3701976 h 3711258"/>
                      <a:gd name="connsiteX114" fmla="*/ 4030859 w 4033494"/>
                      <a:gd name="connsiteY114" fmla="*/ 3709596 h 3711258"/>
                      <a:gd name="connsiteX0" fmla="*/ 0 w 4185799"/>
                      <a:gd name="connsiteY0" fmla="*/ 0 h 3711258"/>
                      <a:gd name="connsiteX1" fmla="*/ 0 w 4185799"/>
                      <a:gd name="connsiteY1" fmla="*/ 116840 h 3711258"/>
                      <a:gd name="connsiteX2" fmla="*/ 66040 w 4185799"/>
                      <a:gd name="connsiteY2" fmla="*/ 116840 h 3711258"/>
                      <a:gd name="connsiteX3" fmla="*/ 66040 w 4185799"/>
                      <a:gd name="connsiteY3" fmla="*/ 218440 h 3711258"/>
                      <a:gd name="connsiteX4" fmla="*/ 137160 w 4185799"/>
                      <a:gd name="connsiteY4" fmla="*/ 218440 h 3711258"/>
                      <a:gd name="connsiteX5" fmla="*/ 137160 w 4185799"/>
                      <a:gd name="connsiteY5" fmla="*/ 294640 h 3711258"/>
                      <a:gd name="connsiteX6" fmla="*/ 147320 w 4185799"/>
                      <a:gd name="connsiteY6" fmla="*/ 294640 h 3711258"/>
                      <a:gd name="connsiteX7" fmla="*/ 147320 w 4185799"/>
                      <a:gd name="connsiteY7" fmla="*/ 421640 h 3711258"/>
                      <a:gd name="connsiteX8" fmla="*/ 198120 w 4185799"/>
                      <a:gd name="connsiteY8" fmla="*/ 421640 h 3711258"/>
                      <a:gd name="connsiteX9" fmla="*/ 198120 w 4185799"/>
                      <a:gd name="connsiteY9" fmla="*/ 543560 h 3711258"/>
                      <a:gd name="connsiteX10" fmla="*/ 198120 w 4185799"/>
                      <a:gd name="connsiteY10" fmla="*/ 543560 h 3711258"/>
                      <a:gd name="connsiteX11" fmla="*/ 243840 w 4185799"/>
                      <a:gd name="connsiteY11" fmla="*/ 589280 h 3711258"/>
                      <a:gd name="connsiteX12" fmla="*/ 259080 w 4185799"/>
                      <a:gd name="connsiteY12" fmla="*/ 604520 h 3711258"/>
                      <a:gd name="connsiteX13" fmla="*/ 259080 w 4185799"/>
                      <a:gd name="connsiteY13" fmla="*/ 665480 h 3711258"/>
                      <a:gd name="connsiteX14" fmla="*/ 294640 w 4185799"/>
                      <a:gd name="connsiteY14" fmla="*/ 665480 h 3711258"/>
                      <a:gd name="connsiteX15" fmla="*/ 294640 w 4185799"/>
                      <a:gd name="connsiteY15" fmla="*/ 716280 h 3711258"/>
                      <a:gd name="connsiteX16" fmla="*/ 320040 w 4185799"/>
                      <a:gd name="connsiteY16" fmla="*/ 716280 h 3711258"/>
                      <a:gd name="connsiteX17" fmla="*/ 320040 w 4185799"/>
                      <a:gd name="connsiteY17" fmla="*/ 792480 h 3711258"/>
                      <a:gd name="connsiteX18" fmla="*/ 335280 w 4185799"/>
                      <a:gd name="connsiteY18" fmla="*/ 792480 h 3711258"/>
                      <a:gd name="connsiteX19" fmla="*/ 335280 w 4185799"/>
                      <a:gd name="connsiteY19" fmla="*/ 889000 h 3711258"/>
                      <a:gd name="connsiteX20" fmla="*/ 375920 w 4185799"/>
                      <a:gd name="connsiteY20" fmla="*/ 889000 h 3711258"/>
                      <a:gd name="connsiteX21" fmla="*/ 375920 w 4185799"/>
                      <a:gd name="connsiteY21" fmla="*/ 949960 h 3711258"/>
                      <a:gd name="connsiteX22" fmla="*/ 375920 w 4185799"/>
                      <a:gd name="connsiteY22" fmla="*/ 949960 h 3711258"/>
                      <a:gd name="connsiteX23" fmla="*/ 416560 w 4185799"/>
                      <a:gd name="connsiteY23" fmla="*/ 949960 h 3711258"/>
                      <a:gd name="connsiteX24" fmla="*/ 416560 w 4185799"/>
                      <a:gd name="connsiteY24" fmla="*/ 1026160 h 3711258"/>
                      <a:gd name="connsiteX25" fmla="*/ 441960 w 4185799"/>
                      <a:gd name="connsiteY25" fmla="*/ 1026160 h 3711258"/>
                      <a:gd name="connsiteX26" fmla="*/ 441960 w 4185799"/>
                      <a:gd name="connsiteY26" fmla="*/ 1092200 h 3711258"/>
                      <a:gd name="connsiteX27" fmla="*/ 472440 w 4185799"/>
                      <a:gd name="connsiteY27" fmla="*/ 1092200 h 3711258"/>
                      <a:gd name="connsiteX28" fmla="*/ 472440 w 4185799"/>
                      <a:gd name="connsiteY28" fmla="*/ 1214120 h 3711258"/>
                      <a:gd name="connsiteX29" fmla="*/ 492760 w 4185799"/>
                      <a:gd name="connsiteY29" fmla="*/ 1234440 h 3711258"/>
                      <a:gd name="connsiteX30" fmla="*/ 492760 w 4185799"/>
                      <a:gd name="connsiteY30" fmla="*/ 1285240 h 3711258"/>
                      <a:gd name="connsiteX31" fmla="*/ 553720 w 4185799"/>
                      <a:gd name="connsiteY31" fmla="*/ 1285240 h 3711258"/>
                      <a:gd name="connsiteX32" fmla="*/ 553720 w 4185799"/>
                      <a:gd name="connsiteY32" fmla="*/ 1386840 h 3711258"/>
                      <a:gd name="connsiteX33" fmla="*/ 553720 w 4185799"/>
                      <a:gd name="connsiteY33" fmla="*/ 1427480 h 3711258"/>
                      <a:gd name="connsiteX34" fmla="*/ 599440 w 4185799"/>
                      <a:gd name="connsiteY34" fmla="*/ 1427480 h 3711258"/>
                      <a:gd name="connsiteX35" fmla="*/ 599440 w 4185799"/>
                      <a:gd name="connsiteY35" fmla="*/ 1493520 h 3711258"/>
                      <a:gd name="connsiteX36" fmla="*/ 650240 w 4185799"/>
                      <a:gd name="connsiteY36" fmla="*/ 1493520 h 3711258"/>
                      <a:gd name="connsiteX37" fmla="*/ 650240 w 4185799"/>
                      <a:gd name="connsiteY37" fmla="*/ 1539240 h 3711258"/>
                      <a:gd name="connsiteX38" fmla="*/ 695960 w 4185799"/>
                      <a:gd name="connsiteY38" fmla="*/ 1539240 h 3711258"/>
                      <a:gd name="connsiteX39" fmla="*/ 695960 w 4185799"/>
                      <a:gd name="connsiteY39" fmla="*/ 1635760 h 3711258"/>
                      <a:gd name="connsiteX40" fmla="*/ 731520 w 4185799"/>
                      <a:gd name="connsiteY40" fmla="*/ 1635760 h 3711258"/>
                      <a:gd name="connsiteX41" fmla="*/ 731520 w 4185799"/>
                      <a:gd name="connsiteY41" fmla="*/ 1706880 h 3711258"/>
                      <a:gd name="connsiteX42" fmla="*/ 762000 w 4185799"/>
                      <a:gd name="connsiteY42" fmla="*/ 1706880 h 3711258"/>
                      <a:gd name="connsiteX43" fmla="*/ 762000 w 4185799"/>
                      <a:gd name="connsiteY43" fmla="*/ 1803400 h 3711258"/>
                      <a:gd name="connsiteX44" fmla="*/ 797560 w 4185799"/>
                      <a:gd name="connsiteY44" fmla="*/ 1803400 h 3711258"/>
                      <a:gd name="connsiteX45" fmla="*/ 797560 w 4185799"/>
                      <a:gd name="connsiteY45" fmla="*/ 1854200 h 3711258"/>
                      <a:gd name="connsiteX46" fmla="*/ 853440 w 4185799"/>
                      <a:gd name="connsiteY46" fmla="*/ 1854200 h 3711258"/>
                      <a:gd name="connsiteX47" fmla="*/ 853440 w 4185799"/>
                      <a:gd name="connsiteY47" fmla="*/ 1940560 h 3711258"/>
                      <a:gd name="connsiteX48" fmla="*/ 894080 w 4185799"/>
                      <a:gd name="connsiteY48" fmla="*/ 1940560 h 3711258"/>
                      <a:gd name="connsiteX49" fmla="*/ 894080 w 4185799"/>
                      <a:gd name="connsiteY49" fmla="*/ 2011680 h 3711258"/>
                      <a:gd name="connsiteX50" fmla="*/ 939800 w 4185799"/>
                      <a:gd name="connsiteY50" fmla="*/ 2011680 h 3711258"/>
                      <a:gd name="connsiteX51" fmla="*/ 939800 w 4185799"/>
                      <a:gd name="connsiteY51" fmla="*/ 2062480 h 3711258"/>
                      <a:gd name="connsiteX52" fmla="*/ 1000760 w 4185799"/>
                      <a:gd name="connsiteY52" fmla="*/ 2062480 h 3711258"/>
                      <a:gd name="connsiteX53" fmla="*/ 1000760 w 4185799"/>
                      <a:gd name="connsiteY53" fmla="*/ 2128520 h 3711258"/>
                      <a:gd name="connsiteX54" fmla="*/ 1000760 w 4185799"/>
                      <a:gd name="connsiteY54" fmla="*/ 2128520 h 3711258"/>
                      <a:gd name="connsiteX55" fmla="*/ 1000760 w 4185799"/>
                      <a:gd name="connsiteY55" fmla="*/ 2214880 h 3711258"/>
                      <a:gd name="connsiteX56" fmla="*/ 1051560 w 4185799"/>
                      <a:gd name="connsiteY56" fmla="*/ 2214880 h 3711258"/>
                      <a:gd name="connsiteX57" fmla="*/ 1051560 w 4185799"/>
                      <a:gd name="connsiteY57" fmla="*/ 2235200 h 3711258"/>
                      <a:gd name="connsiteX58" fmla="*/ 1097280 w 4185799"/>
                      <a:gd name="connsiteY58" fmla="*/ 2235200 h 3711258"/>
                      <a:gd name="connsiteX59" fmla="*/ 1097280 w 4185799"/>
                      <a:gd name="connsiteY59" fmla="*/ 2235200 h 3711258"/>
                      <a:gd name="connsiteX60" fmla="*/ 1132840 w 4185799"/>
                      <a:gd name="connsiteY60" fmla="*/ 2270760 h 3711258"/>
                      <a:gd name="connsiteX61" fmla="*/ 1132840 w 4185799"/>
                      <a:gd name="connsiteY61" fmla="*/ 2341880 h 3711258"/>
                      <a:gd name="connsiteX62" fmla="*/ 1188720 w 4185799"/>
                      <a:gd name="connsiteY62" fmla="*/ 2341880 h 3711258"/>
                      <a:gd name="connsiteX63" fmla="*/ 1188720 w 4185799"/>
                      <a:gd name="connsiteY63" fmla="*/ 2377440 h 3711258"/>
                      <a:gd name="connsiteX64" fmla="*/ 1244600 w 4185799"/>
                      <a:gd name="connsiteY64" fmla="*/ 2377440 h 3711258"/>
                      <a:gd name="connsiteX65" fmla="*/ 1244600 w 4185799"/>
                      <a:gd name="connsiteY65" fmla="*/ 2377440 h 3711258"/>
                      <a:gd name="connsiteX66" fmla="*/ 1290320 w 4185799"/>
                      <a:gd name="connsiteY66" fmla="*/ 2377440 h 3711258"/>
                      <a:gd name="connsiteX67" fmla="*/ 1290320 w 4185799"/>
                      <a:gd name="connsiteY67" fmla="*/ 2479040 h 3711258"/>
                      <a:gd name="connsiteX68" fmla="*/ 1351280 w 4185799"/>
                      <a:gd name="connsiteY68" fmla="*/ 2479040 h 3711258"/>
                      <a:gd name="connsiteX69" fmla="*/ 1351280 w 4185799"/>
                      <a:gd name="connsiteY69" fmla="*/ 2540000 h 3711258"/>
                      <a:gd name="connsiteX70" fmla="*/ 1422400 w 4185799"/>
                      <a:gd name="connsiteY70" fmla="*/ 2540000 h 3711258"/>
                      <a:gd name="connsiteX71" fmla="*/ 1422400 w 4185799"/>
                      <a:gd name="connsiteY71" fmla="*/ 2600960 h 3711258"/>
                      <a:gd name="connsiteX72" fmla="*/ 1549400 w 4185799"/>
                      <a:gd name="connsiteY72" fmla="*/ 2600960 h 3711258"/>
                      <a:gd name="connsiteX73" fmla="*/ 1549400 w 4185799"/>
                      <a:gd name="connsiteY73" fmla="*/ 2651760 h 3711258"/>
                      <a:gd name="connsiteX74" fmla="*/ 1615440 w 4185799"/>
                      <a:gd name="connsiteY74" fmla="*/ 2651760 h 3711258"/>
                      <a:gd name="connsiteX75" fmla="*/ 1615440 w 4185799"/>
                      <a:gd name="connsiteY75" fmla="*/ 2687320 h 3711258"/>
                      <a:gd name="connsiteX76" fmla="*/ 1661160 w 4185799"/>
                      <a:gd name="connsiteY76" fmla="*/ 2687320 h 3711258"/>
                      <a:gd name="connsiteX77" fmla="*/ 1661160 w 4185799"/>
                      <a:gd name="connsiteY77" fmla="*/ 2748280 h 3711258"/>
                      <a:gd name="connsiteX78" fmla="*/ 1681480 w 4185799"/>
                      <a:gd name="connsiteY78" fmla="*/ 2768600 h 3711258"/>
                      <a:gd name="connsiteX79" fmla="*/ 1681480 w 4185799"/>
                      <a:gd name="connsiteY79" fmla="*/ 2834640 h 3711258"/>
                      <a:gd name="connsiteX80" fmla="*/ 1711960 w 4185799"/>
                      <a:gd name="connsiteY80" fmla="*/ 2834640 h 3711258"/>
                      <a:gd name="connsiteX81" fmla="*/ 1711960 w 4185799"/>
                      <a:gd name="connsiteY81" fmla="*/ 2880360 h 3711258"/>
                      <a:gd name="connsiteX82" fmla="*/ 1788160 w 4185799"/>
                      <a:gd name="connsiteY82" fmla="*/ 2880360 h 3711258"/>
                      <a:gd name="connsiteX83" fmla="*/ 1788160 w 4185799"/>
                      <a:gd name="connsiteY83" fmla="*/ 2910840 h 3711258"/>
                      <a:gd name="connsiteX84" fmla="*/ 1823720 w 4185799"/>
                      <a:gd name="connsiteY84" fmla="*/ 2910840 h 3711258"/>
                      <a:gd name="connsiteX85" fmla="*/ 1823720 w 4185799"/>
                      <a:gd name="connsiteY85" fmla="*/ 2961640 h 3711258"/>
                      <a:gd name="connsiteX86" fmla="*/ 1879600 w 4185799"/>
                      <a:gd name="connsiteY86" fmla="*/ 2961640 h 3711258"/>
                      <a:gd name="connsiteX87" fmla="*/ 1879600 w 4185799"/>
                      <a:gd name="connsiteY87" fmla="*/ 2997200 h 3711258"/>
                      <a:gd name="connsiteX88" fmla="*/ 1940560 w 4185799"/>
                      <a:gd name="connsiteY88" fmla="*/ 2997200 h 3711258"/>
                      <a:gd name="connsiteX89" fmla="*/ 1940560 w 4185799"/>
                      <a:gd name="connsiteY89" fmla="*/ 3068320 h 3711258"/>
                      <a:gd name="connsiteX90" fmla="*/ 2108200 w 4185799"/>
                      <a:gd name="connsiteY90" fmla="*/ 3068320 h 3711258"/>
                      <a:gd name="connsiteX91" fmla="*/ 2108200 w 4185799"/>
                      <a:gd name="connsiteY91" fmla="*/ 3068320 h 3711258"/>
                      <a:gd name="connsiteX92" fmla="*/ 2336800 w 4185799"/>
                      <a:gd name="connsiteY92" fmla="*/ 3068320 h 3711258"/>
                      <a:gd name="connsiteX93" fmla="*/ 2336800 w 4185799"/>
                      <a:gd name="connsiteY93" fmla="*/ 3134360 h 3711258"/>
                      <a:gd name="connsiteX94" fmla="*/ 2468880 w 4185799"/>
                      <a:gd name="connsiteY94" fmla="*/ 3134360 h 3711258"/>
                      <a:gd name="connsiteX95" fmla="*/ 2468880 w 4185799"/>
                      <a:gd name="connsiteY95" fmla="*/ 3180080 h 3711258"/>
                      <a:gd name="connsiteX96" fmla="*/ 2697480 w 4185799"/>
                      <a:gd name="connsiteY96" fmla="*/ 3180080 h 3711258"/>
                      <a:gd name="connsiteX97" fmla="*/ 2697480 w 4185799"/>
                      <a:gd name="connsiteY97" fmla="*/ 3230880 h 3711258"/>
                      <a:gd name="connsiteX98" fmla="*/ 2768600 w 4185799"/>
                      <a:gd name="connsiteY98" fmla="*/ 3230880 h 3711258"/>
                      <a:gd name="connsiteX99" fmla="*/ 2768600 w 4185799"/>
                      <a:gd name="connsiteY99" fmla="*/ 3251200 h 3711258"/>
                      <a:gd name="connsiteX100" fmla="*/ 3007360 w 4185799"/>
                      <a:gd name="connsiteY100" fmla="*/ 3251200 h 3711258"/>
                      <a:gd name="connsiteX101" fmla="*/ 3007360 w 4185799"/>
                      <a:gd name="connsiteY101" fmla="*/ 3296920 h 3711258"/>
                      <a:gd name="connsiteX102" fmla="*/ 3053080 w 4185799"/>
                      <a:gd name="connsiteY102" fmla="*/ 3296920 h 3711258"/>
                      <a:gd name="connsiteX103" fmla="*/ 3053080 w 4185799"/>
                      <a:gd name="connsiteY103" fmla="*/ 3347720 h 3711258"/>
                      <a:gd name="connsiteX104" fmla="*/ 3078480 w 4185799"/>
                      <a:gd name="connsiteY104" fmla="*/ 3347720 h 3711258"/>
                      <a:gd name="connsiteX105" fmla="*/ 3078480 w 4185799"/>
                      <a:gd name="connsiteY105" fmla="*/ 3393440 h 3711258"/>
                      <a:gd name="connsiteX106" fmla="*/ 3256280 w 4185799"/>
                      <a:gd name="connsiteY106" fmla="*/ 3393440 h 3711258"/>
                      <a:gd name="connsiteX107" fmla="*/ 3256280 w 4185799"/>
                      <a:gd name="connsiteY107" fmla="*/ 3439160 h 3711258"/>
                      <a:gd name="connsiteX108" fmla="*/ 3703320 w 4185799"/>
                      <a:gd name="connsiteY108" fmla="*/ 3439160 h 3711258"/>
                      <a:gd name="connsiteX109" fmla="*/ 3705740 w 4185799"/>
                      <a:gd name="connsiteY109" fmla="*/ 3524177 h 3711258"/>
                      <a:gd name="connsiteX110" fmla="*/ 3969900 w 4185799"/>
                      <a:gd name="connsiteY110" fmla="*/ 3521637 h 3711258"/>
                      <a:gd name="connsiteX111" fmla="*/ 3969899 w 4185799"/>
                      <a:gd name="connsiteY111" fmla="*/ 3610537 h 3711258"/>
                      <a:gd name="connsiteX112" fmla="*/ 4028319 w 4185799"/>
                      <a:gd name="connsiteY112" fmla="*/ 3613077 h 3711258"/>
                      <a:gd name="connsiteX113" fmla="*/ 4030859 w 4185799"/>
                      <a:gd name="connsiteY113" fmla="*/ 3701976 h 3711258"/>
                      <a:gd name="connsiteX114" fmla="*/ 4185799 w 4185799"/>
                      <a:gd name="connsiteY114" fmla="*/ 3709596 h 3711258"/>
                      <a:gd name="connsiteX0" fmla="*/ 0 w 4201726"/>
                      <a:gd name="connsiteY0" fmla="*/ 0 h 3712136"/>
                      <a:gd name="connsiteX1" fmla="*/ 0 w 4201726"/>
                      <a:gd name="connsiteY1" fmla="*/ 116840 h 3712136"/>
                      <a:gd name="connsiteX2" fmla="*/ 66040 w 4201726"/>
                      <a:gd name="connsiteY2" fmla="*/ 116840 h 3712136"/>
                      <a:gd name="connsiteX3" fmla="*/ 66040 w 4201726"/>
                      <a:gd name="connsiteY3" fmla="*/ 218440 h 3712136"/>
                      <a:gd name="connsiteX4" fmla="*/ 137160 w 4201726"/>
                      <a:gd name="connsiteY4" fmla="*/ 218440 h 3712136"/>
                      <a:gd name="connsiteX5" fmla="*/ 137160 w 4201726"/>
                      <a:gd name="connsiteY5" fmla="*/ 294640 h 3712136"/>
                      <a:gd name="connsiteX6" fmla="*/ 147320 w 4201726"/>
                      <a:gd name="connsiteY6" fmla="*/ 294640 h 3712136"/>
                      <a:gd name="connsiteX7" fmla="*/ 147320 w 4201726"/>
                      <a:gd name="connsiteY7" fmla="*/ 421640 h 3712136"/>
                      <a:gd name="connsiteX8" fmla="*/ 198120 w 4201726"/>
                      <a:gd name="connsiteY8" fmla="*/ 421640 h 3712136"/>
                      <a:gd name="connsiteX9" fmla="*/ 198120 w 4201726"/>
                      <a:gd name="connsiteY9" fmla="*/ 543560 h 3712136"/>
                      <a:gd name="connsiteX10" fmla="*/ 198120 w 4201726"/>
                      <a:gd name="connsiteY10" fmla="*/ 543560 h 3712136"/>
                      <a:gd name="connsiteX11" fmla="*/ 243840 w 4201726"/>
                      <a:gd name="connsiteY11" fmla="*/ 589280 h 3712136"/>
                      <a:gd name="connsiteX12" fmla="*/ 259080 w 4201726"/>
                      <a:gd name="connsiteY12" fmla="*/ 604520 h 3712136"/>
                      <a:gd name="connsiteX13" fmla="*/ 259080 w 4201726"/>
                      <a:gd name="connsiteY13" fmla="*/ 665480 h 3712136"/>
                      <a:gd name="connsiteX14" fmla="*/ 294640 w 4201726"/>
                      <a:gd name="connsiteY14" fmla="*/ 665480 h 3712136"/>
                      <a:gd name="connsiteX15" fmla="*/ 294640 w 4201726"/>
                      <a:gd name="connsiteY15" fmla="*/ 716280 h 3712136"/>
                      <a:gd name="connsiteX16" fmla="*/ 320040 w 4201726"/>
                      <a:gd name="connsiteY16" fmla="*/ 716280 h 3712136"/>
                      <a:gd name="connsiteX17" fmla="*/ 320040 w 4201726"/>
                      <a:gd name="connsiteY17" fmla="*/ 792480 h 3712136"/>
                      <a:gd name="connsiteX18" fmla="*/ 335280 w 4201726"/>
                      <a:gd name="connsiteY18" fmla="*/ 792480 h 3712136"/>
                      <a:gd name="connsiteX19" fmla="*/ 335280 w 4201726"/>
                      <a:gd name="connsiteY19" fmla="*/ 889000 h 3712136"/>
                      <a:gd name="connsiteX20" fmla="*/ 375920 w 4201726"/>
                      <a:gd name="connsiteY20" fmla="*/ 889000 h 3712136"/>
                      <a:gd name="connsiteX21" fmla="*/ 375920 w 4201726"/>
                      <a:gd name="connsiteY21" fmla="*/ 949960 h 3712136"/>
                      <a:gd name="connsiteX22" fmla="*/ 375920 w 4201726"/>
                      <a:gd name="connsiteY22" fmla="*/ 949960 h 3712136"/>
                      <a:gd name="connsiteX23" fmla="*/ 416560 w 4201726"/>
                      <a:gd name="connsiteY23" fmla="*/ 949960 h 3712136"/>
                      <a:gd name="connsiteX24" fmla="*/ 416560 w 4201726"/>
                      <a:gd name="connsiteY24" fmla="*/ 1026160 h 3712136"/>
                      <a:gd name="connsiteX25" fmla="*/ 441960 w 4201726"/>
                      <a:gd name="connsiteY25" fmla="*/ 1026160 h 3712136"/>
                      <a:gd name="connsiteX26" fmla="*/ 441960 w 4201726"/>
                      <a:gd name="connsiteY26" fmla="*/ 1092200 h 3712136"/>
                      <a:gd name="connsiteX27" fmla="*/ 472440 w 4201726"/>
                      <a:gd name="connsiteY27" fmla="*/ 1092200 h 3712136"/>
                      <a:gd name="connsiteX28" fmla="*/ 472440 w 4201726"/>
                      <a:gd name="connsiteY28" fmla="*/ 1214120 h 3712136"/>
                      <a:gd name="connsiteX29" fmla="*/ 492760 w 4201726"/>
                      <a:gd name="connsiteY29" fmla="*/ 1234440 h 3712136"/>
                      <a:gd name="connsiteX30" fmla="*/ 492760 w 4201726"/>
                      <a:gd name="connsiteY30" fmla="*/ 1285240 h 3712136"/>
                      <a:gd name="connsiteX31" fmla="*/ 553720 w 4201726"/>
                      <a:gd name="connsiteY31" fmla="*/ 1285240 h 3712136"/>
                      <a:gd name="connsiteX32" fmla="*/ 553720 w 4201726"/>
                      <a:gd name="connsiteY32" fmla="*/ 1386840 h 3712136"/>
                      <a:gd name="connsiteX33" fmla="*/ 553720 w 4201726"/>
                      <a:gd name="connsiteY33" fmla="*/ 1427480 h 3712136"/>
                      <a:gd name="connsiteX34" fmla="*/ 599440 w 4201726"/>
                      <a:gd name="connsiteY34" fmla="*/ 1427480 h 3712136"/>
                      <a:gd name="connsiteX35" fmla="*/ 599440 w 4201726"/>
                      <a:gd name="connsiteY35" fmla="*/ 1493520 h 3712136"/>
                      <a:gd name="connsiteX36" fmla="*/ 650240 w 4201726"/>
                      <a:gd name="connsiteY36" fmla="*/ 1493520 h 3712136"/>
                      <a:gd name="connsiteX37" fmla="*/ 650240 w 4201726"/>
                      <a:gd name="connsiteY37" fmla="*/ 1539240 h 3712136"/>
                      <a:gd name="connsiteX38" fmla="*/ 695960 w 4201726"/>
                      <a:gd name="connsiteY38" fmla="*/ 1539240 h 3712136"/>
                      <a:gd name="connsiteX39" fmla="*/ 695960 w 4201726"/>
                      <a:gd name="connsiteY39" fmla="*/ 1635760 h 3712136"/>
                      <a:gd name="connsiteX40" fmla="*/ 731520 w 4201726"/>
                      <a:gd name="connsiteY40" fmla="*/ 1635760 h 3712136"/>
                      <a:gd name="connsiteX41" fmla="*/ 731520 w 4201726"/>
                      <a:gd name="connsiteY41" fmla="*/ 1706880 h 3712136"/>
                      <a:gd name="connsiteX42" fmla="*/ 762000 w 4201726"/>
                      <a:gd name="connsiteY42" fmla="*/ 1706880 h 3712136"/>
                      <a:gd name="connsiteX43" fmla="*/ 762000 w 4201726"/>
                      <a:gd name="connsiteY43" fmla="*/ 1803400 h 3712136"/>
                      <a:gd name="connsiteX44" fmla="*/ 797560 w 4201726"/>
                      <a:gd name="connsiteY44" fmla="*/ 1803400 h 3712136"/>
                      <a:gd name="connsiteX45" fmla="*/ 797560 w 4201726"/>
                      <a:gd name="connsiteY45" fmla="*/ 1854200 h 3712136"/>
                      <a:gd name="connsiteX46" fmla="*/ 853440 w 4201726"/>
                      <a:gd name="connsiteY46" fmla="*/ 1854200 h 3712136"/>
                      <a:gd name="connsiteX47" fmla="*/ 853440 w 4201726"/>
                      <a:gd name="connsiteY47" fmla="*/ 1940560 h 3712136"/>
                      <a:gd name="connsiteX48" fmla="*/ 894080 w 4201726"/>
                      <a:gd name="connsiteY48" fmla="*/ 1940560 h 3712136"/>
                      <a:gd name="connsiteX49" fmla="*/ 894080 w 4201726"/>
                      <a:gd name="connsiteY49" fmla="*/ 2011680 h 3712136"/>
                      <a:gd name="connsiteX50" fmla="*/ 939800 w 4201726"/>
                      <a:gd name="connsiteY50" fmla="*/ 2011680 h 3712136"/>
                      <a:gd name="connsiteX51" fmla="*/ 939800 w 4201726"/>
                      <a:gd name="connsiteY51" fmla="*/ 2062480 h 3712136"/>
                      <a:gd name="connsiteX52" fmla="*/ 1000760 w 4201726"/>
                      <a:gd name="connsiteY52" fmla="*/ 2062480 h 3712136"/>
                      <a:gd name="connsiteX53" fmla="*/ 1000760 w 4201726"/>
                      <a:gd name="connsiteY53" fmla="*/ 2128520 h 3712136"/>
                      <a:gd name="connsiteX54" fmla="*/ 1000760 w 4201726"/>
                      <a:gd name="connsiteY54" fmla="*/ 2128520 h 3712136"/>
                      <a:gd name="connsiteX55" fmla="*/ 1000760 w 4201726"/>
                      <a:gd name="connsiteY55" fmla="*/ 2214880 h 3712136"/>
                      <a:gd name="connsiteX56" fmla="*/ 1051560 w 4201726"/>
                      <a:gd name="connsiteY56" fmla="*/ 2214880 h 3712136"/>
                      <a:gd name="connsiteX57" fmla="*/ 1051560 w 4201726"/>
                      <a:gd name="connsiteY57" fmla="*/ 2235200 h 3712136"/>
                      <a:gd name="connsiteX58" fmla="*/ 1097280 w 4201726"/>
                      <a:gd name="connsiteY58" fmla="*/ 2235200 h 3712136"/>
                      <a:gd name="connsiteX59" fmla="*/ 1097280 w 4201726"/>
                      <a:gd name="connsiteY59" fmla="*/ 2235200 h 3712136"/>
                      <a:gd name="connsiteX60" fmla="*/ 1132840 w 4201726"/>
                      <a:gd name="connsiteY60" fmla="*/ 2270760 h 3712136"/>
                      <a:gd name="connsiteX61" fmla="*/ 1132840 w 4201726"/>
                      <a:gd name="connsiteY61" fmla="*/ 2341880 h 3712136"/>
                      <a:gd name="connsiteX62" fmla="*/ 1188720 w 4201726"/>
                      <a:gd name="connsiteY62" fmla="*/ 2341880 h 3712136"/>
                      <a:gd name="connsiteX63" fmla="*/ 1188720 w 4201726"/>
                      <a:gd name="connsiteY63" fmla="*/ 2377440 h 3712136"/>
                      <a:gd name="connsiteX64" fmla="*/ 1244600 w 4201726"/>
                      <a:gd name="connsiteY64" fmla="*/ 2377440 h 3712136"/>
                      <a:gd name="connsiteX65" fmla="*/ 1244600 w 4201726"/>
                      <a:gd name="connsiteY65" fmla="*/ 2377440 h 3712136"/>
                      <a:gd name="connsiteX66" fmla="*/ 1290320 w 4201726"/>
                      <a:gd name="connsiteY66" fmla="*/ 2377440 h 3712136"/>
                      <a:gd name="connsiteX67" fmla="*/ 1290320 w 4201726"/>
                      <a:gd name="connsiteY67" fmla="*/ 2479040 h 3712136"/>
                      <a:gd name="connsiteX68" fmla="*/ 1351280 w 4201726"/>
                      <a:gd name="connsiteY68" fmla="*/ 2479040 h 3712136"/>
                      <a:gd name="connsiteX69" fmla="*/ 1351280 w 4201726"/>
                      <a:gd name="connsiteY69" fmla="*/ 2540000 h 3712136"/>
                      <a:gd name="connsiteX70" fmla="*/ 1422400 w 4201726"/>
                      <a:gd name="connsiteY70" fmla="*/ 2540000 h 3712136"/>
                      <a:gd name="connsiteX71" fmla="*/ 1422400 w 4201726"/>
                      <a:gd name="connsiteY71" fmla="*/ 2600960 h 3712136"/>
                      <a:gd name="connsiteX72" fmla="*/ 1549400 w 4201726"/>
                      <a:gd name="connsiteY72" fmla="*/ 2600960 h 3712136"/>
                      <a:gd name="connsiteX73" fmla="*/ 1549400 w 4201726"/>
                      <a:gd name="connsiteY73" fmla="*/ 2651760 h 3712136"/>
                      <a:gd name="connsiteX74" fmla="*/ 1615440 w 4201726"/>
                      <a:gd name="connsiteY74" fmla="*/ 2651760 h 3712136"/>
                      <a:gd name="connsiteX75" fmla="*/ 1615440 w 4201726"/>
                      <a:gd name="connsiteY75" fmla="*/ 2687320 h 3712136"/>
                      <a:gd name="connsiteX76" fmla="*/ 1661160 w 4201726"/>
                      <a:gd name="connsiteY76" fmla="*/ 2687320 h 3712136"/>
                      <a:gd name="connsiteX77" fmla="*/ 1661160 w 4201726"/>
                      <a:gd name="connsiteY77" fmla="*/ 2748280 h 3712136"/>
                      <a:gd name="connsiteX78" fmla="*/ 1681480 w 4201726"/>
                      <a:gd name="connsiteY78" fmla="*/ 2768600 h 3712136"/>
                      <a:gd name="connsiteX79" fmla="*/ 1681480 w 4201726"/>
                      <a:gd name="connsiteY79" fmla="*/ 2834640 h 3712136"/>
                      <a:gd name="connsiteX80" fmla="*/ 1711960 w 4201726"/>
                      <a:gd name="connsiteY80" fmla="*/ 2834640 h 3712136"/>
                      <a:gd name="connsiteX81" fmla="*/ 1711960 w 4201726"/>
                      <a:gd name="connsiteY81" fmla="*/ 2880360 h 3712136"/>
                      <a:gd name="connsiteX82" fmla="*/ 1788160 w 4201726"/>
                      <a:gd name="connsiteY82" fmla="*/ 2880360 h 3712136"/>
                      <a:gd name="connsiteX83" fmla="*/ 1788160 w 4201726"/>
                      <a:gd name="connsiteY83" fmla="*/ 2910840 h 3712136"/>
                      <a:gd name="connsiteX84" fmla="*/ 1823720 w 4201726"/>
                      <a:gd name="connsiteY84" fmla="*/ 2910840 h 3712136"/>
                      <a:gd name="connsiteX85" fmla="*/ 1823720 w 4201726"/>
                      <a:gd name="connsiteY85" fmla="*/ 2961640 h 3712136"/>
                      <a:gd name="connsiteX86" fmla="*/ 1879600 w 4201726"/>
                      <a:gd name="connsiteY86" fmla="*/ 2961640 h 3712136"/>
                      <a:gd name="connsiteX87" fmla="*/ 1879600 w 4201726"/>
                      <a:gd name="connsiteY87" fmla="*/ 2997200 h 3712136"/>
                      <a:gd name="connsiteX88" fmla="*/ 1940560 w 4201726"/>
                      <a:gd name="connsiteY88" fmla="*/ 2997200 h 3712136"/>
                      <a:gd name="connsiteX89" fmla="*/ 1940560 w 4201726"/>
                      <a:gd name="connsiteY89" fmla="*/ 3068320 h 3712136"/>
                      <a:gd name="connsiteX90" fmla="*/ 2108200 w 4201726"/>
                      <a:gd name="connsiteY90" fmla="*/ 3068320 h 3712136"/>
                      <a:gd name="connsiteX91" fmla="*/ 2108200 w 4201726"/>
                      <a:gd name="connsiteY91" fmla="*/ 3068320 h 3712136"/>
                      <a:gd name="connsiteX92" fmla="*/ 2336800 w 4201726"/>
                      <a:gd name="connsiteY92" fmla="*/ 3068320 h 3712136"/>
                      <a:gd name="connsiteX93" fmla="*/ 2336800 w 4201726"/>
                      <a:gd name="connsiteY93" fmla="*/ 3134360 h 3712136"/>
                      <a:gd name="connsiteX94" fmla="*/ 2468880 w 4201726"/>
                      <a:gd name="connsiteY94" fmla="*/ 3134360 h 3712136"/>
                      <a:gd name="connsiteX95" fmla="*/ 2468880 w 4201726"/>
                      <a:gd name="connsiteY95" fmla="*/ 3180080 h 3712136"/>
                      <a:gd name="connsiteX96" fmla="*/ 2697480 w 4201726"/>
                      <a:gd name="connsiteY96" fmla="*/ 3180080 h 3712136"/>
                      <a:gd name="connsiteX97" fmla="*/ 2697480 w 4201726"/>
                      <a:gd name="connsiteY97" fmla="*/ 3230880 h 3712136"/>
                      <a:gd name="connsiteX98" fmla="*/ 2768600 w 4201726"/>
                      <a:gd name="connsiteY98" fmla="*/ 3230880 h 3712136"/>
                      <a:gd name="connsiteX99" fmla="*/ 2768600 w 4201726"/>
                      <a:gd name="connsiteY99" fmla="*/ 3251200 h 3712136"/>
                      <a:gd name="connsiteX100" fmla="*/ 3007360 w 4201726"/>
                      <a:gd name="connsiteY100" fmla="*/ 3251200 h 3712136"/>
                      <a:gd name="connsiteX101" fmla="*/ 3007360 w 4201726"/>
                      <a:gd name="connsiteY101" fmla="*/ 3296920 h 3712136"/>
                      <a:gd name="connsiteX102" fmla="*/ 3053080 w 4201726"/>
                      <a:gd name="connsiteY102" fmla="*/ 3296920 h 3712136"/>
                      <a:gd name="connsiteX103" fmla="*/ 3053080 w 4201726"/>
                      <a:gd name="connsiteY103" fmla="*/ 3347720 h 3712136"/>
                      <a:gd name="connsiteX104" fmla="*/ 3078480 w 4201726"/>
                      <a:gd name="connsiteY104" fmla="*/ 3347720 h 3712136"/>
                      <a:gd name="connsiteX105" fmla="*/ 3078480 w 4201726"/>
                      <a:gd name="connsiteY105" fmla="*/ 3393440 h 3712136"/>
                      <a:gd name="connsiteX106" fmla="*/ 3256280 w 4201726"/>
                      <a:gd name="connsiteY106" fmla="*/ 3393440 h 3712136"/>
                      <a:gd name="connsiteX107" fmla="*/ 3256280 w 4201726"/>
                      <a:gd name="connsiteY107" fmla="*/ 3439160 h 3712136"/>
                      <a:gd name="connsiteX108" fmla="*/ 3703320 w 4201726"/>
                      <a:gd name="connsiteY108" fmla="*/ 3439160 h 3712136"/>
                      <a:gd name="connsiteX109" fmla="*/ 3705740 w 4201726"/>
                      <a:gd name="connsiteY109" fmla="*/ 3524177 h 3712136"/>
                      <a:gd name="connsiteX110" fmla="*/ 3969900 w 4201726"/>
                      <a:gd name="connsiteY110" fmla="*/ 3521637 h 3712136"/>
                      <a:gd name="connsiteX111" fmla="*/ 3969899 w 4201726"/>
                      <a:gd name="connsiteY111" fmla="*/ 3610537 h 3712136"/>
                      <a:gd name="connsiteX112" fmla="*/ 4028319 w 4201726"/>
                      <a:gd name="connsiteY112" fmla="*/ 3613077 h 3712136"/>
                      <a:gd name="connsiteX113" fmla="*/ 4030859 w 4201726"/>
                      <a:gd name="connsiteY113" fmla="*/ 3701976 h 3712136"/>
                      <a:gd name="connsiteX114" fmla="*/ 4185799 w 4201726"/>
                      <a:gd name="connsiteY114" fmla="*/ 3709596 h 3712136"/>
                      <a:gd name="connsiteX115" fmla="*/ 4198499 w 4201726"/>
                      <a:gd name="connsiteY115" fmla="*/ 3712136 h 3712136"/>
                      <a:gd name="connsiteX0" fmla="*/ 0 w 4201726"/>
                      <a:gd name="connsiteY0" fmla="*/ 0 h 3803576"/>
                      <a:gd name="connsiteX1" fmla="*/ 0 w 4201726"/>
                      <a:gd name="connsiteY1" fmla="*/ 116840 h 3803576"/>
                      <a:gd name="connsiteX2" fmla="*/ 66040 w 4201726"/>
                      <a:gd name="connsiteY2" fmla="*/ 116840 h 3803576"/>
                      <a:gd name="connsiteX3" fmla="*/ 66040 w 4201726"/>
                      <a:gd name="connsiteY3" fmla="*/ 218440 h 3803576"/>
                      <a:gd name="connsiteX4" fmla="*/ 137160 w 4201726"/>
                      <a:gd name="connsiteY4" fmla="*/ 218440 h 3803576"/>
                      <a:gd name="connsiteX5" fmla="*/ 137160 w 4201726"/>
                      <a:gd name="connsiteY5" fmla="*/ 294640 h 3803576"/>
                      <a:gd name="connsiteX6" fmla="*/ 147320 w 4201726"/>
                      <a:gd name="connsiteY6" fmla="*/ 294640 h 3803576"/>
                      <a:gd name="connsiteX7" fmla="*/ 147320 w 4201726"/>
                      <a:gd name="connsiteY7" fmla="*/ 421640 h 3803576"/>
                      <a:gd name="connsiteX8" fmla="*/ 198120 w 4201726"/>
                      <a:gd name="connsiteY8" fmla="*/ 421640 h 3803576"/>
                      <a:gd name="connsiteX9" fmla="*/ 198120 w 4201726"/>
                      <a:gd name="connsiteY9" fmla="*/ 543560 h 3803576"/>
                      <a:gd name="connsiteX10" fmla="*/ 198120 w 4201726"/>
                      <a:gd name="connsiteY10" fmla="*/ 543560 h 3803576"/>
                      <a:gd name="connsiteX11" fmla="*/ 243840 w 4201726"/>
                      <a:gd name="connsiteY11" fmla="*/ 589280 h 3803576"/>
                      <a:gd name="connsiteX12" fmla="*/ 259080 w 4201726"/>
                      <a:gd name="connsiteY12" fmla="*/ 604520 h 3803576"/>
                      <a:gd name="connsiteX13" fmla="*/ 259080 w 4201726"/>
                      <a:gd name="connsiteY13" fmla="*/ 665480 h 3803576"/>
                      <a:gd name="connsiteX14" fmla="*/ 294640 w 4201726"/>
                      <a:gd name="connsiteY14" fmla="*/ 665480 h 3803576"/>
                      <a:gd name="connsiteX15" fmla="*/ 294640 w 4201726"/>
                      <a:gd name="connsiteY15" fmla="*/ 716280 h 3803576"/>
                      <a:gd name="connsiteX16" fmla="*/ 320040 w 4201726"/>
                      <a:gd name="connsiteY16" fmla="*/ 716280 h 3803576"/>
                      <a:gd name="connsiteX17" fmla="*/ 320040 w 4201726"/>
                      <a:gd name="connsiteY17" fmla="*/ 792480 h 3803576"/>
                      <a:gd name="connsiteX18" fmla="*/ 335280 w 4201726"/>
                      <a:gd name="connsiteY18" fmla="*/ 792480 h 3803576"/>
                      <a:gd name="connsiteX19" fmla="*/ 335280 w 4201726"/>
                      <a:gd name="connsiteY19" fmla="*/ 889000 h 3803576"/>
                      <a:gd name="connsiteX20" fmla="*/ 375920 w 4201726"/>
                      <a:gd name="connsiteY20" fmla="*/ 889000 h 3803576"/>
                      <a:gd name="connsiteX21" fmla="*/ 375920 w 4201726"/>
                      <a:gd name="connsiteY21" fmla="*/ 949960 h 3803576"/>
                      <a:gd name="connsiteX22" fmla="*/ 375920 w 4201726"/>
                      <a:gd name="connsiteY22" fmla="*/ 949960 h 3803576"/>
                      <a:gd name="connsiteX23" fmla="*/ 416560 w 4201726"/>
                      <a:gd name="connsiteY23" fmla="*/ 949960 h 3803576"/>
                      <a:gd name="connsiteX24" fmla="*/ 416560 w 4201726"/>
                      <a:gd name="connsiteY24" fmla="*/ 1026160 h 3803576"/>
                      <a:gd name="connsiteX25" fmla="*/ 441960 w 4201726"/>
                      <a:gd name="connsiteY25" fmla="*/ 1026160 h 3803576"/>
                      <a:gd name="connsiteX26" fmla="*/ 441960 w 4201726"/>
                      <a:gd name="connsiteY26" fmla="*/ 1092200 h 3803576"/>
                      <a:gd name="connsiteX27" fmla="*/ 472440 w 4201726"/>
                      <a:gd name="connsiteY27" fmla="*/ 1092200 h 3803576"/>
                      <a:gd name="connsiteX28" fmla="*/ 472440 w 4201726"/>
                      <a:gd name="connsiteY28" fmla="*/ 1214120 h 3803576"/>
                      <a:gd name="connsiteX29" fmla="*/ 492760 w 4201726"/>
                      <a:gd name="connsiteY29" fmla="*/ 1234440 h 3803576"/>
                      <a:gd name="connsiteX30" fmla="*/ 492760 w 4201726"/>
                      <a:gd name="connsiteY30" fmla="*/ 1285240 h 3803576"/>
                      <a:gd name="connsiteX31" fmla="*/ 553720 w 4201726"/>
                      <a:gd name="connsiteY31" fmla="*/ 1285240 h 3803576"/>
                      <a:gd name="connsiteX32" fmla="*/ 553720 w 4201726"/>
                      <a:gd name="connsiteY32" fmla="*/ 1386840 h 3803576"/>
                      <a:gd name="connsiteX33" fmla="*/ 553720 w 4201726"/>
                      <a:gd name="connsiteY33" fmla="*/ 1427480 h 3803576"/>
                      <a:gd name="connsiteX34" fmla="*/ 599440 w 4201726"/>
                      <a:gd name="connsiteY34" fmla="*/ 1427480 h 3803576"/>
                      <a:gd name="connsiteX35" fmla="*/ 599440 w 4201726"/>
                      <a:gd name="connsiteY35" fmla="*/ 1493520 h 3803576"/>
                      <a:gd name="connsiteX36" fmla="*/ 650240 w 4201726"/>
                      <a:gd name="connsiteY36" fmla="*/ 1493520 h 3803576"/>
                      <a:gd name="connsiteX37" fmla="*/ 650240 w 4201726"/>
                      <a:gd name="connsiteY37" fmla="*/ 1539240 h 3803576"/>
                      <a:gd name="connsiteX38" fmla="*/ 695960 w 4201726"/>
                      <a:gd name="connsiteY38" fmla="*/ 1539240 h 3803576"/>
                      <a:gd name="connsiteX39" fmla="*/ 695960 w 4201726"/>
                      <a:gd name="connsiteY39" fmla="*/ 1635760 h 3803576"/>
                      <a:gd name="connsiteX40" fmla="*/ 731520 w 4201726"/>
                      <a:gd name="connsiteY40" fmla="*/ 1635760 h 3803576"/>
                      <a:gd name="connsiteX41" fmla="*/ 731520 w 4201726"/>
                      <a:gd name="connsiteY41" fmla="*/ 1706880 h 3803576"/>
                      <a:gd name="connsiteX42" fmla="*/ 762000 w 4201726"/>
                      <a:gd name="connsiteY42" fmla="*/ 1706880 h 3803576"/>
                      <a:gd name="connsiteX43" fmla="*/ 762000 w 4201726"/>
                      <a:gd name="connsiteY43" fmla="*/ 1803400 h 3803576"/>
                      <a:gd name="connsiteX44" fmla="*/ 797560 w 4201726"/>
                      <a:gd name="connsiteY44" fmla="*/ 1803400 h 3803576"/>
                      <a:gd name="connsiteX45" fmla="*/ 797560 w 4201726"/>
                      <a:gd name="connsiteY45" fmla="*/ 1854200 h 3803576"/>
                      <a:gd name="connsiteX46" fmla="*/ 853440 w 4201726"/>
                      <a:gd name="connsiteY46" fmla="*/ 1854200 h 3803576"/>
                      <a:gd name="connsiteX47" fmla="*/ 853440 w 4201726"/>
                      <a:gd name="connsiteY47" fmla="*/ 1940560 h 3803576"/>
                      <a:gd name="connsiteX48" fmla="*/ 894080 w 4201726"/>
                      <a:gd name="connsiteY48" fmla="*/ 1940560 h 3803576"/>
                      <a:gd name="connsiteX49" fmla="*/ 894080 w 4201726"/>
                      <a:gd name="connsiteY49" fmla="*/ 2011680 h 3803576"/>
                      <a:gd name="connsiteX50" fmla="*/ 939800 w 4201726"/>
                      <a:gd name="connsiteY50" fmla="*/ 2011680 h 3803576"/>
                      <a:gd name="connsiteX51" fmla="*/ 939800 w 4201726"/>
                      <a:gd name="connsiteY51" fmla="*/ 2062480 h 3803576"/>
                      <a:gd name="connsiteX52" fmla="*/ 1000760 w 4201726"/>
                      <a:gd name="connsiteY52" fmla="*/ 2062480 h 3803576"/>
                      <a:gd name="connsiteX53" fmla="*/ 1000760 w 4201726"/>
                      <a:gd name="connsiteY53" fmla="*/ 2128520 h 3803576"/>
                      <a:gd name="connsiteX54" fmla="*/ 1000760 w 4201726"/>
                      <a:gd name="connsiteY54" fmla="*/ 2128520 h 3803576"/>
                      <a:gd name="connsiteX55" fmla="*/ 1000760 w 4201726"/>
                      <a:gd name="connsiteY55" fmla="*/ 2214880 h 3803576"/>
                      <a:gd name="connsiteX56" fmla="*/ 1051560 w 4201726"/>
                      <a:gd name="connsiteY56" fmla="*/ 2214880 h 3803576"/>
                      <a:gd name="connsiteX57" fmla="*/ 1051560 w 4201726"/>
                      <a:gd name="connsiteY57" fmla="*/ 2235200 h 3803576"/>
                      <a:gd name="connsiteX58" fmla="*/ 1097280 w 4201726"/>
                      <a:gd name="connsiteY58" fmla="*/ 2235200 h 3803576"/>
                      <a:gd name="connsiteX59" fmla="*/ 1097280 w 4201726"/>
                      <a:gd name="connsiteY59" fmla="*/ 2235200 h 3803576"/>
                      <a:gd name="connsiteX60" fmla="*/ 1132840 w 4201726"/>
                      <a:gd name="connsiteY60" fmla="*/ 2270760 h 3803576"/>
                      <a:gd name="connsiteX61" fmla="*/ 1132840 w 4201726"/>
                      <a:gd name="connsiteY61" fmla="*/ 2341880 h 3803576"/>
                      <a:gd name="connsiteX62" fmla="*/ 1188720 w 4201726"/>
                      <a:gd name="connsiteY62" fmla="*/ 2341880 h 3803576"/>
                      <a:gd name="connsiteX63" fmla="*/ 1188720 w 4201726"/>
                      <a:gd name="connsiteY63" fmla="*/ 2377440 h 3803576"/>
                      <a:gd name="connsiteX64" fmla="*/ 1244600 w 4201726"/>
                      <a:gd name="connsiteY64" fmla="*/ 2377440 h 3803576"/>
                      <a:gd name="connsiteX65" fmla="*/ 1244600 w 4201726"/>
                      <a:gd name="connsiteY65" fmla="*/ 2377440 h 3803576"/>
                      <a:gd name="connsiteX66" fmla="*/ 1290320 w 4201726"/>
                      <a:gd name="connsiteY66" fmla="*/ 2377440 h 3803576"/>
                      <a:gd name="connsiteX67" fmla="*/ 1290320 w 4201726"/>
                      <a:gd name="connsiteY67" fmla="*/ 2479040 h 3803576"/>
                      <a:gd name="connsiteX68" fmla="*/ 1351280 w 4201726"/>
                      <a:gd name="connsiteY68" fmla="*/ 2479040 h 3803576"/>
                      <a:gd name="connsiteX69" fmla="*/ 1351280 w 4201726"/>
                      <a:gd name="connsiteY69" fmla="*/ 2540000 h 3803576"/>
                      <a:gd name="connsiteX70" fmla="*/ 1422400 w 4201726"/>
                      <a:gd name="connsiteY70" fmla="*/ 2540000 h 3803576"/>
                      <a:gd name="connsiteX71" fmla="*/ 1422400 w 4201726"/>
                      <a:gd name="connsiteY71" fmla="*/ 2600960 h 3803576"/>
                      <a:gd name="connsiteX72" fmla="*/ 1549400 w 4201726"/>
                      <a:gd name="connsiteY72" fmla="*/ 2600960 h 3803576"/>
                      <a:gd name="connsiteX73" fmla="*/ 1549400 w 4201726"/>
                      <a:gd name="connsiteY73" fmla="*/ 2651760 h 3803576"/>
                      <a:gd name="connsiteX74" fmla="*/ 1615440 w 4201726"/>
                      <a:gd name="connsiteY74" fmla="*/ 2651760 h 3803576"/>
                      <a:gd name="connsiteX75" fmla="*/ 1615440 w 4201726"/>
                      <a:gd name="connsiteY75" fmla="*/ 2687320 h 3803576"/>
                      <a:gd name="connsiteX76" fmla="*/ 1661160 w 4201726"/>
                      <a:gd name="connsiteY76" fmla="*/ 2687320 h 3803576"/>
                      <a:gd name="connsiteX77" fmla="*/ 1661160 w 4201726"/>
                      <a:gd name="connsiteY77" fmla="*/ 2748280 h 3803576"/>
                      <a:gd name="connsiteX78" fmla="*/ 1681480 w 4201726"/>
                      <a:gd name="connsiteY78" fmla="*/ 2768600 h 3803576"/>
                      <a:gd name="connsiteX79" fmla="*/ 1681480 w 4201726"/>
                      <a:gd name="connsiteY79" fmla="*/ 2834640 h 3803576"/>
                      <a:gd name="connsiteX80" fmla="*/ 1711960 w 4201726"/>
                      <a:gd name="connsiteY80" fmla="*/ 2834640 h 3803576"/>
                      <a:gd name="connsiteX81" fmla="*/ 1711960 w 4201726"/>
                      <a:gd name="connsiteY81" fmla="*/ 2880360 h 3803576"/>
                      <a:gd name="connsiteX82" fmla="*/ 1788160 w 4201726"/>
                      <a:gd name="connsiteY82" fmla="*/ 2880360 h 3803576"/>
                      <a:gd name="connsiteX83" fmla="*/ 1788160 w 4201726"/>
                      <a:gd name="connsiteY83" fmla="*/ 2910840 h 3803576"/>
                      <a:gd name="connsiteX84" fmla="*/ 1823720 w 4201726"/>
                      <a:gd name="connsiteY84" fmla="*/ 2910840 h 3803576"/>
                      <a:gd name="connsiteX85" fmla="*/ 1823720 w 4201726"/>
                      <a:gd name="connsiteY85" fmla="*/ 2961640 h 3803576"/>
                      <a:gd name="connsiteX86" fmla="*/ 1879600 w 4201726"/>
                      <a:gd name="connsiteY86" fmla="*/ 2961640 h 3803576"/>
                      <a:gd name="connsiteX87" fmla="*/ 1879600 w 4201726"/>
                      <a:gd name="connsiteY87" fmla="*/ 2997200 h 3803576"/>
                      <a:gd name="connsiteX88" fmla="*/ 1940560 w 4201726"/>
                      <a:gd name="connsiteY88" fmla="*/ 2997200 h 3803576"/>
                      <a:gd name="connsiteX89" fmla="*/ 1940560 w 4201726"/>
                      <a:gd name="connsiteY89" fmla="*/ 3068320 h 3803576"/>
                      <a:gd name="connsiteX90" fmla="*/ 2108200 w 4201726"/>
                      <a:gd name="connsiteY90" fmla="*/ 3068320 h 3803576"/>
                      <a:gd name="connsiteX91" fmla="*/ 2108200 w 4201726"/>
                      <a:gd name="connsiteY91" fmla="*/ 3068320 h 3803576"/>
                      <a:gd name="connsiteX92" fmla="*/ 2336800 w 4201726"/>
                      <a:gd name="connsiteY92" fmla="*/ 3068320 h 3803576"/>
                      <a:gd name="connsiteX93" fmla="*/ 2336800 w 4201726"/>
                      <a:gd name="connsiteY93" fmla="*/ 3134360 h 3803576"/>
                      <a:gd name="connsiteX94" fmla="*/ 2468880 w 4201726"/>
                      <a:gd name="connsiteY94" fmla="*/ 3134360 h 3803576"/>
                      <a:gd name="connsiteX95" fmla="*/ 2468880 w 4201726"/>
                      <a:gd name="connsiteY95" fmla="*/ 3180080 h 3803576"/>
                      <a:gd name="connsiteX96" fmla="*/ 2697480 w 4201726"/>
                      <a:gd name="connsiteY96" fmla="*/ 3180080 h 3803576"/>
                      <a:gd name="connsiteX97" fmla="*/ 2697480 w 4201726"/>
                      <a:gd name="connsiteY97" fmla="*/ 3230880 h 3803576"/>
                      <a:gd name="connsiteX98" fmla="*/ 2768600 w 4201726"/>
                      <a:gd name="connsiteY98" fmla="*/ 3230880 h 3803576"/>
                      <a:gd name="connsiteX99" fmla="*/ 2768600 w 4201726"/>
                      <a:gd name="connsiteY99" fmla="*/ 3251200 h 3803576"/>
                      <a:gd name="connsiteX100" fmla="*/ 3007360 w 4201726"/>
                      <a:gd name="connsiteY100" fmla="*/ 3251200 h 3803576"/>
                      <a:gd name="connsiteX101" fmla="*/ 3007360 w 4201726"/>
                      <a:gd name="connsiteY101" fmla="*/ 3296920 h 3803576"/>
                      <a:gd name="connsiteX102" fmla="*/ 3053080 w 4201726"/>
                      <a:gd name="connsiteY102" fmla="*/ 3296920 h 3803576"/>
                      <a:gd name="connsiteX103" fmla="*/ 3053080 w 4201726"/>
                      <a:gd name="connsiteY103" fmla="*/ 3347720 h 3803576"/>
                      <a:gd name="connsiteX104" fmla="*/ 3078480 w 4201726"/>
                      <a:gd name="connsiteY104" fmla="*/ 3347720 h 3803576"/>
                      <a:gd name="connsiteX105" fmla="*/ 3078480 w 4201726"/>
                      <a:gd name="connsiteY105" fmla="*/ 3393440 h 3803576"/>
                      <a:gd name="connsiteX106" fmla="*/ 3256280 w 4201726"/>
                      <a:gd name="connsiteY106" fmla="*/ 3393440 h 3803576"/>
                      <a:gd name="connsiteX107" fmla="*/ 3256280 w 4201726"/>
                      <a:gd name="connsiteY107" fmla="*/ 3439160 h 3803576"/>
                      <a:gd name="connsiteX108" fmla="*/ 3703320 w 4201726"/>
                      <a:gd name="connsiteY108" fmla="*/ 3439160 h 3803576"/>
                      <a:gd name="connsiteX109" fmla="*/ 3705740 w 4201726"/>
                      <a:gd name="connsiteY109" fmla="*/ 3524177 h 3803576"/>
                      <a:gd name="connsiteX110" fmla="*/ 3969900 w 4201726"/>
                      <a:gd name="connsiteY110" fmla="*/ 3521637 h 3803576"/>
                      <a:gd name="connsiteX111" fmla="*/ 3969899 w 4201726"/>
                      <a:gd name="connsiteY111" fmla="*/ 3610537 h 3803576"/>
                      <a:gd name="connsiteX112" fmla="*/ 4028319 w 4201726"/>
                      <a:gd name="connsiteY112" fmla="*/ 3613077 h 3803576"/>
                      <a:gd name="connsiteX113" fmla="*/ 4030859 w 4201726"/>
                      <a:gd name="connsiteY113" fmla="*/ 3701976 h 3803576"/>
                      <a:gd name="connsiteX114" fmla="*/ 4185799 w 4201726"/>
                      <a:gd name="connsiteY114" fmla="*/ 3709596 h 3803576"/>
                      <a:gd name="connsiteX115" fmla="*/ 4198499 w 4201726"/>
                      <a:gd name="connsiteY115" fmla="*/ 3803576 h 3803576"/>
                      <a:gd name="connsiteX0" fmla="*/ 0 w 4201726"/>
                      <a:gd name="connsiteY0" fmla="*/ 0 h 3809849"/>
                      <a:gd name="connsiteX1" fmla="*/ 0 w 4201726"/>
                      <a:gd name="connsiteY1" fmla="*/ 116840 h 3809849"/>
                      <a:gd name="connsiteX2" fmla="*/ 66040 w 4201726"/>
                      <a:gd name="connsiteY2" fmla="*/ 116840 h 3809849"/>
                      <a:gd name="connsiteX3" fmla="*/ 66040 w 4201726"/>
                      <a:gd name="connsiteY3" fmla="*/ 218440 h 3809849"/>
                      <a:gd name="connsiteX4" fmla="*/ 137160 w 4201726"/>
                      <a:gd name="connsiteY4" fmla="*/ 218440 h 3809849"/>
                      <a:gd name="connsiteX5" fmla="*/ 137160 w 4201726"/>
                      <a:gd name="connsiteY5" fmla="*/ 294640 h 3809849"/>
                      <a:gd name="connsiteX6" fmla="*/ 147320 w 4201726"/>
                      <a:gd name="connsiteY6" fmla="*/ 294640 h 3809849"/>
                      <a:gd name="connsiteX7" fmla="*/ 147320 w 4201726"/>
                      <a:gd name="connsiteY7" fmla="*/ 421640 h 3809849"/>
                      <a:gd name="connsiteX8" fmla="*/ 198120 w 4201726"/>
                      <a:gd name="connsiteY8" fmla="*/ 421640 h 3809849"/>
                      <a:gd name="connsiteX9" fmla="*/ 198120 w 4201726"/>
                      <a:gd name="connsiteY9" fmla="*/ 543560 h 3809849"/>
                      <a:gd name="connsiteX10" fmla="*/ 198120 w 4201726"/>
                      <a:gd name="connsiteY10" fmla="*/ 543560 h 3809849"/>
                      <a:gd name="connsiteX11" fmla="*/ 243840 w 4201726"/>
                      <a:gd name="connsiteY11" fmla="*/ 589280 h 3809849"/>
                      <a:gd name="connsiteX12" fmla="*/ 259080 w 4201726"/>
                      <a:gd name="connsiteY12" fmla="*/ 604520 h 3809849"/>
                      <a:gd name="connsiteX13" fmla="*/ 259080 w 4201726"/>
                      <a:gd name="connsiteY13" fmla="*/ 665480 h 3809849"/>
                      <a:gd name="connsiteX14" fmla="*/ 294640 w 4201726"/>
                      <a:gd name="connsiteY14" fmla="*/ 665480 h 3809849"/>
                      <a:gd name="connsiteX15" fmla="*/ 294640 w 4201726"/>
                      <a:gd name="connsiteY15" fmla="*/ 716280 h 3809849"/>
                      <a:gd name="connsiteX16" fmla="*/ 320040 w 4201726"/>
                      <a:gd name="connsiteY16" fmla="*/ 716280 h 3809849"/>
                      <a:gd name="connsiteX17" fmla="*/ 320040 w 4201726"/>
                      <a:gd name="connsiteY17" fmla="*/ 792480 h 3809849"/>
                      <a:gd name="connsiteX18" fmla="*/ 335280 w 4201726"/>
                      <a:gd name="connsiteY18" fmla="*/ 792480 h 3809849"/>
                      <a:gd name="connsiteX19" fmla="*/ 335280 w 4201726"/>
                      <a:gd name="connsiteY19" fmla="*/ 889000 h 3809849"/>
                      <a:gd name="connsiteX20" fmla="*/ 375920 w 4201726"/>
                      <a:gd name="connsiteY20" fmla="*/ 889000 h 3809849"/>
                      <a:gd name="connsiteX21" fmla="*/ 375920 w 4201726"/>
                      <a:gd name="connsiteY21" fmla="*/ 949960 h 3809849"/>
                      <a:gd name="connsiteX22" fmla="*/ 375920 w 4201726"/>
                      <a:gd name="connsiteY22" fmla="*/ 949960 h 3809849"/>
                      <a:gd name="connsiteX23" fmla="*/ 416560 w 4201726"/>
                      <a:gd name="connsiteY23" fmla="*/ 949960 h 3809849"/>
                      <a:gd name="connsiteX24" fmla="*/ 416560 w 4201726"/>
                      <a:gd name="connsiteY24" fmla="*/ 1026160 h 3809849"/>
                      <a:gd name="connsiteX25" fmla="*/ 441960 w 4201726"/>
                      <a:gd name="connsiteY25" fmla="*/ 1026160 h 3809849"/>
                      <a:gd name="connsiteX26" fmla="*/ 441960 w 4201726"/>
                      <a:gd name="connsiteY26" fmla="*/ 1092200 h 3809849"/>
                      <a:gd name="connsiteX27" fmla="*/ 472440 w 4201726"/>
                      <a:gd name="connsiteY27" fmla="*/ 1092200 h 3809849"/>
                      <a:gd name="connsiteX28" fmla="*/ 472440 w 4201726"/>
                      <a:gd name="connsiteY28" fmla="*/ 1214120 h 3809849"/>
                      <a:gd name="connsiteX29" fmla="*/ 492760 w 4201726"/>
                      <a:gd name="connsiteY29" fmla="*/ 1234440 h 3809849"/>
                      <a:gd name="connsiteX30" fmla="*/ 492760 w 4201726"/>
                      <a:gd name="connsiteY30" fmla="*/ 1285240 h 3809849"/>
                      <a:gd name="connsiteX31" fmla="*/ 553720 w 4201726"/>
                      <a:gd name="connsiteY31" fmla="*/ 1285240 h 3809849"/>
                      <a:gd name="connsiteX32" fmla="*/ 553720 w 4201726"/>
                      <a:gd name="connsiteY32" fmla="*/ 1386840 h 3809849"/>
                      <a:gd name="connsiteX33" fmla="*/ 553720 w 4201726"/>
                      <a:gd name="connsiteY33" fmla="*/ 1427480 h 3809849"/>
                      <a:gd name="connsiteX34" fmla="*/ 599440 w 4201726"/>
                      <a:gd name="connsiteY34" fmla="*/ 1427480 h 3809849"/>
                      <a:gd name="connsiteX35" fmla="*/ 599440 w 4201726"/>
                      <a:gd name="connsiteY35" fmla="*/ 1493520 h 3809849"/>
                      <a:gd name="connsiteX36" fmla="*/ 650240 w 4201726"/>
                      <a:gd name="connsiteY36" fmla="*/ 1493520 h 3809849"/>
                      <a:gd name="connsiteX37" fmla="*/ 650240 w 4201726"/>
                      <a:gd name="connsiteY37" fmla="*/ 1539240 h 3809849"/>
                      <a:gd name="connsiteX38" fmla="*/ 695960 w 4201726"/>
                      <a:gd name="connsiteY38" fmla="*/ 1539240 h 3809849"/>
                      <a:gd name="connsiteX39" fmla="*/ 695960 w 4201726"/>
                      <a:gd name="connsiteY39" fmla="*/ 1635760 h 3809849"/>
                      <a:gd name="connsiteX40" fmla="*/ 731520 w 4201726"/>
                      <a:gd name="connsiteY40" fmla="*/ 1635760 h 3809849"/>
                      <a:gd name="connsiteX41" fmla="*/ 731520 w 4201726"/>
                      <a:gd name="connsiteY41" fmla="*/ 1706880 h 3809849"/>
                      <a:gd name="connsiteX42" fmla="*/ 762000 w 4201726"/>
                      <a:gd name="connsiteY42" fmla="*/ 1706880 h 3809849"/>
                      <a:gd name="connsiteX43" fmla="*/ 762000 w 4201726"/>
                      <a:gd name="connsiteY43" fmla="*/ 1803400 h 3809849"/>
                      <a:gd name="connsiteX44" fmla="*/ 797560 w 4201726"/>
                      <a:gd name="connsiteY44" fmla="*/ 1803400 h 3809849"/>
                      <a:gd name="connsiteX45" fmla="*/ 797560 w 4201726"/>
                      <a:gd name="connsiteY45" fmla="*/ 1854200 h 3809849"/>
                      <a:gd name="connsiteX46" fmla="*/ 853440 w 4201726"/>
                      <a:gd name="connsiteY46" fmla="*/ 1854200 h 3809849"/>
                      <a:gd name="connsiteX47" fmla="*/ 853440 w 4201726"/>
                      <a:gd name="connsiteY47" fmla="*/ 1940560 h 3809849"/>
                      <a:gd name="connsiteX48" fmla="*/ 894080 w 4201726"/>
                      <a:gd name="connsiteY48" fmla="*/ 1940560 h 3809849"/>
                      <a:gd name="connsiteX49" fmla="*/ 894080 w 4201726"/>
                      <a:gd name="connsiteY49" fmla="*/ 2011680 h 3809849"/>
                      <a:gd name="connsiteX50" fmla="*/ 939800 w 4201726"/>
                      <a:gd name="connsiteY50" fmla="*/ 2011680 h 3809849"/>
                      <a:gd name="connsiteX51" fmla="*/ 939800 w 4201726"/>
                      <a:gd name="connsiteY51" fmla="*/ 2062480 h 3809849"/>
                      <a:gd name="connsiteX52" fmla="*/ 1000760 w 4201726"/>
                      <a:gd name="connsiteY52" fmla="*/ 2062480 h 3809849"/>
                      <a:gd name="connsiteX53" fmla="*/ 1000760 w 4201726"/>
                      <a:gd name="connsiteY53" fmla="*/ 2128520 h 3809849"/>
                      <a:gd name="connsiteX54" fmla="*/ 1000760 w 4201726"/>
                      <a:gd name="connsiteY54" fmla="*/ 2128520 h 3809849"/>
                      <a:gd name="connsiteX55" fmla="*/ 1000760 w 4201726"/>
                      <a:gd name="connsiteY55" fmla="*/ 2214880 h 3809849"/>
                      <a:gd name="connsiteX56" fmla="*/ 1051560 w 4201726"/>
                      <a:gd name="connsiteY56" fmla="*/ 2214880 h 3809849"/>
                      <a:gd name="connsiteX57" fmla="*/ 1051560 w 4201726"/>
                      <a:gd name="connsiteY57" fmla="*/ 2235200 h 3809849"/>
                      <a:gd name="connsiteX58" fmla="*/ 1097280 w 4201726"/>
                      <a:gd name="connsiteY58" fmla="*/ 2235200 h 3809849"/>
                      <a:gd name="connsiteX59" fmla="*/ 1097280 w 4201726"/>
                      <a:gd name="connsiteY59" fmla="*/ 2235200 h 3809849"/>
                      <a:gd name="connsiteX60" fmla="*/ 1132840 w 4201726"/>
                      <a:gd name="connsiteY60" fmla="*/ 2270760 h 3809849"/>
                      <a:gd name="connsiteX61" fmla="*/ 1132840 w 4201726"/>
                      <a:gd name="connsiteY61" fmla="*/ 2341880 h 3809849"/>
                      <a:gd name="connsiteX62" fmla="*/ 1188720 w 4201726"/>
                      <a:gd name="connsiteY62" fmla="*/ 2341880 h 3809849"/>
                      <a:gd name="connsiteX63" fmla="*/ 1188720 w 4201726"/>
                      <a:gd name="connsiteY63" fmla="*/ 2377440 h 3809849"/>
                      <a:gd name="connsiteX64" fmla="*/ 1244600 w 4201726"/>
                      <a:gd name="connsiteY64" fmla="*/ 2377440 h 3809849"/>
                      <a:gd name="connsiteX65" fmla="*/ 1244600 w 4201726"/>
                      <a:gd name="connsiteY65" fmla="*/ 2377440 h 3809849"/>
                      <a:gd name="connsiteX66" fmla="*/ 1290320 w 4201726"/>
                      <a:gd name="connsiteY66" fmla="*/ 2377440 h 3809849"/>
                      <a:gd name="connsiteX67" fmla="*/ 1290320 w 4201726"/>
                      <a:gd name="connsiteY67" fmla="*/ 2479040 h 3809849"/>
                      <a:gd name="connsiteX68" fmla="*/ 1351280 w 4201726"/>
                      <a:gd name="connsiteY68" fmla="*/ 2479040 h 3809849"/>
                      <a:gd name="connsiteX69" fmla="*/ 1351280 w 4201726"/>
                      <a:gd name="connsiteY69" fmla="*/ 2540000 h 3809849"/>
                      <a:gd name="connsiteX70" fmla="*/ 1422400 w 4201726"/>
                      <a:gd name="connsiteY70" fmla="*/ 2540000 h 3809849"/>
                      <a:gd name="connsiteX71" fmla="*/ 1422400 w 4201726"/>
                      <a:gd name="connsiteY71" fmla="*/ 2600960 h 3809849"/>
                      <a:gd name="connsiteX72" fmla="*/ 1549400 w 4201726"/>
                      <a:gd name="connsiteY72" fmla="*/ 2600960 h 3809849"/>
                      <a:gd name="connsiteX73" fmla="*/ 1549400 w 4201726"/>
                      <a:gd name="connsiteY73" fmla="*/ 2651760 h 3809849"/>
                      <a:gd name="connsiteX74" fmla="*/ 1615440 w 4201726"/>
                      <a:gd name="connsiteY74" fmla="*/ 2651760 h 3809849"/>
                      <a:gd name="connsiteX75" fmla="*/ 1615440 w 4201726"/>
                      <a:gd name="connsiteY75" fmla="*/ 2687320 h 3809849"/>
                      <a:gd name="connsiteX76" fmla="*/ 1661160 w 4201726"/>
                      <a:gd name="connsiteY76" fmla="*/ 2687320 h 3809849"/>
                      <a:gd name="connsiteX77" fmla="*/ 1661160 w 4201726"/>
                      <a:gd name="connsiteY77" fmla="*/ 2748280 h 3809849"/>
                      <a:gd name="connsiteX78" fmla="*/ 1681480 w 4201726"/>
                      <a:gd name="connsiteY78" fmla="*/ 2768600 h 3809849"/>
                      <a:gd name="connsiteX79" fmla="*/ 1681480 w 4201726"/>
                      <a:gd name="connsiteY79" fmla="*/ 2834640 h 3809849"/>
                      <a:gd name="connsiteX80" fmla="*/ 1711960 w 4201726"/>
                      <a:gd name="connsiteY80" fmla="*/ 2834640 h 3809849"/>
                      <a:gd name="connsiteX81" fmla="*/ 1711960 w 4201726"/>
                      <a:gd name="connsiteY81" fmla="*/ 2880360 h 3809849"/>
                      <a:gd name="connsiteX82" fmla="*/ 1788160 w 4201726"/>
                      <a:gd name="connsiteY82" fmla="*/ 2880360 h 3809849"/>
                      <a:gd name="connsiteX83" fmla="*/ 1788160 w 4201726"/>
                      <a:gd name="connsiteY83" fmla="*/ 2910840 h 3809849"/>
                      <a:gd name="connsiteX84" fmla="*/ 1823720 w 4201726"/>
                      <a:gd name="connsiteY84" fmla="*/ 2910840 h 3809849"/>
                      <a:gd name="connsiteX85" fmla="*/ 1823720 w 4201726"/>
                      <a:gd name="connsiteY85" fmla="*/ 2961640 h 3809849"/>
                      <a:gd name="connsiteX86" fmla="*/ 1879600 w 4201726"/>
                      <a:gd name="connsiteY86" fmla="*/ 2961640 h 3809849"/>
                      <a:gd name="connsiteX87" fmla="*/ 1879600 w 4201726"/>
                      <a:gd name="connsiteY87" fmla="*/ 2997200 h 3809849"/>
                      <a:gd name="connsiteX88" fmla="*/ 1940560 w 4201726"/>
                      <a:gd name="connsiteY88" fmla="*/ 2997200 h 3809849"/>
                      <a:gd name="connsiteX89" fmla="*/ 1940560 w 4201726"/>
                      <a:gd name="connsiteY89" fmla="*/ 3068320 h 3809849"/>
                      <a:gd name="connsiteX90" fmla="*/ 2108200 w 4201726"/>
                      <a:gd name="connsiteY90" fmla="*/ 3068320 h 3809849"/>
                      <a:gd name="connsiteX91" fmla="*/ 2108200 w 4201726"/>
                      <a:gd name="connsiteY91" fmla="*/ 3068320 h 3809849"/>
                      <a:gd name="connsiteX92" fmla="*/ 2336800 w 4201726"/>
                      <a:gd name="connsiteY92" fmla="*/ 3068320 h 3809849"/>
                      <a:gd name="connsiteX93" fmla="*/ 2336800 w 4201726"/>
                      <a:gd name="connsiteY93" fmla="*/ 3134360 h 3809849"/>
                      <a:gd name="connsiteX94" fmla="*/ 2468880 w 4201726"/>
                      <a:gd name="connsiteY94" fmla="*/ 3134360 h 3809849"/>
                      <a:gd name="connsiteX95" fmla="*/ 2468880 w 4201726"/>
                      <a:gd name="connsiteY95" fmla="*/ 3180080 h 3809849"/>
                      <a:gd name="connsiteX96" fmla="*/ 2697480 w 4201726"/>
                      <a:gd name="connsiteY96" fmla="*/ 3180080 h 3809849"/>
                      <a:gd name="connsiteX97" fmla="*/ 2697480 w 4201726"/>
                      <a:gd name="connsiteY97" fmla="*/ 3230880 h 3809849"/>
                      <a:gd name="connsiteX98" fmla="*/ 2768600 w 4201726"/>
                      <a:gd name="connsiteY98" fmla="*/ 3230880 h 3809849"/>
                      <a:gd name="connsiteX99" fmla="*/ 2768600 w 4201726"/>
                      <a:gd name="connsiteY99" fmla="*/ 3251200 h 3809849"/>
                      <a:gd name="connsiteX100" fmla="*/ 3007360 w 4201726"/>
                      <a:gd name="connsiteY100" fmla="*/ 3251200 h 3809849"/>
                      <a:gd name="connsiteX101" fmla="*/ 3007360 w 4201726"/>
                      <a:gd name="connsiteY101" fmla="*/ 3296920 h 3809849"/>
                      <a:gd name="connsiteX102" fmla="*/ 3053080 w 4201726"/>
                      <a:gd name="connsiteY102" fmla="*/ 3296920 h 3809849"/>
                      <a:gd name="connsiteX103" fmla="*/ 3053080 w 4201726"/>
                      <a:gd name="connsiteY103" fmla="*/ 3347720 h 3809849"/>
                      <a:gd name="connsiteX104" fmla="*/ 3078480 w 4201726"/>
                      <a:gd name="connsiteY104" fmla="*/ 3347720 h 3809849"/>
                      <a:gd name="connsiteX105" fmla="*/ 3078480 w 4201726"/>
                      <a:gd name="connsiteY105" fmla="*/ 3393440 h 3809849"/>
                      <a:gd name="connsiteX106" fmla="*/ 3256280 w 4201726"/>
                      <a:gd name="connsiteY106" fmla="*/ 3393440 h 3809849"/>
                      <a:gd name="connsiteX107" fmla="*/ 3256280 w 4201726"/>
                      <a:gd name="connsiteY107" fmla="*/ 3439160 h 3809849"/>
                      <a:gd name="connsiteX108" fmla="*/ 3703320 w 4201726"/>
                      <a:gd name="connsiteY108" fmla="*/ 3439160 h 3809849"/>
                      <a:gd name="connsiteX109" fmla="*/ 3705740 w 4201726"/>
                      <a:gd name="connsiteY109" fmla="*/ 3524177 h 3809849"/>
                      <a:gd name="connsiteX110" fmla="*/ 3969900 w 4201726"/>
                      <a:gd name="connsiteY110" fmla="*/ 3521637 h 3809849"/>
                      <a:gd name="connsiteX111" fmla="*/ 3969899 w 4201726"/>
                      <a:gd name="connsiteY111" fmla="*/ 3610537 h 3809849"/>
                      <a:gd name="connsiteX112" fmla="*/ 4028319 w 4201726"/>
                      <a:gd name="connsiteY112" fmla="*/ 3613077 h 3809849"/>
                      <a:gd name="connsiteX113" fmla="*/ 4030859 w 4201726"/>
                      <a:gd name="connsiteY113" fmla="*/ 3701976 h 3809849"/>
                      <a:gd name="connsiteX114" fmla="*/ 4185799 w 4201726"/>
                      <a:gd name="connsiteY114" fmla="*/ 3709596 h 3809849"/>
                      <a:gd name="connsiteX115" fmla="*/ 4198499 w 4201726"/>
                      <a:gd name="connsiteY115" fmla="*/ 3803576 h 3809849"/>
                      <a:gd name="connsiteX116" fmla="*/ 4193418 w 4201726"/>
                      <a:gd name="connsiteY116" fmla="*/ 3801036 h 3809849"/>
                      <a:gd name="connsiteX0" fmla="*/ 0 w 5115438"/>
                      <a:gd name="connsiteY0" fmla="*/ 0 h 3813301"/>
                      <a:gd name="connsiteX1" fmla="*/ 0 w 5115438"/>
                      <a:gd name="connsiteY1" fmla="*/ 116840 h 3813301"/>
                      <a:gd name="connsiteX2" fmla="*/ 66040 w 5115438"/>
                      <a:gd name="connsiteY2" fmla="*/ 116840 h 3813301"/>
                      <a:gd name="connsiteX3" fmla="*/ 66040 w 5115438"/>
                      <a:gd name="connsiteY3" fmla="*/ 218440 h 3813301"/>
                      <a:gd name="connsiteX4" fmla="*/ 137160 w 5115438"/>
                      <a:gd name="connsiteY4" fmla="*/ 218440 h 3813301"/>
                      <a:gd name="connsiteX5" fmla="*/ 137160 w 5115438"/>
                      <a:gd name="connsiteY5" fmla="*/ 294640 h 3813301"/>
                      <a:gd name="connsiteX6" fmla="*/ 147320 w 5115438"/>
                      <a:gd name="connsiteY6" fmla="*/ 294640 h 3813301"/>
                      <a:gd name="connsiteX7" fmla="*/ 147320 w 5115438"/>
                      <a:gd name="connsiteY7" fmla="*/ 421640 h 3813301"/>
                      <a:gd name="connsiteX8" fmla="*/ 198120 w 5115438"/>
                      <a:gd name="connsiteY8" fmla="*/ 421640 h 3813301"/>
                      <a:gd name="connsiteX9" fmla="*/ 198120 w 5115438"/>
                      <a:gd name="connsiteY9" fmla="*/ 543560 h 3813301"/>
                      <a:gd name="connsiteX10" fmla="*/ 198120 w 5115438"/>
                      <a:gd name="connsiteY10" fmla="*/ 543560 h 3813301"/>
                      <a:gd name="connsiteX11" fmla="*/ 243840 w 5115438"/>
                      <a:gd name="connsiteY11" fmla="*/ 589280 h 3813301"/>
                      <a:gd name="connsiteX12" fmla="*/ 259080 w 5115438"/>
                      <a:gd name="connsiteY12" fmla="*/ 604520 h 3813301"/>
                      <a:gd name="connsiteX13" fmla="*/ 259080 w 5115438"/>
                      <a:gd name="connsiteY13" fmla="*/ 665480 h 3813301"/>
                      <a:gd name="connsiteX14" fmla="*/ 294640 w 5115438"/>
                      <a:gd name="connsiteY14" fmla="*/ 665480 h 3813301"/>
                      <a:gd name="connsiteX15" fmla="*/ 294640 w 5115438"/>
                      <a:gd name="connsiteY15" fmla="*/ 716280 h 3813301"/>
                      <a:gd name="connsiteX16" fmla="*/ 320040 w 5115438"/>
                      <a:gd name="connsiteY16" fmla="*/ 716280 h 3813301"/>
                      <a:gd name="connsiteX17" fmla="*/ 320040 w 5115438"/>
                      <a:gd name="connsiteY17" fmla="*/ 792480 h 3813301"/>
                      <a:gd name="connsiteX18" fmla="*/ 335280 w 5115438"/>
                      <a:gd name="connsiteY18" fmla="*/ 792480 h 3813301"/>
                      <a:gd name="connsiteX19" fmla="*/ 335280 w 5115438"/>
                      <a:gd name="connsiteY19" fmla="*/ 889000 h 3813301"/>
                      <a:gd name="connsiteX20" fmla="*/ 375920 w 5115438"/>
                      <a:gd name="connsiteY20" fmla="*/ 889000 h 3813301"/>
                      <a:gd name="connsiteX21" fmla="*/ 375920 w 5115438"/>
                      <a:gd name="connsiteY21" fmla="*/ 949960 h 3813301"/>
                      <a:gd name="connsiteX22" fmla="*/ 375920 w 5115438"/>
                      <a:gd name="connsiteY22" fmla="*/ 949960 h 3813301"/>
                      <a:gd name="connsiteX23" fmla="*/ 416560 w 5115438"/>
                      <a:gd name="connsiteY23" fmla="*/ 949960 h 3813301"/>
                      <a:gd name="connsiteX24" fmla="*/ 416560 w 5115438"/>
                      <a:gd name="connsiteY24" fmla="*/ 1026160 h 3813301"/>
                      <a:gd name="connsiteX25" fmla="*/ 441960 w 5115438"/>
                      <a:gd name="connsiteY25" fmla="*/ 1026160 h 3813301"/>
                      <a:gd name="connsiteX26" fmla="*/ 441960 w 5115438"/>
                      <a:gd name="connsiteY26" fmla="*/ 1092200 h 3813301"/>
                      <a:gd name="connsiteX27" fmla="*/ 472440 w 5115438"/>
                      <a:gd name="connsiteY27" fmla="*/ 1092200 h 3813301"/>
                      <a:gd name="connsiteX28" fmla="*/ 472440 w 5115438"/>
                      <a:gd name="connsiteY28" fmla="*/ 1214120 h 3813301"/>
                      <a:gd name="connsiteX29" fmla="*/ 492760 w 5115438"/>
                      <a:gd name="connsiteY29" fmla="*/ 1234440 h 3813301"/>
                      <a:gd name="connsiteX30" fmla="*/ 492760 w 5115438"/>
                      <a:gd name="connsiteY30" fmla="*/ 1285240 h 3813301"/>
                      <a:gd name="connsiteX31" fmla="*/ 553720 w 5115438"/>
                      <a:gd name="connsiteY31" fmla="*/ 1285240 h 3813301"/>
                      <a:gd name="connsiteX32" fmla="*/ 553720 w 5115438"/>
                      <a:gd name="connsiteY32" fmla="*/ 1386840 h 3813301"/>
                      <a:gd name="connsiteX33" fmla="*/ 553720 w 5115438"/>
                      <a:gd name="connsiteY33" fmla="*/ 1427480 h 3813301"/>
                      <a:gd name="connsiteX34" fmla="*/ 599440 w 5115438"/>
                      <a:gd name="connsiteY34" fmla="*/ 1427480 h 3813301"/>
                      <a:gd name="connsiteX35" fmla="*/ 599440 w 5115438"/>
                      <a:gd name="connsiteY35" fmla="*/ 1493520 h 3813301"/>
                      <a:gd name="connsiteX36" fmla="*/ 650240 w 5115438"/>
                      <a:gd name="connsiteY36" fmla="*/ 1493520 h 3813301"/>
                      <a:gd name="connsiteX37" fmla="*/ 650240 w 5115438"/>
                      <a:gd name="connsiteY37" fmla="*/ 1539240 h 3813301"/>
                      <a:gd name="connsiteX38" fmla="*/ 695960 w 5115438"/>
                      <a:gd name="connsiteY38" fmla="*/ 1539240 h 3813301"/>
                      <a:gd name="connsiteX39" fmla="*/ 695960 w 5115438"/>
                      <a:gd name="connsiteY39" fmla="*/ 1635760 h 3813301"/>
                      <a:gd name="connsiteX40" fmla="*/ 731520 w 5115438"/>
                      <a:gd name="connsiteY40" fmla="*/ 1635760 h 3813301"/>
                      <a:gd name="connsiteX41" fmla="*/ 731520 w 5115438"/>
                      <a:gd name="connsiteY41" fmla="*/ 1706880 h 3813301"/>
                      <a:gd name="connsiteX42" fmla="*/ 762000 w 5115438"/>
                      <a:gd name="connsiteY42" fmla="*/ 1706880 h 3813301"/>
                      <a:gd name="connsiteX43" fmla="*/ 762000 w 5115438"/>
                      <a:gd name="connsiteY43" fmla="*/ 1803400 h 3813301"/>
                      <a:gd name="connsiteX44" fmla="*/ 797560 w 5115438"/>
                      <a:gd name="connsiteY44" fmla="*/ 1803400 h 3813301"/>
                      <a:gd name="connsiteX45" fmla="*/ 797560 w 5115438"/>
                      <a:gd name="connsiteY45" fmla="*/ 1854200 h 3813301"/>
                      <a:gd name="connsiteX46" fmla="*/ 853440 w 5115438"/>
                      <a:gd name="connsiteY46" fmla="*/ 1854200 h 3813301"/>
                      <a:gd name="connsiteX47" fmla="*/ 853440 w 5115438"/>
                      <a:gd name="connsiteY47" fmla="*/ 1940560 h 3813301"/>
                      <a:gd name="connsiteX48" fmla="*/ 894080 w 5115438"/>
                      <a:gd name="connsiteY48" fmla="*/ 1940560 h 3813301"/>
                      <a:gd name="connsiteX49" fmla="*/ 894080 w 5115438"/>
                      <a:gd name="connsiteY49" fmla="*/ 2011680 h 3813301"/>
                      <a:gd name="connsiteX50" fmla="*/ 939800 w 5115438"/>
                      <a:gd name="connsiteY50" fmla="*/ 2011680 h 3813301"/>
                      <a:gd name="connsiteX51" fmla="*/ 939800 w 5115438"/>
                      <a:gd name="connsiteY51" fmla="*/ 2062480 h 3813301"/>
                      <a:gd name="connsiteX52" fmla="*/ 1000760 w 5115438"/>
                      <a:gd name="connsiteY52" fmla="*/ 2062480 h 3813301"/>
                      <a:gd name="connsiteX53" fmla="*/ 1000760 w 5115438"/>
                      <a:gd name="connsiteY53" fmla="*/ 2128520 h 3813301"/>
                      <a:gd name="connsiteX54" fmla="*/ 1000760 w 5115438"/>
                      <a:gd name="connsiteY54" fmla="*/ 2128520 h 3813301"/>
                      <a:gd name="connsiteX55" fmla="*/ 1000760 w 5115438"/>
                      <a:gd name="connsiteY55" fmla="*/ 2214880 h 3813301"/>
                      <a:gd name="connsiteX56" fmla="*/ 1051560 w 5115438"/>
                      <a:gd name="connsiteY56" fmla="*/ 2214880 h 3813301"/>
                      <a:gd name="connsiteX57" fmla="*/ 1051560 w 5115438"/>
                      <a:gd name="connsiteY57" fmla="*/ 2235200 h 3813301"/>
                      <a:gd name="connsiteX58" fmla="*/ 1097280 w 5115438"/>
                      <a:gd name="connsiteY58" fmla="*/ 2235200 h 3813301"/>
                      <a:gd name="connsiteX59" fmla="*/ 1097280 w 5115438"/>
                      <a:gd name="connsiteY59" fmla="*/ 2235200 h 3813301"/>
                      <a:gd name="connsiteX60" fmla="*/ 1132840 w 5115438"/>
                      <a:gd name="connsiteY60" fmla="*/ 2270760 h 3813301"/>
                      <a:gd name="connsiteX61" fmla="*/ 1132840 w 5115438"/>
                      <a:gd name="connsiteY61" fmla="*/ 2341880 h 3813301"/>
                      <a:gd name="connsiteX62" fmla="*/ 1188720 w 5115438"/>
                      <a:gd name="connsiteY62" fmla="*/ 2341880 h 3813301"/>
                      <a:gd name="connsiteX63" fmla="*/ 1188720 w 5115438"/>
                      <a:gd name="connsiteY63" fmla="*/ 2377440 h 3813301"/>
                      <a:gd name="connsiteX64" fmla="*/ 1244600 w 5115438"/>
                      <a:gd name="connsiteY64" fmla="*/ 2377440 h 3813301"/>
                      <a:gd name="connsiteX65" fmla="*/ 1244600 w 5115438"/>
                      <a:gd name="connsiteY65" fmla="*/ 2377440 h 3813301"/>
                      <a:gd name="connsiteX66" fmla="*/ 1290320 w 5115438"/>
                      <a:gd name="connsiteY66" fmla="*/ 2377440 h 3813301"/>
                      <a:gd name="connsiteX67" fmla="*/ 1290320 w 5115438"/>
                      <a:gd name="connsiteY67" fmla="*/ 2479040 h 3813301"/>
                      <a:gd name="connsiteX68" fmla="*/ 1351280 w 5115438"/>
                      <a:gd name="connsiteY68" fmla="*/ 2479040 h 3813301"/>
                      <a:gd name="connsiteX69" fmla="*/ 1351280 w 5115438"/>
                      <a:gd name="connsiteY69" fmla="*/ 2540000 h 3813301"/>
                      <a:gd name="connsiteX70" fmla="*/ 1422400 w 5115438"/>
                      <a:gd name="connsiteY70" fmla="*/ 2540000 h 3813301"/>
                      <a:gd name="connsiteX71" fmla="*/ 1422400 w 5115438"/>
                      <a:gd name="connsiteY71" fmla="*/ 2600960 h 3813301"/>
                      <a:gd name="connsiteX72" fmla="*/ 1549400 w 5115438"/>
                      <a:gd name="connsiteY72" fmla="*/ 2600960 h 3813301"/>
                      <a:gd name="connsiteX73" fmla="*/ 1549400 w 5115438"/>
                      <a:gd name="connsiteY73" fmla="*/ 2651760 h 3813301"/>
                      <a:gd name="connsiteX74" fmla="*/ 1615440 w 5115438"/>
                      <a:gd name="connsiteY74" fmla="*/ 2651760 h 3813301"/>
                      <a:gd name="connsiteX75" fmla="*/ 1615440 w 5115438"/>
                      <a:gd name="connsiteY75" fmla="*/ 2687320 h 3813301"/>
                      <a:gd name="connsiteX76" fmla="*/ 1661160 w 5115438"/>
                      <a:gd name="connsiteY76" fmla="*/ 2687320 h 3813301"/>
                      <a:gd name="connsiteX77" fmla="*/ 1661160 w 5115438"/>
                      <a:gd name="connsiteY77" fmla="*/ 2748280 h 3813301"/>
                      <a:gd name="connsiteX78" fmla="*/ 1681480 w 5115438"/>
                      <a:gd name="connsiteY78" fmla="*/ 2768600 h 3813301"/>
                      <a:gd name="connsiteX79" fmla="*/ 1681480 w 5115438"/>
                      <a:gd name="connsiteY79" fmla="*/ 2834640 h 3813301"/>
                      <a:gd name="connsiteX80" fmla="*/ 1711960 w 5115438"/>
                      <a:gd name="connsiteY80" fmla="*/ 2834640 h 3813301"/>
                      <a:gd name="connsiteX81" fmla="*/ 1711960 w 5115438"/>
                      <a:gd name="connsiteY81" fmla="*/ 2880360 h 3813301"/>
                      <a:gd name="connsiteX82" fmla="*/ 1788160 w 5115438"/>
                      <a:gd name="connsiteY82" fmla="*/ 2880360 h 3813301"/>
                      <a:gd name="connsiteX83" fmla="*/ 1788160 w 5115438"/>
                      <a:gd name="connsiteY83" fmla="*/ 2910840 h 3813301"/>
                      <a:gd name="connsiteX84" fmla="*/ 1823720 w 5115438"/>
                      <a:gd name="connsiteY84" fmla="*/ 2910840 h 3813301"/>
                      <a:gd name="connsiteX85" fmla="*/ 1823720 w 5115438"/>
                      <a:gd name="connsiteY85" fmla="*/ 2961640 h 3813301"/>
                      <a:gd name="connsiteX86" fmla="*/ 1879600 w 5115438"/>
                      <a:gd name="connsiteY86" fmla="*/ 2961640 h 3813301"/>
                      <a:gd name="connsiteX87" fmla="*/ 1879600 w 5115438"/>
                      <a:gd name="connsiteY87" fmla="*/ 2997200 h 3813301"/>
                      <a:gd name="connsiteX88" fmla="*/ 1940560 w 5115438"/>
                      <a:gd name="connsiteY88" fmla="*/ 2997200 h 3813301"/>
                      <a:gd name="connsiteX89" fmla="*/ 1940560 w 5115438"/>
                      <a:gd name="connsiteY89" fmla="*/ 3068320 h 3813301"/>
                      <a:gd name="connsiteX90" fmla="*/ 2108200 w 5115438"/>
                      <a:gd name="connsiteY90" fmla="*/ 3068320 h 3813301"/>
                      <a:gd name="connsiteX91" fmla="*/ 2108200 w 5115438"/>
                      <a:gd name="connsiteY91" fmla="*/ 3068320 h 3813301"/>
                      <a:gd name="connsiteX92" fmla="*/ 2336800 w 5115438"/>
                      <a:gd name="connsiteY92" fmla="*/ 3068320 h 3813301"/>
                      <a:gd name="connsiteX93" fmla="*/ 2336800 w 5115438"/>
                      <a:gd name="connsiteY93" fmla="*/ 3134360 h 3813301"/>
                      <a:gd name="connsiteX94" fmla="*/ 2468880 w 5115438"/>
                      <a:gd name="connsiteY94" fmla="*/ 3134360 h 3813301"/>
                      <a:gd name="connsiteX95" fmla="*/ 2468880 w 5115438"/>
                      <a:gd name="connsiteY95" fmla="*/ 3180080 h 3813301"/>
                      <a:gd name="connsiteX96" fmla="*/ 2697480 w 5115438"/>
                      <a:gd name="connsiteY96" fmla="*/ 3180080 h 3813301"/>
                      <a:gd name="connsiteX97" fmla="*/ 2697480 w 5115438"/>
                      <a:gd name="connsiteY97" fmla="*/ 3230880 h 3813301"/>
                      <a:gd name="connsiteX98" fmla="*/ 2768600 w 5115438"/>
                      <a:gd name="connsiteY98" fmla="*/ 3230880 h 3813301"/>
                      <a:gd name="connsiteX99" fmla="*/ 2768600 w 5115438"/>
                      <a:gd name="connsiteY99" fmla="*/ 3251200 h 3813301"/>
                      <a:gd name="connsiteX100" fmla="*/ 3007360 w 5115438"/>
                      <a:gd name="connsiteY100" fmla="*/ 3251200 h 3813301"/>
                      <a:gd name="connsiteX101" fmla="*/ 3007360 w 5115438"/>
                      <a:gd name="connsiteY101" fmla="*/ 3296920 h 3813301"/>
                      <a:gd name="connsiteX102" fmla="*/ 3053080 w 5115438"/>
                      <a:gd name="connsiteY102" fmla="*/ 3296920 h 3813301"/>
                      <a:gd name="connsiteX103" fmla="*/ 3053080 w 5115438"/>
                      <a:gd name="connsiteY103" fmla="*/ 3347720 h 3813301"/>
                      <a:gd name="connsiteX104" fmla="*/ 3078480 w 5115438"/>
                      <a:gd name="connsiteY104" fmla="*/ 3347720 h 3813301"/>
                      <a:gd name="connsiteX105" fmla="*/ 3078480 w 5115438"/>
                      <a:gd name="connsiteY105" fmla="*/ 3393440 h 3813301"/>
                      <a:gd name="connsiteX106" fmla="*/ 3256280 w 5115438"/>
                      <a:gd name="connsiteY106" fmla="*/ 3393440 h 3813301"/>
                      <a:gd name="connsiteX107" fmla="*/ 3256280 w 5115438"/>
                      <a:gd name="connsiteY107" fmla="*/ 3439160 h 3813301"/>
                      <a:gd name="connsiteX108" fmla="*/ 3703320 w 5115438"/>
                      <a:gd name="connsiteY108" fmla="*/ 3439160 h 3813301"/>
                      <a:gd name="connsiteX109" fmla="*/ 3705740 w 5115438"/>
                      <a:gd name="connsiteY109" fmla="*/ 3524177 h 3813301"/>
                      <a:gd name="connsiteX110" fmla="*/ 3969900 w 5115438"/>
                      <a:gd name="connsiteY110" fmla="*/ 3521637 h 3813301"/>
                      <a:gd name="connsiteX111" fmla="*/ 3969899 w 5115438"/>
                      <a:gd name="connsiteY111" fmla="*/ 3610537 h 3813301"/>
                      <a:gd name="connsiteX112" fmla="*/ 4028319 w 5115438"/>
                      <a:gd name="connsiteY112" fmla="*/ 3613077 h 3813301"/>
                      <a:gd name="connsiteX113" fmla="*/ 4030859 w 5115438"/>
                      <a:gd name="connsiteY113" fmla="*/ 3701976 h 3813301"/>
                      <a:gd name="connsiteX114" fmla="*/ 4185799 w 5115438"/>
                      <a:gd name="connsiteY114" fmla="*/ 3709596 h 3813301"/>
                      <a:gd name="connsiteX115" fmla="*/ 4198499 w 5115438"/>
                      <a:gd name="connsiteY115" fmla="*/ 3803576 h 3813301"/>
                      <a:gd name="connsiteX116" fmla="*/ 5115438 w 5115438"/>
                      <a:gd name="connsiteY116" fmla="*/ 3811196 h 3813301"/>
                      <a:gd name="connsiteX0" fmla="*/ 0 w 5115438"/>
                      <a:gd name="connsiteY0" fmla="*/ 0 h 3813301"/>
                      <a:gd name="connsiteX1" fmla="*/ 0 w 5115438"/>
                      <a:gd name="connsiteY1" fmla="*/ 116840 h 3813301"/>
                      <a:gd name="connsiteX2" fmla="*/ 66040 w 5115438"/>
                      <a:gd name="connsiteY2" fmla="*/ 116840 h 3813301"/>
                      <a:gd name="connsiteX3" fmla="*/ 66040 w 5115438"/>
                      <a:gd name="connsiteY3" fmla="*/ 218440 h 3813301"/>
                      <a:gd name="connsiteX4" fmla="*/ 137160 w 5115438"/>
                      <a:gd name="connsiteY4" fmla="*/ 218440 h 3813301"/>
                      <a:gd name="connsiteX5" fmla="*/ 137160 w 5115438"/>
                      <a:gd name="connsiteY5" fmla="*/ 294640 h 3813301"/>
                      <a:gd name="connsiteX6" fmla="*/ 147320 w 5115438"/>
                      <a:gd name="connsiteY6" fmla="*/ 294640 h 3813301"/>
                      <a:gd name="connsiteX7" fmla="*/ 147320 w 5115438"/>
                      <a:gd name="connsiteY7" fmla="*/ 421640 h 3813301"/>
                      <a:gd name="connsiteX8" fmla="*/ 198120 w 5115438"/>
                      <a:gd name="connsiteY8" fmla="*/ 421640 h 3813301"/>
                      <a:gd name="connsiteX9" fmla="*/ 198120 w 5115438"/>
                      <a:gd name="connsiteY9" fmla="*/ 543560 h 3813301"/>
                      <a:gd name="connsiteX10" fmla="*/ 198120 w 5115438"/>
                      <a:gd name="connsiteY10" fmla="*/ 543560 h 3813301"/>
                      <a:gd name="connsiteX11" fmla="*/ 243840 w 5115438"/>
                      <a:gd name="connsiteY11" fmla="*/ 589280 h 3813301"/>
                      <a:gd name="connsiteX12" fmla="*/ 259080 w 5115438"/>
                      <a:gd name="connsiteY12" fmla="*/ 604520 h 3813301"/>
                      <a:gd name="connsiteX13" fmla="*/ 259080 w 5115438"/>
                      <a:gd name="connsiteY13" fmla="*/ 665480 h 3813301"/>
                      <a:gd name="connsiteX14" fmla="*/ 294640 w 5115438"/>
                      <a:gd name="connsiteY14" fmla="*/ 665480 h 3813301"/>
                      <a:gd name="connsiteX15" fmla="*/ 294640 w 5115438"/>
                      <a:gd name="connsiteY15" fmla="*/ 716280 h 3813301"/>
                      <a:gd name="connsiteX16" fmla="*/ 320040 w 5115438"/>
                      <a:gd name="connsiteY16" fmla="*/ 716280 h 3813301"/>
                      <a:gd name="connsiteX17" fmla="*/ 320040 w 5115438"/>
                      <a:gd name="connsiteY17" fmla="*/ 792480 h 3813301"/>
                      <a:gd name="connsiteX18" fmla="*/ 335280 w 5115438"/>
                      <a:gd name="connsiteY18" fmla="*/ 792480 h 3813301"/>
                      <a:gd name="connsiteX19" fmla="*/ 335280 w 5115438"/>
                      <a:gd name="connsiteY19" fmla="*/ 889000 h 3813301"/>
                      <a:gd name="connsiteX20" fmla="*/ 375920 w 5115438"/>
                      <a:gd name="connsiteY20" fmla="*/ 889000 h 3813301"/>
                      <a:gd name="connsiteX21" fmla="*/ 375920 w 5115438"/>
                      <a:gd name="connsiteY21" fmla="*/ 949960 h 3813301"/>
                      <a:gd name="connsiteX22" fmla="*/ 375920 w 5115438"/>
                      <a:gd name="connsiteY22" fmla="*/ 949960 h 3813301"/>
                      <a:gd name="connsiteX23" fmla="*/ 416560 w 5115438"/>
                      <a:gd name="connsiteY23" fmla="*/ 949960 h 3813301"/>
                      <a:gd name="connsiteX24" fmla="*/ 416560 w 5115438"/>
                      <a:gd name="connsiteY24" fmla="*/ 1026160 h 3813301"/>
                      <a:gd name="connsiteX25" fmla="*/ 441960 w 5115438"/>
                      <a:gd name="connsiteY25" fmla="*/ 1026160 h 3813301"/>
                      <a:gd name="connsiteX26" fmla="*/ 441960 w 5115438"/>
                      <a:gd name="connsiteY26" fmla="*/ 1092200 h 3813301"/>
                      <a:gd name="connsiteX27" fmla="*/ 472440 w 5115438"/>
                      <a:gd name="connsiteY27" fmla="*/ 1092200 h 3813301"/>
                      <a:gd name="connsiteX28" fmla="*/ 472440 w 5115438"/>
                      <a:gd name="connsiteY28" fmla="*/ 1214120 h 3813301"/>
                      <a:gd name="connsiteX29" fmla="*/ 492760 w 5115438"/>
                      <a:gd name="connsiteY29" fmla="*/ 1234440 h 3813301"/>
                      <a:gd name="connsiteX30" fmla="*/ 492760 w 5115438"/>
                      <a:gd name="connsiteY30" fmla="*/ 1285240 h 3813301"/>
                      <a:gd name="connsiteX31" fmla="*/ 553720 w 5115438"/>
                      <a:gd name="connsiteY31" fmla="*/ 1285240 h 3813301"/>
                      <a:gd name="connsiteX32" fmla="*/ 553720 w 5115438"/>
                      <a:gd name="connsiteY32" fmla="*/ 1386840 h 3813301"/>
                      <a:gd name="connsiteX33" fmla="*/ 553720 w 5115438"/>
                      <a:gd name="connsiteY33" fmla="*/ 1427480 h 3813301"/>
                      <a:gd name="connsiteX34" fmla="*/ 599440 w 5115438"/>
                      <a:gd name="connsiteY34" fmla="*/ 1427480 h 3813301"/>
                      <a:gd name="connsiteX35" fmla="*/ 599440 w 5115438"/>
                      <a:gd name="connsiteY35" fmla="*/ 1493520 h 3813301"/>
                      <a:gd name="connsiteX36" fmla="*/ 650240 w 5115438"/>
                      <a:gd name="connsiteY36" fmla="*/ 1493520 h 3813301"/>
                      <a:gd name="connsiteX37" fmla="*/ 650240 w 5115438"/>
                      <a:gd name="connsiteY37" fmla="*/ 1539240 h 3813301"/>
                      <a:gd name="connsiteX38" fmla="*/ 695960 w 5115438"/>
                      <a:gd name="connsiteY38" fmla="*/ 1539240 h 3813301"/>
                      <a:gd name="connsiteX39" fmla="*/ 695960 w 5115438"/>
                      <a:gd name="connsiteY39" fmla="*/ 1635760 h 3813301"/>
                      <a:gd name="connsiteX40" fmla="*/ 731520 w 5115438"/>
                      <a:gd name="connsiteY40" fmla="*/ 1635760 h 3813301"/>
                      <a:gd name="connsiteX41" fmla="*/ 731520 w 5115438"/>
                      <a:gd name="connsiteY41" fmla="*/ 1706880 h 3813301"/>
                      <a:gd name="connsiteX42" fmla="*/ 762000 w 5115438"/>
                      <a:gd name="connsiteY42" fmla="*/ 1706880 h 3813301"/>
                      <a:gd name="connsiteX43" fmla="*/ 762000 w 5115438"/>
                      <a:gd name="connsiteY43" fmla="*/ 1803400 h 3813301"/>
                      <a:gd name="connsiteX44" fmla="*/ 797560 w 5115438"/>
                      <a:gd name="connsiteY44" fmla="*/ 1803400 h 3813301"/>
                      <a:gd name="connsiteX45" fmla="*/ 797560 w 5115438"/>
                      <a:gd name="connsiteY45" fmla="*/ 1854200 h 3813301"/>
                      <a:gd name="connsiteX46" fmla="*/ 853440 w 5115438"/>
                      <a:gd name="connsiteY46" fmla="*/ 1854200 h 3813301"/>
                      <a:gd name="connsiteX47" fmla="*/ 853440 w 5115438"/>
                      <a:gd name="connsiteY47" fmla="*/ 1940560 h 3813301"/>
                      <a:gd name="connsiteX48" fmla="*/ 894080 w 5115438"/>
                      <a:gd name="connsiteY48" fmla="*/ 1940560 h 3813301"/>
                      <a:gd name="connsiteX49" fmla="*/ 894080 w 5115438"/>
                      <a:gd name="connsiteY49" fmla="*/ 2011680 h 3813301"/>
                      <a:gd name="connsiteX50" fmla="*/ 939800 w 5115438"/>
                      <a:gd name="connsiteY50" fmla="*/ 2011680 h 3813301"/>
                      <a:gd name="connsiteX51" fmla="*/ 939800 w 5115438"/>
                      <a:gd name="connsiteY51" fmla="*/ 2062480 h 3813301"/>
                      <a:gd name="connsiteX52" fmla="*/ 1000760 w 5115438"/>
                      <a:gd name="connsiteY52" fmla="*/ 2062480 h 3813301"/>
                      <a:gd name="connsiteX53" fmla="*/ 1000760 w 5115438"/>
                      <a:gd name="connsiteY53" fmla="*/ 2128520 h 3813301"/>
                      <a:gd name="connsiteX54" fmla="*/ 1000760 w 5115438"/>
                      <a:gd name="connsiteY54" fmla="*/ 2128520 h 3813301"/>
                      <a:gd name="connsiteX55" fmla="*/ 1000760 w 5115438"/>
                      <a:gd name="connsiteY55" fmla="*/ 2214880 h 3813301"/>
                      <a:gd name="connsiteX56" fmla="*/ 1051560 w 5115438"/>
                      <a:gd name="connsiteY56" fmla="*/ 2214880 h 3813301"/>
                      <a:gd name="connsiteX57" fmla="*/ 1051560 w 5115438"/>
                      <a:gd name="connsiteY57" fmla="*/ 2235200 h 3813301"/>
                      <a:gd name="connsiteX58" fmla="*/ 1097280 w 5115438"/>
                      <a:gd name="connsiteY58" fmla="*/ 2235200 h 3813301"/>
                      <a:gd name="connsiteX59" fmla="*/ 1097280 w 5115438"/>
                      <a:gd name="connsiteY59" fmla="*/ 2235200 h 3813301"/>
                      <a:gd name="connsiteX60" fmla="*/ 1132840 w 5115438"/>
                      <a:gd name="connsiteY60" fmla="*/ 2270760 h 3813301"/>
                      <a:gd name="connsiteX61" fmla="*/ 1132840 w 5115438"/>
                      <a:gd name="connsiteY61" fmla="*/ 2341880 h 3813301"/>
                      <a:gd name="connsiteX62" fmla="*/ 1188720 w 5115438"/>
                      <a:gd name="connsiteY62" fmla="*/ 2341880 h 3813301"/>
                      <a:gd name="connsiteX63" fmla="*/ 1188720 w 5115438"/>
                      <a:gd name="connsiteY63" fmla="*/ 2377440 h 3813301"/>
                      <a:gd name="connsiteX64" fmla="*/ 1244600 w 5115438"/>
                      <a:gd name="connsiteY64" fmla="*/ 2377440 h 3813301"/>
                      <a:gd name="connsiteX65" fmla="*/ 1244600 w 5115438"/>
                      <a:gd name="connsiteY65" fmla="*/ 2377440 h 3813301"/>
                      <a:gd name="connsiteX66" fmla="*/ 1290320 w 5115438"/>
                      <a:gd name="connsiteY66" fmla="*/ 2377440 h 3813301"/>
                      <a:gd name="connsiteX67" fmla="*/ 1290320 w 5115438"/>
                      <a:gd name="connsiteY67" fmla="*/ 2479040 h 3813301"/>
                      <a:gd name="connsiteX68" fmla="*/ 1351280 w 5115438"/>
                      <a:gd name="connsiteY68" fmla="*/ 2479040 h 3813301"/>
                      <a:gd name="connsiteX69" fmla="*/ 1351280 w 5115438"/>
                      <a:gd name="connsiteY69" fmla="*/ 2540000 h 3813301"/>
                      <a:gd name="connsiteX70" fmla="*/ 1422400 w 5115438"/>
                      <a:gd name="connsiteY70" fmla="*/ 2540000 h 3813301"/>
                      <a:gd name="connsiteX71" fmla="*/ 1422400 w 5115438"/>
                      <a:gd name="connsiteY71" fmla="*/ 2600960 h 3813301"/>
                      <a:gd name="connsiteX72" fmla="*/ 1549400 w 5115438"/>
                      <a:gd name="connsiteY72" fmla="*/ 2600960 h 3813301"/>
                      <a:gd name="connsiteX73" fmla="*/ 1549400 w 5115438"/>
                      <a:gd name="connsiteY73" fmla="*/ 2651760 h 3813301"/>
                      <a:gd name="connsiteX74" fmla="*/ 1615440 w 5115438"/>
                      <a:gd name="connsiteY74" fmla="*/ 2651760 h 3813301"/>
                      <a:gd name="connsiteX75" fmla="*/ 1615440 w 5115438"/>
                      <a:gd name="connsiteY75" fmla="*/ 2687320 h 3813301"/>
                      <a:gd name="connsiteX76" fmla="*/ 1661160 w 5115438"/>
                      <a:gd name="connsiteY76" fmla="*/ 2687320 h 3813301"/>
                      <a:gd name="connsiteX77" fmla="*/ 1661160 w 5115438"/>
                      <a:gd name="connsiteY77" fmla="*/ 2748280 h 3813301"/>
                      <a:gd name="connsiteX78" fmla="*/ 1681480 w 5115438"/>
                      <a:gd name="connsiteY78" fmla="*/ 2768600 h 3813301"/>
                      <a:gd name="connsiteX79" fmla="*/ 1681480 w 5115438"/>
                      <a:gd name="connsiteY79" fmla="*/ 2834640 h 3813301"/>
                      <a:gd name="connsiteX80" fmla="*/ 1711960 w 5115438"/>
                      <a:gd name="connsiteY80" fmla="*/ 2834640 h 3813301"/>
                      <a:gd name="connsiteX81" fmla="*/ 1711960 w 5115438"/>
                      <a:gd name="connsiteY81" fmla="*/ 2880360 h 3813301"/>
                      <a:gd name="connsiteX82" fmla="*/ 1788160 w 5115438"/>
                      <a:gd name="connsiteY82" fmla="*/ 2880360 h 3813301"/>
                      <a:gd name="connsiteX83" fmla="*/ 1788160 w 5115438"/>
                      <a:gd name="connsiteY83" fmla="*/ 2910840 h 3813301"/>
                      <a:gd name="connsiteX84" fmla="*/ 1823720 w 5115438"/>
                      <a:gd name="connsiteY84" fmla="*/ 2910840 h 3813301"/>
                      <a:gd name="connsiteX85" fmla="*/ 1823720 w 5115438"/>
                      <a:gd name="connsiteY85" fmla="*/ 2961640 h 3813301"/>
                      <a:gd name="connsiteX86" fmla="*/ 1879600 w 5115438"/>
                      <a:gd name="connsiteY86" fmla="*/ 2961640 h 3813301"/>
                      <a:gd name="connsiteX87" fmla="*/ 1879600 w 5115438"/>
                      <a:gd name="connsiteY87" fmla="*/ 2997200 h 3813301"/>
                      <a:gd name="connsiteX88" fmla="*/ 1940560 w 5115438"/>
                      <a:gd name="connsiteY88" fmla="*/ 2997200 h 3813301"/>
                      <a:gd name="connsiteX89" fmla="*/ 1940560 w 5115438"/>
                      <a:gd name="connsiteY89" fmla="*/ 3068320 h 3813301"/>
                      <a:gd name="connsiteX90" fmla="*/ 2108200 w 5115438"/>
                      <a:gd name="connsiteY90" fmla="*/ 3068320 h 3813301"/>
                      <a:gd name="connsiteX91" fmla="*/ 2108200 w 5115438"/>
                      <a:gd name="connsiteY91" fmla="*/ 3068320 h 3813301"/>
                      <a:gd name="connsiteX92" fmla="*/ 2336800 w 5115438"/>
                      <a:gd name="connsiteY92" fmla="*/ 3094990 h 3813301"/>
                      <a:gd name="connsiteX93" fmla="*/ 2336800 w 5115438"/>
                      <a:gd name="connsiteY93" fmla="*/ 3134360 h 3813301"/>
                      <a:gd name="connsiteX94" fmla="*/ 2468880 w 5115438"/>
                      <a:gd name="connsiteY94" fmla="*/ 3134360 h 3813301"/>
                      <a:gd name="connsiteX95" fmla="*/ 2468880 w 5115438"/>
                      <a:gd name="connsiteY95" fmla="*/ 3180080 h 3813301"/>
                      <a:gd name="connsiteX96" fmla="*/ 2697480 w 5115438"/>
                      <a:gd name="connsiteY96" fmla="*/ 3180080 h 3813301"/>
                      <a:gd name="connsiteX97" fmla="*/ 2697480 w 5115438"/>
                      <a:gd name="connsiteY97" fmla="*/ 3230880 h 3813301"/>
                      <a:gd name="connsiteX98" fmla="*/ 2768600 w 5115438"/>
                      <a:gd name="connsiteY98" fmla="*/ 3230880 h 3813301"/>
                      <a:gd name="connsiteX99" fmla="*/ 2768600 w 5115438"/>
                      <a:gd name="connsiteY99" fmla="*/ 3251200 h 3813301"/>
                      <a:gd name="connsiteX100" fmla="*/ 3007360 w 5115438"/>
                      <a:gd name="connsiteY100" fmla="*/ 3251200 h 3813301"/>
                      <a:gd name="connsiteX101" fmla="*/ 3007360 w 5115438"/>
                      <a:gd name="connsiteY101" fmla="*/ 3296920 h 3813301"/>
                      <a:gd name="connsiteX102" fmla="*/ 3053080 w 5115438"/>
                      <a:gd name="connsiteY102" fmla="*/ 3296920 h 3813301"/>
                      <a:gd name="connsiteX103" fmla="*/ 3053080 w 5115438"/>
                      <a:gd name="connsiteY103" fmla="*/ 3347720 h 3813301"/>
                      <a:gd name="connsiteX104" fmla="*/ 3078480 w 5115438"/>
                      <a:gd name="connsiteY104" fmla="*/ 3347720 h 3813301"/>
                      <a:gd name="connsiteX105" fmla="*/ 3078480 w 5115438"/>
                      <a:gd name="connsiteY105" fmla="*/ 3393440 h 3813301"/>
                      <a:gd name="connsiteX106" fmla="*/ 3256280 w 5115438"/>
                      <a:gd name="connsiteY106" fmla="*/ 3393440 h 3813301"/>
                      <a:gd name="connsiteX107" fmla="*/ 3256280 w 5115438"/>
                      <a:gd name="connsiteY107" fmla="*/ 3439160 h 3813301"/>
                      <a:gd name="connsiteX108" fmla="*/ 3703320 w 5115438"/>
                      <a:gd name="connsiteY108" fmla="*/ 3439160 h 3813301"/>
                      <a:gd name="connsiteX109" fmla="*/ 3705740 w 5115438"/>
                      <a:gd name="connsiteY109" fmla="*/ 3524177 h 3813301"/>
                      <a:gd name="connsiteX110" fmla="*/ 3969900 w 5115438"/>
                      <a:gd name="connsiteY110" fmla="*/ 3521637 h 3813301"/>
                      <a:gd name="connsiteX111" fmla="*/ 3969899 w 5115438"/>
                      <a:gd name="connsiteY111" fmla="*/ 3610537 h 3813301"/>
                      <a:gd name="connsiteX112" fmla="*/ 4028319 w 5115438"/>
                      <a:gd name="connsiteY112" fmla="*/ 3613077 h 3813301"/>
                      <a:gd name="connsiteX113" fmla="*/ 4030859 w 5115438"/>
                      <a:gd name="connsiteY113" fmla="*/ 3701976 h 3813301"/>
                      <a:gd name="connsiteX114" fmla="*/ 4185799 w 5115438"/>
                      <a:gd name="connsiteY114" fmla="*/ 3709596 h 3813301"/>
                      <a:gd name="connsiteX115" fmla="*/ 4198499 w 5115438"/>
                      <a:gd name="connsiteY115" fmla="*/ 3803576 h 3813301"/>
                      <a:gd name="connsiteX116" fmla="*/ 5115438 w 5115438"/>
                      <a:gd name="connsiteY116" fmla="*/ 3811196 h 3813301"/>
                      <a:gd name="connsiteX0" fmla="*/ 0 w 5115438"/>
                      <a:gd name="connsiteY0" fmla="*/ 0 h 3813301"/>
                      <a:gd name="connsiteX1" fmla="*/ 0 w 5115438"/>
                      <a:gd name="connsiteY1" fmla="*/ 116840 h 3813301"/>
                      <a:gd name="connsiteX2" fmla="*/ 66040 w 5115438"/>
                      <a:gd name="connsiteY2" fmla="*/ 116840 h 3813301"/>
                      <a:gd name="connsiteX3" fmla="*/ 66040 w 5115438"/>
                      <a:gd name="connsiteY3" fmla="*/ 218440 h 3813301"/>
                      <a:gd name="connsiteX4" fmla="*/ 137160 w 5115438"/>
                      <a:gd name="connsiteY4" fmla="*/ 218440 h 3813301"/>
                      <a:gd name="connsiteX5" fmla="*/ 137160 w 5115438"/>
                      <a:gd name="connsiteY5" fmla="*/ 294640 h 3813301"/>
                      <a:gd name="connsiteX6" fmla="*/ 147320 w 5115438"/>
                      <a:gd name="connsiteY6" fmla="*/ 294640 h 3813301"/>
                      <a:gd name="connsiteX7" fmla="*/ 147320 w 5115438"/>
                      <a:gd name="connsiteY7" fmla="*/ 421640 h 3813301"/>
                      <a:gd name="connsiteX8" fmla="*/ 198120 w 5115438"/>
                      <a:gd name="connsiteY8" fmla="*/ 421640 h 3813301"/>
                      <a:gd name="connsiteX9" fmla="*/ 198120 w 5115438"/>
                      <a:gd name="connsiteY9" fmla="*/ 543560 h 3813301"/>
                      <a:gd name="connsiteX10" fmla="*/ 198120 w 5115438"/>
                      <a:gd name="connsiteY10" fmla="*/ 543560 h 3813301"/>
                      <a:gd name="connsiteX11" fmla="*/ 243840 w 5115438"/>
                      <a:gd name="connsiteY11" fmla="*/ 589280 h 3813301"/>
                      <a:gd name="connsiteX12" fmla="*/ 259080 w 5115438"/>
                      <a:gd name="connsiteY12" fmla="*/ 604520 h 3813301"/>
                      <a:gd name="connsiteX13" fmla="*/ 259080 w 5115438"/>
                      <a:gd name="connsiteY13" fmla="*/ 665480 h 3813301"/>
                      <a:gd name="connsiteX14" fmla="*/ 294640 w 5115438"/>
                      <a:gd name="connsiteY14" fmla="*/ 665480 h 3813301"/>
                      <a:gd name="connsiteX15" fmla="*/ 294640 w 5115438"/>
                      <a:gd name="connsiteY15" fmla="*/ 716280 h 3813301"/>
                      <a:gd name="connsiteX16" fmla="*/ 320040 w 5115438"/>
                      <a:gd name="connsiteY16" fmla="*/ 716280 h 3813301"/>
                      <a:gd name="connsiteX17" fmla="*/ 320040 w 5115438"/>
                      <a:gd name="connsiteY17" fmla="*/ 792480 h 3813301"/>
                      <a:gd name="connsiteX18" fmla="*/ 335280 w 5115438"/>
                      <a:gd name="connsiteY18" fmla="*/ 792480 h 3813301"/>
                      <a:gd name="connsiteX19" fmla="*/ 335280 w 5115438"/>
                      <a:gd name="connsiteY19" fmla="*/ 889000 h 3813301"/>
                      <a:gd name="connsiteX20" fmla="*/ 375920 w 5115438"/>
                      <a:gd name="connsiteY20" fmla="*/ 889000 h 3813301"/>
                      <a:gd name="connsiteX21" fmla="*/ 375920 w 5115438"/>
                      <a:gd name="connsiteY21" fmla="*/ 949960 h 3813301"/>
                      <a:gd name="connsiteX22" fmla="*/ 375920 w 5115438"/>
                      <a:gd name="connsiteY22" fmla="*/ 949960 h 3813301"/>
                      <a:gd name="connsiteX23" fmla="*/ 416560 w 5115438"/>
                      <a:gd name="connsiteY23" fmla="*/ 949960 h 3813301"/>
                      <a:gd name="connsiteX24" fmla="*/ 416560 w 5115438"/>
                      <a:gd name="connsiteY24" fmla="*/ 1026160 h 3813301"/>
                      <a:gd name="connsiteX25" fmla="*/ 441960 w 5115438"/>
                      <a:gd name="connsiteY25" fmla="*/ 1026160 h 3813301"/>
                      <a:gd name="connsiteX26" fmla="*/ 441960 w 5115438"/>
                      <a:gd name="connsiteY26" fmla="*/ 1092200 h 3813301"/>
                      <a:gd name="connsiteX27" fmla="*/ 472440 w 5115438"/>
                      <a:gd name="connsiteY27" fmla="*/ 1092200 h 3813301"/>
                      <a:gd name="connsiteX28" fmla="*/ 472440 w 5115438"/>
                      <a:gd name="connsiteY28" fmla="*/ 1214120 h 3813301"/>
                      <a:gd name="connsiteX29" fmla="*/ 492760 w 5115438"/>
                      <a:gd name="connsiteY29" fmla="*/ 1234440 h 3813301"/>
                      <a:gd name="connsiteX30" fmla="*/ 492760 w 5115438"/>
                      <a:gd name="connsiteY30" fmla="*/ 1285240 h 3813301"/>
                      <a:gd name="connsiteX31" fmla="*/ 553720 w 5115438"/>
                      <a:gd name="connsiteY31" fmla="*/ 1285240 h 3813301"/>
                      <a:gd name="connsiteX32" fmla="*/ 553720 w 5115438"/>
                      <a:gd name="connsiteY32" fmla="*/ 1386840 h 3813301"/>
                      <a:gd name="connsiteX33" fmla="*/ 553720 w 5115438"/>
                      <a:gd name="connsiteY33" fmla="*/ 1427480 h 3813301"/>
                      <a:gd name="connsiteX34" fmla="*/ 599440 w 5115438"/>
                      <a:gd name="connsiteY34" fmla="*/ 1427480 h 3813301"/>
                      <a:gd name="connsiteX35" fmla="*/ 599440 w 5115438"/>
                      <a:gd name="connsiteY35" fmla="*/ 1493520 h 3813301"/>
                      <a:gd name="connsiteX36" fmla="*/ 650240 w 5115438"/>
                      <a:gd name="connsiteY36" fmla="*/ 1493520 h 3813301"/>
                      <a:gd name="connsiteX37" fmla="*/ 650240 w 5115438"/>
                      <a:gd name="connsiteY37" fmla="*/ 1539240 h 3813301"/>
                      <a:gd name="connsiteX38" fmla="*/ 695960 w 5115438"/>
                      <a:gd name="connsiteY38" fmla="*/ 1539240 h 3813301"/>
                      <a:gd name="connsiteX39" fmla="*/ 695960 w 5115438"/>
                      <a:gd name="connsiteY39" fmla="*/ 1635760 h 3813301"/>
                      <a:gd name="connsiteX40" fmla="*/ 731520 w 5115438"/>
                      <a:gd name="connsiteY40" fmla="*/ 1635760 h 3813301"/>
                      <a:gd name="connsiteX41" fmla="*/ 731520 w 5115438"/>
                      <a:gd name="connsiteY41" fmla="*/ 1706880 h 3813301"/>
                      <a:gd name="connsiteX42" fmla="*/ 762000 w 5115438"/>
                      <a:gd name="connsiteY42" fmla="*/ 1706880 h 3813301"/>
                      <a:gd name="connsiteX43" fmla="*/ 762000 w 5115438"/>
                      <a:gd name="connsiteY43" fmla="*/ 1803400 h 3813301"/>
                      <a:gd name="connsiteX44" fmla="*/ 797560 w 5115438"/>
                      <a:gd name="connsiteY44" fmla="*/ 1803400 h 3813301"/>
                      <a:gd name="connsiteX45" fmla="*/ 797560 w 5115438"/>
                      <a:gd name="connsiteY45" fmla="*/ 1854200 h 3813301"/>
                      <a:gd name="connsiteX46" fmla="*/ 853440 w 5115438"/>
                      <a:gd name="connsiteY46" fmla="*/ 1854200 h 3813301"/>
                      <a:gd name="connsiteX47" fmla="*/ 853440 w 5115438"/>
                      <a:gd name="connsiteY47" fmla="*/ 1940560 h 3813301"/>
                      <a:gd name="connsiteX48" fmla="*/ 894080 w 5115438"/>
                      <a:gd name="connsiteY48" fmla="*/ 1940560 h 3813301"/>
                      <a:gd name="connsiteX49" fmla="*/ 894080 w 5115438"/>
                      <a:gd name="connsiteY49" fmla="*/ 2011680 h 3813301"/>
                      <a:gd name="connsiteX50" fmla="*/ 939800 w 5115438"/>
                      <a:gd name="connsiteY50" fmla="*/ 2011680 h 3813301"/>
                      <a:gd name="connsiteX51" fmla="*/ 939800 w 5115438"/>
                      <a:gd name="connsiteY51" fmla="*/ 2062480 h 3813301"/>
                      <a:gd name="connsiteX52" fmla="*/ 1000760 w 5115438"/>
                      <a:gd name="connsiteY52" fmla="*/ 2062480 h 3813301"/>
                      <a:gd name="connsiteX53" fmla="*/ 1000760 w 5115438"/>
                      <a:gd name="connsiteY53" fmla="*/ 2128520 h 3813301"/>
                      <a:gd name="connsiteX54" fmla="*/ 1000760 w 5115438"/>
                      <a:gd name="connsiteY54" fmla="*/ 2128520 h 3813301"/>
                      <a:gd name="connsiteX55" fmla="*/ 1000760 w 5115438"/>
                      <a:gd name="connsiteY55" fmla="*/ 2214880 h 3813301"/>
                      <a:gd name="connsiteX56" fmla="*/ 1051560 w 5115438"/>
                      <a:gd name="connsiteY56" fmla="*/ 2214880 h 3813301"/>
                      <a:gd name="connsiteX57" fmla="*/ 1051560 w 5115438"/>
                      <a:gd name="connsiteY57" fmla="*/ 2235200 h 3813301"/>
                      <a:gd name="connsiteX58" fmla="*/ 1097280 w 5115438"/>
                      <a:gd name="connsiteY58" fmla="*/ 2235200 h 3813301"/>
                      <a:gd name="connsiteX59" fmla="*/ 1097280 w 5115438"/>
                      <a:gd name="connsiteY59" fmla="*/ 2235200 h 3813301"/>
                      <a:gd name="connsiteX60" fmla="*/ 1132840 w 5115438"/>
                      <a:gd name="connsiteY60" fmla="*/ 2270760 h 3813301"/>
                      <a:gd name="connsiteX61" fmla="*/ 1132840 w 5115438"/>
                      <a:gd name="connsiteY61" fmla="*/ 2341880 h 3813301"/>
                      <a:gd name="connsiteX62" fmla="*/ 1188720 w 5115438"/>
                      <a:gd name="connsiteY62" fmla="*/ 2341880 h 3813301"/>
                      <a:gd name="connsiteX63" fmla="*/ 1188720 w 5115438"/>
                      <a:gd name="connsiteY63" fmla="*/ 2377440 h 3813301"/>
                      <a:gd name="connsiteX64" fmla="*/ 1244600 w 5115438"/>
                      <a:gd name="connsiteY64" fmla="*/ 2377440 h 3813301"/>
                      <a:gd name="connsiteX65" fmla="*/ 1244600 w 5115438"/>
                      <a:gd name="connsiteY65" fmla="*/ 2377440 h 3813301"/>
                      <a:gd name="connsiteX66" fmla="*/ 1290320 w 5115438"/>
                      <a:gd name="connsiteY66" fmla="*/ 2377440 h 3813301"/>
                      <a:gd name="connsiteX67" fmla="*/ 1290320 w 5115438"/>
                      <a:gd name="connsiteY67" fmla="*/ 2479040 h 3813301"/>
                      <a:gd name="connsiteX68" fmla="*/ 1351280 w 5115438"/>
                      <a:gd name="connsiteY68" fmla="*/ 2479040 h 3813301"/>
                      <a:gd name="connsiteX69" fmla="*/ 1351280 w 5115438"/>
                      <a:gd name="connsiteY69" fmla="*/ 2540000 h 3813301"/>
                      <a:gd name="connsiteX70" fmla="*/ 1422400 w 5115438"/>
                      <a:gd name="connsiteY70" fmla="*/ 2540000 h 3813301"/>
                      <a:gd name="connsiteX71" fmla="*/ 1422400 w 5115438"/>
                      <a:gd name="connsiteY71" fmla="*/ 2600960 h 3813301"/>
                      <a:gd name="connsiteX72" fmla="*/ 1549400 w 5115438"/>
                      <a:gd name="connsiteY72" fmla="*/ 2600960 h 3813301"/>
                      <a:gd name="connsiteX73" fmla="*/ 1549400 w 5115438"/>
                      <a:gd name="connsiteY73" fmla="*/ 2651760 h 3813301"/>
                      <a:gd name="connsiteX74" fmla="*/ 1615440 w 5115438"/>
                      <a:gd name="connsiteY74" fmla="*/ 2651760 h 3813301"/>
                      <a:gd name="connsiteX75" fmla="*/ 1615440 w 5115438"/>
                      <a:gd name="connsiteY75" fmla="*/ 2687320 h 3813301"/>
                      <a:gd name="connsiteX76" fmla="*/ 1661160 w 5115438"/>
                      <a:gd name="connsiteY76" fmla="*/ 2687320 h 3813301"/>
                      <a:gd name="connsiteX77" fmla="*/ 1661160 w 5115438"/>
                      <a:gd name="connsiteY77" fmla="*/ 2748280 h 3813301"/>
                      <a:gd name="connsiteX78" fmla="*/ 1681480 w 5115438"/>
                      <a:gd name="connsiteY78" fmla="*/ 2768600 h 3813301"/>
                      <a:gd name="connsiteX79" fmla="*/ 1681480 w 5115438"/>
                      <a:gd name="connsiteY79" fmla="*/ 2834640 h 3813301"/>
                      <a:gd name="connsiteX80" fmla="*/ 1711960 w 5115438"/>
                      <a:gd name="connsiteY80" fmla="*/ 2834640 h 3813301"/>
                      <a:gd name="connsiteX81" fmla="*/ 1711960 w 5115438"/>
                      <a:gd name="connsiteY81" fmla="*/ 2880360 h 3813301"/>
                      <a:gd name="connsiteX82" fmla="*/ 1788160 w 5115438"/>
                      <a:gd name="connsiteY82" fmla="*/ 2880360 h 3813301"/>
                      <a:gd name="connsiteX83" fmla="*/ 1788160 w 5115438"/>
                      <a:gd name="connsiteY83" fmla="*/ 2910840 h 3813301"/>
                      <a:gd name="connsiteX84" fmla="*/ 1823720 w 5115438"/>
                      <a:gd name="connsiteY84" fmla="*/ 2910840 h 3813301"/>
                      <a:gd name="connsiteX85" fmla="*/ 1823720 w 5115438"/>
                      <a:gd name="connsiteY85" fmla="*/ 2961640 h 3813301"/>
                      <a:gd name="connsiteX86" fmla="*/ 1879600 w 5115438"/>
                      <a:gd name="connsiteY86" fmla="*/ 2961640 h 3813301"/>
                      <a:gd name="connsiteX87" fmla="*/ 1879600 w 5115438"/>
                      <a:gd name="connsiteY87" fmla="*/ 2997200 h 3813301"/>
                      <a:gd name="connsiteX88" fmla="*/ 1940560 w 5115438"/>
                      <a:gd name="connsiteY88" fmla="*/ 2997200 h 3813301"/>
                      <a:gd name="connsiteX89" fmla="*/ 1940560 w 5115438"/>
                      <a:gd name="connsiteY89" fmla="*/ 3068320 h 3813301"/>
                      <a:gd name="connsiteX90" fmla="*/ 2108200 w 5115438"/>
                      <a:gd name="connsiteY90" fmla="*/ 3068320 h 3813301"/>
                      <a:gd name="connsiteX91" fmla="*/ 2108200 w 5115438"/>
                      <a:gd name="connsiteY91" fmla="*/ 3068320 h 3813301"/>
                      <a:gd name="connsiteX92" fmla="*/ 2146178 w 5115438"/>
                      <a:gd name="connsiteY92" fmla="*/ 3073961 h 3813301"/>
                      <a:gd name="connsiteX93" fmla="*/ 2336800 w 5115438"/>
                      <a:gd name="connsiteY93" fmla="*/ 3094990 h 3813301"/>
                      <a:gd name="connsiteX94" fmla="*/ 2336800 w 5115438"/>
                      <a:gd name="connsiteY94" fmla="*/ 3134360 h 3813301"/>
                      <a:gd name="connsiteX95" fmla="*/ 2468880 w 5115438"/>
                      <a:gd name="connsiteY95" fmla="*/ 3134360 h 3813301"/>
                      <a:gd name="connsiteX96" fmla="*/ 2468880 w 5115438"/>
                      <a:gd name="connsiteY96" fmla="*/ 3180080 h 3813301"/>
                      <a:gd name="connsiteX97" fmla="*/ 2697480 w 5115438"/>
                      <a:gd name="connsiteY97" fmla="*/ 3180080 h 3813301"/>
                      <a:gd name="connsiteX98" fmla="*/ 2697480 w 5115438"/>
                      <a:gd name="connsiteY98" fmla="*/ 3230880 h 3813301"/>
                      <a:gd name="connsiteX99" fmla="*/ 2768600 w 5115438"/>
                      <a:gd name="connsiteY99" fmla="*/ 3230880 h 3813301"/>
                      <a:gd name="connsiteX100" fmla="*/ 2768600 w 5115438"/>
                      <a:gd name="connsiteY100" fmla="*/ 3251200 h 3813301"/>
                      <a:gd name="connsiteX101" fmla="*/ 3007360 w 5115438"/>
                      <a:gd name="connsiteY101" fmla="*/ 3251200 h 3813301"/>
                      <a:gd name="connsiteX102" fmla="*/ 3007360 w 5115438"/>
                      <a:gd name="connsiteY102" fmla="*/ 3296920 h 3813301"/>
                      <a:gd name="connsiteX103" fmla="*/ 3053080 w 5115438"/>
                      <a:gd name="connsiteY103" fmla="*/ 3296920 h 3813301"/>
                      <a:gd name="connsiteX104" fmla="*/ 3053080 w 5115438"/>
                      <a:gd name="connsiteY104" fmla="*/ 3347720 h 3813301"/>
                      <a:gd name="connsiteX105" fmla="*/ 3078480 w 5115438"/>
                      <a:gd name="connsiteY105" fmla="*/ 3347720 h 3813301"/>
                      <a:gd name="connsiteX106" fmla="*/ 3078480 w 5115438"/>
                      <a:gd name="connsiteY106" fmla="*/ 3393440 h 3813301"/>
                      <a:gd name="connsiteX107" fmla="*/ 3256280 w 5115438"/>
                      <a:gd name="connsiteY107" fmla="*/ 3393440 h 3813301"/>
                      <a:gd name="connsiteX108" fmla="*/ 3256280 w 5115438"/>
                      <a:gd name="connsiteY108" fmla="*/ 3439160 h 3813301"/>
                      <a:gd name="connsiteX109" fmla="*/ 3703320 w 5115438"/>
                      <a:gd name="connsiteY109" fmla="*/ 3439160 h 3813301"/>
                      <a:gd name="connsiteX110" fmla="*/ 3705740 w 5115438"/>
                      <a:gd name="connsiteY110" fmla="*/ 3524177 h 3813301"/>
                      <a:gd name="connsiteX111" fmla="*/ 3969900 w 5115438"/>
                      <a:gd name="connsiteY111" fmla="*/ 3521637 h 3813301"/>
                      <a:gd name="connsiteX112" fmla="*/ 3969899 w 5115438"/>
                      <a:gd name="connsiteY112" fmla="*/ 3610537 h 3813301"/>
                      <a:gd name="connsiteX113" fmla="*/ 4028319 w 5115438"/>
                      <a:gd name="connsiteY113" fmla="*/ 3613077 h 3813301"/>
                      <a:gd name="connsiteX114" fmla="*/ 4030859 w 5115438"/>
                      <a:gd name="connsiteY114" fmla="*/ 3701976 h 3813301"/>
                      <a:gd name="connsiteX115" fmla="*/ 4185799 w 5115438"/>
                      <a:gd name="connsiteY115" fmla="*/ 3709596 h 3813301"/>
                      <a:gd name="connsiteX116" fmla="*/ 4198499 w 5115438"/>
                      <a:gd name="connsiteY116" fmla="*/ 3803576 h 3813301"/>
                      <a:gd name="connsiteX117" fmla="*/ 5115438 w 5115438"/>
                      <a:gd name="connsiteY117" fmla="*/ 3811196 h 3813301"/>
                      <a:gd name="connsiteX0" fmla="*/ 0 w 5115438"/>
                      <a:gd name="connsiteY0" fmla="*/ 0 h 3813301"/>
                      <a:gd name="connsiteX1" fmla="*/ 0 w 5115438"/>
                      <a:gd name="connsiteY1" fmla="*/ 116840 h 3813301"/>
                      <a:gd name="connsiteX2" fmla="*/ 66040 w 5115438"/>
                      <a:gd name="connsiteY2" fmla="*/ 116840 h 3813301"/>
                      <a:gd name="connsiteX3" fmla="*/ 66040 w 5115438"/>
                      <a:gd name="connsiteY3" fmla="*/ 218440 h 3813301"/>
                      <a:gd name="connsiteX4" fmla="*/ 137160 w 5115438"/>
                      <a:gd name="connsiteY4" fmla="*/ 218440 h 3813301"/>
                      <a:gd name="connsiteX5" fmla="*/ 137160 w 5115438"/>
                      <a:gd name="connsiteY5" fmla="*/ 294640 h 3813301"/>
                      <a:gd name="connsiteX6" fmla="*/ 147320 w 5115438"/>
                      <a:gd name="connsiteY6" fmla="*/ 294640 h 3813301"/>
                      <a:gd name="connsiteX7" fmla="*/ 147320 w 5115438"/>
                      <a:gd name="connsiteY7" fmla="*/ 421640 h 3813301"/>
                      <a:gd name="connsiteX8" fmla="*/ 198120 w 5115438"/>
                      <a:gd name="connsiteY8" fmla="*/ 421640 h 3813301"/>
                      <a:gd name="connsiteX9" fmla="*/ 198120 w 5115438"/>
                      <a:gd name="connsiteY9" fmla="*/ 543560 h 3813301"/>
                      <a:gd name="connsiteX10" fmla="*/ 198120 w 5115438"/>
                      <a:gd name="connsiteY10" fmla="*/ 543560 h 3813301"/>
                      <a:gd name="connsiteX11" fmla="*/ 243840 w 5115438"/>
                      <a:gd name="connsiteY11" fmla="*/ 589280 h 3813301"/>
                      <a:gd name="connsiteX12" fmla="*/ 259080 w 5115438"/>
                      <a:gd name="connsiteY12" fmla="*/ 604520 h 3813301"/>
                      <a:gd name="connsiteX13" fmla="*/ 259080 w 5115438"/>
                      <a:gd name="connsiteY13" fmla="*/ 665480 h 3813301"/>
                      <a:gd name="connsiteX14" fmla="*/ 294640 w 5115438"/>
                      <a:gd name="connsiteY14" fmla="*/ 665480 h 3813301"/>
                      <a:gd name="connsiteX15" fmla="*/ 294640 w 5115438"/>
                      <a:gd name="connsiteY15" fmla="*/ 716280 h 3813301"/>
                      <a:gd name="connsiteX16" fmla="*/ 320040 w 5115438"/>
                      <a:gd name="connsiteY16" fmla="*/ 716280 h 3813301"/>
                      <a:gd name="connsiteX17" fmla="*/ 320040 w 5115438"/>
                      <a:gd name="connsiteY17" fmla="*/ 792480 h 3813301"/>
                      <a:gd name="connsiteX18" fmla="*/ 335280 w 5115438"/>
                      <a:gd name="connsiteY18" fmla="*/ 792480 h 3813301"/>
                      <a:gd name="connsiteX19" fmla="*/ 335280 w 5115438"/>
                      <a:gd name="connsiteY19" fmla="*/ 889000 h 3813301"/>
                      <a:gd name="connsiteX20" fmla="*/ 375920 w 5115438"/>
                      <a:gd name="connsiteY20" fmla="*/ 889000 h 3813301"/>
                      <a:gd name="connsiteX21" fmla="*/ 375920 w 5115438"/>
                      <a:gd name="connsiteY21" fmla="*/ 949960 h 3813301"/>
                      <a:gd name="connsiteX22" fmla="*/ 375920 w 5115438"/>
                      <a:gd name="connsiteY22" fmla="*/ 949960 h 3813301"/>
                      <a:gd name="connsiteX23" fmla="*/ 416560 w 5115438"/>
                      <a:gd name="connsiteY23" fmla="*/ 949960 h 3813301"/>
                      <a:gd name="connsiteX24" fmla="*/ 416560 w 5115438"/>
                      <a:gd name="connsiteY24" fmla="*/ 1026160 h 3813301"/>
                      <a:gd name="connsiteX25" fmla="*/ 441960 w 5115438"/>
                      <a:gd name="connsiteY25" fmla="*/ 1026160 h 3813301"/>
                      <a:gd name="connsiteX26" fmla="*/ 441960 w 5115438"/>
                      <a:gd name="connsiteY26" fmla="*/ 1092200 h 3813301"/>
                      <a:gd name="connsiteX27" fmla="*/ 472440 w 5115438"/>
                      <a:gd name="connsiteY27" fmla="*/ 1092200 h 3813301"/>
                      <a:gd name="connsiteX28" fmla="*/ 472440 w 5115438"/>
                      <a:gd name="connsiteY28" fmla="*/ 1214120 h 3813301"/>
                      <a:gd name="connsiteX29" fmla="*/ 492760 w 5115438"/>
                      <a:gd name="connsiteY29" fmla="*/ 1234440 h 3813301"/>
                      <a:gd name="connsiteX30" fmla="*/ 492760 w 5115438"/>
                      <a:gd name="connsiteY30" fmla="*/ 1285240 h 3813301"/>
                      <a:gd name="connsiteX31" fmla="*/ 553720 w 5115438"/>
                      <a:gd name="connsiteY31" fmla="*/ 1285240 h 3813301"/>
                      <a:gd name="connsiteX32" fmla="*/ 553720 w 5115438"/>
                      <a:gd name="connsiteY32" fmla="*/ 1386840 h 3813301"/>
                      <a:gd name="connsiteX33" fmla="*/ 553720 w 5115438"/>
                      <a:gd name="connsiteY33" fmla="*/ 1427480 h 3813301"/>
                      <a:gd name="connsiteX34" fmla="*/ 599440 w 5115438"/>
                      <a:gd name="connsiteY34" fmla="*/ 1427480 h 3813301"/>
                      <a:gd name="connsiteX35" fmla="*/ 599440 w 5115438"/>
                      <a:gd name="connsiteY35" fmla="*/ 1493520 h 3813301"/>
                      <a:gd name="connsiteX36" fmla="*/ 650240 w 5115438"/>
                      <a:gd name="connsiteY36" fmla="*/ 1493520 h 3813301"/>
                      <a:gd name="connsiteX37" fmla="*/ 650240 w 5115438"/>
                      <a:gd name="connsiteY37" fmla="*/ 1539240 h 3813301"/>
                      <a:gd name="connsiteX38" fmla="*/ 695960 w 5115438"/>
                      <a:gd name="connsiteY38" fmla="*/ 1539240 h 3813301"/>
                      <a:gd name="connsiteX39" fmla="*/ 695960 w 5115438"/>
                      <a:gd name="connsiteY39" fmla="*/ 1635760 h 3813301"/>
                      <a:gd name="connsiteX40" fmla="*/ 731520 w 5115438"/>
                      <a:gd name="connsiteY40" fmla="*/ 1635760 h 3813301"/>
                      <a:gd name="connsiteX41" fmla="*/ 731520 w 5115438"/>
                      <a:gd name="connsiteY41" fmla="*/ 1706880 h 3813301"/>
                      <a:gd name="connsiteX42" fmla="*/ 762000 w 5115438"/>
                      <a:gd name="connsiteY42" fmla="*/ 1706880 h 3813301"/>
                      <a:gd name="connsiteX43" fmla="*/ 762000 w 5115438"/>
                      <a:gd name="connsiteY43" fmla="*/ 1803400 h 3813301"/>
                      <a:gd name="connsiteX44" fmla="*/ 797560 w 5115438"/>
                      <a:gd name="connsiteY44" fmla="*/ 1803400 h 3813301"/>
                      <a:gd name="connsiteX45" fmla="*/ 797560 w 5115438"/>
                      <a:gd name="connsiteY45" fmla="*/ 1854200 h 3813301"/>
                      <a:gd name="connsiteX46" fmla="*/ 853440 w 5115438"/>
                      <a:gd name="connsiteY46" fmla="*/ 1854200 h 3813301"/>
                      <a:gd name="connsiteX47" fmla="*/ 853440 w 5115438"/>
                      <a:gd name="connsiteY47" fmla="*/ 1940560 h 3813301"/>
                      <a:gd name="connsiteX48" fmla="*/ 894080 w 5115438"/>
                      <a:gd name="connsiteY48" fmla="*/ 1940560 h 3813301"/>
                      <a:gd name="connsiteX49" fmla="*/ 894080 w 5115438"/>
                      <a:gd name="connsiteY49" fmla="*/ 2011680 h 3813301"/>
                      <a:gd name="connsiteX50" fmla="*/ 939800 w 5115438"/>
                      <a:gd name="connsiteY50" fmla="*/ 2011680 h 3813301"/>
                      <a:gd name="connsiteX51" fmla="*/ 939800 w 5115438"/>
                      <a:gd name="connsiteY51" fmla="*/ 2062480 h 3813301"/>
                      <a:gd name="connsiteX52" fmla="*/ 1000760 w 5115438"/>
                      <a:gd name="connsiteY52" fmla="*/ 2062480 h 3813301"/>
                      <a:gd name="connsiteX53" fmla="*/ 1000760 w 5115438"/>
                      <a:gd name="connsiteY53" fmla="*/ 2128520 h 3813301"/>
                      <a:gd name="connsiteX54" fmla="*/ 1000760 w 5115438"/>
                      <a:gd name="connsiteY54" fmla="*/ 2128520 h 3813301"/>
                      <a:gd name="connsiteX55" fmla="*/ 1000760 w 5115438"/>
                      <a:gd name="connsiteY55" fmla="*/ 2214880 h 3813301"/>
                      <a:gd name="connsiteX56" fmla="*/ 1051560 w 5115438"/>
                      <a:gd name="connsiteY56" fmla="*/ 2214880 h 3813301"/>
                      <a:gd name="connsiteX57" fmla="*/ 1051560 w 5115438"/>
                      <a:gd name="connsiteY57" fmla="*/ 2235200 h 3813301"/>
                      <a:gd name="connsiteX58" fmla="*/ 1097280 w 5115438"/>
                      <a:gd name="connsiteY58" fmla="*/ 2235200 h 3813301"/>
                      <a:gd name="connsiteX59" fmla="*/ 1097280 w 5115438"/>
                      <a:gd name="connsiteY59" fmla="*/ 2235200 h 3813301"/>
                      <a:gd name="connsiteX60" fmla="*/ 1132840 w 5115438"/>
                      <a:gd name="connsiteY60" fmla="*/ 2270760 h 3813301"/>
                      <a:gd name="connsiteX61" fmla="*/ 1132840 w 5115438"/>
                      <a:gd name="connsiteY61" fmla="*/ 2341880 h 3813301"/>
                      <a:gd name="connsiteX62" fmla="*/ 1188720 w 5115438"/>
                      <a:gd name="connsiteY62" fmla="*/ 2341880 h 3813301"/>
                      <a:gd name="connsiteX63" fmla="*/ 1188720 w 5115438"/>
                      <a:gd name="connsiteY63" fmla="*/ 2377440 h 3813301"/>
                      <a:gd name="connsiteX64" fmla="*/ 1244600 w 5115438"/>
                      <a:gd name="connsiteY64" fmla="*/ 2377440 h 3813301"/>
                      <a:gd name="connsiteX65" fmla="*/ 1244600 w 5115438"/>
                      <a:gd name="connsiteY65" fmla="*/ 2377440 h 3813301"/>
                      <a:gd name="connsiteX66" fmla="*/ 1290320 w 5115438"/>
                      <a:gd name="connsiteY66" fmla="*/ 2377440 h 3813301"/>
                      <a:gd name="connsiteX67" fmla="*/ 1290320 w 5115438"/>
                      <a:gd name="connsiteY67" fmla="*/ 2479040 h 3813301"/>
                      <a:gd name="connsiteX68" fmla="*/ 1351280 w 5115438"/>
                      <a:gd name="connsiteY68" fmla="*/ 2479040 h 3813301"/>
                      <a:gd name="connsiteX69" fmla="*/ 1351280 w 5115438"/>
                      <a:gd name="connsiteY69" fmla="*/ 2540000 h 3813301"/>
                      <a:gd name="connsiteX70" fmla="*/ 1422400 w 5115438"/>
                      <a:gd name="connsiteY70" fmla="*/ 2540000 h 3813301"/>
                      <a:gd name="connsiteX71" fmla="*/ 1422400 w 5115438"/>
                      <a:gd name="connsiteY71" fmla="*/ 2600960 h 3813301"/>
                      <a:gd name="connsiteX72" fmla="*/ 1549400 w 5115438"/>
                      <a:gd name="connsiteY72" fmla="*/ 2600960 h 3813301"/>
                      <a:gd name="connsiteX73" fmla="*/ 1549400 w 5115438"/>
                      <a:gd name="connsiteY73" fmla="*/ 2651760 h 3813301"/>
                      <a:gd name="connsiteX74" fmla="*/ 1615440 w 5115438"/>
                      <a:gd name="connsiteY74" fmla="*/ 2651760 h 3813301"/>
                      <a:gd name="connsiteX75" fmla="*/ 1615440 w 5115438"/>
                      <a:gd name="connsiteY75" fmla="*/ 2687320 h 3813301"/>
                      <a:gd name="connsiteX76" fmla="*/ 1661160 w 5115438"/>
                      <a:gd name="connsiteY76" fmla="*/ 2687320 h 3813301"/>
                      <a:gd name="connsiteX77" fmla="*/ 1661160 w 5115438"/>
                      <a:gd name="connsiteY77" fmla="*/ 2748280 h 3813301"/>
                      <a:gd name="connsiteX78" fmla="*/ 1681480 w 5115438"/>
                      <a:gd name="connsiteY78" fmla="*/ 2768600 h 3813301"/>
                      <a:gd name="connsiteX79" fmla="*/ 1681480 w 5115438"/>
                      <a:gd name="connsiteY79" fmla="*/ 2834640 h 3813301"/>
                      <a:gd name="connsiteX80" fmla="*/ 1711960 w 5115438"/>
                      <a:gd name="connsiteY80" fmla="*/ 2834640 h 3813301"/>
                      <a:gd name="connsiteX81" fmla="*/ 1711960 w 5115438"/>
                      <a:gd name="connsiteY81" fmla="*/ 2880360 h 3813301"/>
                      <a:gd name="connsiteX82" fmla="*/ 1788160 w 5115438"/>
                      <a:gd name="connsiteY82" fmla="*/ 2880360 h 3813301"/>
                      <a:gd name="connsiteX83" fmla="*/ 1788160 w 5115438"/>
                      <a:gd name="connsiteY83" fmla="*/ 2910840 h 3813301"/>
                      <a:gd name="connsiteX84" fmla="*/ 1823720 w 5115438"/>
                      <a:gd name="connsiteY84" fmla="*/ 2910840 h 3813301"/>
                      <a:gd name="connsiteX85" fmla="*/ 1823720 w 5115438"/>
                      <a:gd name="connsiteY85" fmla="*/ 2961640 h 3813301"/>
                      <a:gd name="connsiteX86" fmla="*/ 1879600 w 5115438"/>
                      <a:gd name="connsiteY86" fmla="*/ 2961640 h 3813301"/>
                      <a:gd name="connsiteX87" fmla="*/ 1879600 w 5115438"/>
                      <a:gd name="connsiteY87" fmla="*/ 2997200 h 3813301"/>
                      <a:gd name="connsiteX88" fmla="*/ 1940560 w 5115438"/>
                      <a:gd name="connsiteY88" fmla="*/ 2997200 h 3813301"/>
                      <a:gd name="connsiteX89" fmla="*/ 1940560 w 5115438"/>
                      <a:gd name="connsiteY89" fmla="*/ 3068320 h 3813301"/>
                      <a:gd name="connsiteX90" fmla="*/ 2108200 w 5115438"/>
                      <a:gd name="connsiteY90" fmla="*/ 3068320 h 3813301"/>
                      <a:gd name="connsiteX91" fmla="*/ 2108200 w 5115438"/>
                      <a:gd name="connsiteY91" fmla="*/ 3068320 h 3813301"/>
                      <a:gd name="connsiteX92" fmla="*/ 2129033 w 5115438"/>
                      <a:gd name="connsiteY92" fmla="*/ 3104441 h 3813301"/>
                      <a:gd name="connsiteX93" fmla="*/ 2336800 w 5115438"/>
                      <a:gd name="connsiteY93" fmla="*/ 3094990 h 3813301"/>
                      <a:gd name="connsiteX94" fmla="*/ 2336800 w 5115438"/>
                      <a:gd name="connsiteY94" fmla="*/ 3134360 h 3813301"/>
                      <a:gd name="connsiteX95" fmla="*/ 2468880 w 5115438"/>
                      <a:gd name="connsiteY95" fmla="*/ 3134360 h 3813301"/>
                      <a:gd name="connsiteX96" fmla="*/ 2468880 w 5115438"/>
                      <a:gd name="connsiteY96" fmla="*/ 3180080 h 3813301"/>
                      <a:gd name="connsiteX97" fmla="*/ 2697480 w 5115438"/>
                      <a:gd name="connsiteY97" fmla="*/ 3180080 h 3813301"/>
                      <a:gd name="connsiteX98" fmla="*/ 2697480 w 5115438"/>
                      <a:gd name="connsiteY98" fmla="*/ 3230880 h 3813301"/>
                      <a:gd name="connsiteX99" fmla="*/ 2768600 w 5115438"/>
                      <a:gd name="connsiteY99" fmla="*/ 3230880 h 3813301"/>
                      <a:gd name="connsiteX100" fmla="*/ 2768600 w 5115438"/>
                      <a:gd name="connsiteY100" fmla="*/ 3251200 h 3813301"/>
                      <a:gd name="connsiteX101" fmla="*/ 3007360 w 5115438"/>
                      <a:gd name="connsiteY101" fmla="*/ 3251200 h 3813301"/>
                      <a:gd name="connsiteX102" fmla="*/ 3007360 w 5115438"/>
                      <a:gd name="connsiteY102" fmla="*/ 3296920 h 3813301"/>
                      <a:gd name="connsiteX103" fmla="*/ 3053080 w 5115438"/>
                      <a:gd name="connsiteY103" fmla="*/ 3296920 h 3813301"/>
                      <a:gd name="connsiteX104" fmla="*/ 3053080 w 5115438"/>
                      <a:gd name="connsiteY104" fmla="*/ 3347720 h 3813301"/>
                      <a:gd name="connsiteX105" fmla="*/ 3078480 w 5115438"/>
                      <a:gd name="connsiteY105" fmla="*/ 3347720 h 3813301"/>
                      <a:gd name="connsiteX106" fmla="*/ 3078480 w 5115438"/>
                      <a:gd name="connsiteY106" fmla="*/ 3393440 h 3813301"/>
                      <a:gd name="connsiteX107" fmla="*/ 3256280 w 5115438"/>
                      <a:gd name="connsiteY107" fmla="*/ 3393440 h 3813301"/>
                      <a:gd name="connsiteX108" fmla="*/ 3256280 w 5115438"/>
                      <a:gd name="connsiteY108" fmla="*/ 3439160 h 3813301"/>
                      <a:gd name="connsiteX109" fmla="*/ 3703320 w 5115438"/>
                      <a:gd name="connsiteY109" fmla="*/ 3439160 h 3813301"/>
                      <a:gd name="connsiteX110" fmla="*/ 3705740 w 5115438"/>
                      <a:gd name="connsiteY110" fmla="*/ 3524177 h 3813301"/>
                      <a:gd name="connsiteX111" fmla="*/ 3969900 w 5115438"/>
                      <a:gd name="connsiteY111" fmla="*/ 3521637 h 3813301"/>
                      <a:gd name="connsiteX112" fmla="*/ 3969899 w 5115438"/>
                      <a:gd name="connsiteY112" fmla="*/ 3610537 h 3813301"/>
                      <a:gd name="connsiteX113" fmla="*/ 4028319 w 5115438"/>
                      <a:gd name="connsiteY113" fmla="*/ 3613077 h 3813301"/>
                      <a:gd name="connsiteX114" fmla="*/ 4030859 w 5115438"/>
                      <a:gd name="connsiteY114" fmla="*/ 3701976 h 3813301"/>
                      <a:gd name="connsiteX115" fmla="*/ 4185799 w 5115438"/>
                      <a:gd name="connsiteY115" fmla="*/ 3709596 h 3813301"/>
                      <a:gd name="connsiteX116" fmla="*/ 4198499 w 5115438"/>
                      <a:gd name="connsiteY116" fmla="*/ 3803576 h 3813301"/>
                      <a:gd name="connsiteX117" fmla="*/ 5115438 w 5115438"/>
                      <a:gd name="connsiteY117" fmla="*/ 3811196 h 3813301"/>
                      <a:gd name="connsiteX0" fmla="*/ 0 w 5115438"/>
                      <a:gd name="connsiteY0" fmla="*/ 0 h 3813301"/>
                      <a:gd name="connsiteX1" fmla="*/ 0 w 5115438"/>
                      <a:gd name="connsiteY1" fmla="*/ 116840 h 3813301"/>
                      <a:gd name="connsiteX2" fmla="*/ 66040 w 5115438"/>
                      <a:gd name="connsiteY2" fmla="*/ 116840 h 3813301"/>
                      <a:gd name="connsiteX3" fmla="*/ 66040 w 5115438"/>
                      <a:gd name="connsiteY3" fmla="*/ 218440 h 3813301"/>
                      <a:gd name="connsiteX4" fmla="*/ 137160 w 5115438"/>
                      <a:gd name="connsiteY4" fmla="*/ 218440 h 3813301"/>
                      <a:gd name="connsiteX5" fmla="*/ 137160 w 5115438"/>
                      <a:gd name="connsiteY5" fmla="*/ 294640 h 3813301"/>
                      <a:gd name="connsiteX6" fmla="*/ 147320 w 5115438"/>
                      <a:gd name="connsiteY6" fmla="*/ 294640 h 3813301"/>
                      <a:gd name="connsiteX7" fmla="*/ 147320 w 5115438"/>
                      <a:gd name="connsiteY7" fmla="*/ 421640 h 3813301"/>
                      <a:gd name="connsiteX8" fmla="*/ 198120 w 5115438"/>
                      <a:gd name="connsiteY8" fmla="*/ 421640 h 3813301"/>
                      <a:gd name="connsiteX9" fmla="*/ 198120 w 5115438"/>
                      <a:gd name="connsiteY9" fmla="*/ 543560 h 3813301"/>
                      <a:gd name="connsiteX10" fmla="*/ 198120 w 5115438"/>
                      <a:gd name="connsiteY10" fmla="*/ 543560 h 3813301"/>
                      <a:gd name="connsiteX11" fmla="*/ 243840 w 5115438"/>
                      <a:gd name="connsiteY11" fmla="*/ 589280 h 3813301"/>
                      <a:gd name="connsiteX12" fmla="*/ 259080 w 5115438"/>
                      <a:gd name="connsiteY12" fmla="*/ 604520 h 3813301"/>
                      <a:gd name="connsiteX13" fmla="*/ 259080 w 5115438"/>
                      <a:gd name="connsiteY13" fmla="*/ 665480 h 3813301"/>
                      <a:gd name="connsiteX14" fmla="*/ 294640 w 5115438"/>
                      <a:gd name="connsiteY14" fmla="*/ 665480 h 3813301"/>
                      <a:gd name="connsiteX15" fmla="*/ 294640 w 5115438"/>
                      <a:gd name="connsiteY15" fmla="*/ 716280 h 3813301"/>
                      <a:gd name="connsiteX16" fmla="*/ 320040 w 5115438"/>
                      <a:gd name="connsiteY16" fmla="*/ 716280 h 3813301"/>
                      <a:gd name="connsiteX17" fmla="*/ 320040 w 5115438"/>
                      <a:gd name="connsiteY17" fmla="*/ 792480 h 3813301"/>
                      <a:gd name="connsiteX18" fmla="*/ 335280 w 5115438"/>
                      <a:gd name="connsiteY18" fmla="*/ 792480 h 3813301"/>
                      <a:gd name="connsiteX19" fmla="*/ 335280 w 5115438"/>
                      <a:gd name="connsiteY19" fmla="*/ 889000 h 3813301"/>
                      <a:gd name="connsiteX20" fmla="*/ 375920 w 5115438"/>
                      <a:gd name="connsiteY20" fmla="*/ 889000 h 3813301"/>
                      <a:gd name="connsiteX21" fmla="*/ 375920 w 5115438"/>
                      <a:gd name="connsiteY21" fmla="*/ 949960 h 3813301"/>
                      <a:gd name="connsiteX22" fmla="*/ 375920 w 5115438"/>
                      <a:gd name="connsiteY22" fmla="*/ 949960 h 3813301"/>
                      <a:gd name="connsiteX23" fmla="*/ 416560 w 5115438"/>
                      <a:gd name="connsiteY23" fmla="*/ 949960 h 3813301"/>
                      <a:gd name="connsiteX24" fmla="*/ 416560 w 5115438"/>
                      <a:gd name="connsiteY24" fmla="*/ 1026160 h 3813301"/>
                      <a:gd name="connsiteX25" fmla="*/ 441960 w 5115438"/>
                      <a:gd name="connsiteY25" fmla="*/ 1026160 h 3813301"/>
                      <a:gd name="connsiteX26" fmla="*/ 441960 w 5115438"/>
                      <a:gd name="connsiteY26" fmla="*/ 1092200 h 3813301"/>
                      <a:gd name="connsiteX27" fmla="*/ 472440 w 5115438"/>
                      <a:gd name="connsiteY27" fmla="*/ 1092200 h 3813301"/>
                      <a:gd name="connsiteX28" fmla="*/ 472440 w 5115438"/>
                      <a:gd name="connsiteY28" fmla="*/ 1214120 h 3813301"/>
                      <a:gd name="connsiteX29" fmla="*/ 492760 w 5115438"/>
                      <a:gd name="connsiteY29" fmla="*/ 1234440 h 3813301"/>
                      <a:gd name="connsiteX30" fmla="*/ 492760 w 5115438"/>
                      <a:gd name="connsiteY30" fmla="*/ 1285240 h 3813301"/>
                      <a:gd name="connsiteX31" fmla="*/ 553720 w 5115438"/>
                      <a:gd name="connsiteY31" fmla="*/ 1285240 h 3813301"/>
                      <a:gd name="connsiteX32" fmla="*/ 553720 w 5115438"/>
                      <a:gd name="connsiteY32" fmla="*/ 1386840 h 3813301"/>
                      <a:gd name="connsiteX33" fmla="*/ 553720 w 5115438"/>
                      <a:gd name="connsiteY33" fmla="*/ 1427480 h 3813301"/>
                      <a:gd name="connsiteX34" fmla="*/ 599440 w 5115438"/>
                      <a:gd name="connsiteY34" fmla="*/ 1427480 h 3813301"/>
                      <a:gd name="connsiteX35" fmla="*/ 599440 w 5115438"/>
                      <a:gd name="connsiteY35" fmla="*/ 1493520 h 3813301"/>
                      <a:gd name="connsiteX36" fmla="*/ 650240 w 5115438"/>
                      <a:gd name="connsiteY36" fmla="*/ 1493520 h 3813301"/>
                      <a:gd name="connsiteX37" fmla="*/ 650240 w 5115438"/>
                      <a:gd name="connsiteY37" fmla="*/ 1539240 h 3813301"/>
                      <a:gd name="connsiteX38" fmla="*/ 695960 w 5115438"/>
                      <a:gd name="connsiteY38" fmla="*/ 1539240 h 3813301"/>
                      <a:gd name="connsiteX39" fmla="*/ 695960 w 5115438"/>
                      <a:gd name="connsiteY39" fmla="*/ 1635760 h 3813301"/>
                      <a:gd name="connsiteX40" fmla="*/ 731520 w 5115438"/>
                      <a:gd name="connsiteY40" fmla="*/ 1635760 h 3813301"/>
                      <a:gd name="connsiteX41" fmla="*/ 731520 w 5115438"/>
                      <a:gd name="connsiteY41" fmla="*/ 1706880 h 3813301"/>
                      <a:gd name="connsiteX42" fmla="*/ 762000 w 5115438"/>
                      <a:gd name="connsiteY42" fmla="*/ 1706880 h 3813301"/>
                      <a:gd name="connsiteX43" fmla="*/ 762000 w 5115438"/>
                      <a:gd name="connsiteY43" fmla="*/ 1803400 h 3813301"/>
                      <a:gd name="connsiteX44" fmla="*/ 797560 w 5115438"/>
                      <a:gd name="connsiteY44" fmla="*/ 1803400 h 3813301"/>
                      <a:gd name="connsiteX45" fmla="*/ 797560 w 5115438"/>
                      <a:gd name="connsiteY45" fmla="*/ 1854200 h 3813301"/>
                      <a:gd name="connsiteX46" fmla="*/ 853440 w 5115438"/>
                      <a:gd name="connsiteY46" fmla="*/ 1854200 h 3813301"/>
                      <a:gd name="connsiteX47" fmla="*/ 853440 w 5115438"/>
                      <a:gd name="connsiteY47" fmla="*/ 1940560 h 3813301"/>
                      <a:gd name="connsiteX48" fmla="*/ 894080 w 5115438"/>
                      <a:gd name="connsiteY48" fmla="*/ 1940560 h 3813301"/>
                      <a:gd name="connsiteX49" fmla="*/ 894080 w 5115438"/>
                      <a:gd name="connsiteY49" fmla="*/ 2011680 h 3813301"/>
                      <a:gd name="connsiteX50" fmla="*/ 939800 w 5115438"/>
                      <a:gd name="connsiteY50" fmla="*/ 2011680 h 3813301"/>
                      <a:gd name="connsiteX51" fmla="*/ 939800 w 5115438"/>
                      <a:gd name="connsiteY51" fmla="*/ 2062480 h 3813301"/>
                      <a:gd name="connsiteX52" fmla="*/ 1000760 w 5115438"/>
                      <a:gd name="connsiteY52" fmla="*/ 2062480 h 3813301"/>
                      <a:gd name="connsiteX53" fmla="*/ 1000760 w 5115438"/>
                      <a:gd name="connsiteY53" fmla="*/ 2128520 h 3813301"/>
                      <a:gd name="connsiteX54" fmla="*/ 1000760 w 5115438"/>
                      <a:gd name="connsiteY54" fmla="*/ 2128520 h 3813301"/>
                      <a:gd name="connsiteX55" fmla="*/ 1000760 w 5115438"/>
                      <a:gd name="connsiteY55" fmla="*/ 2214880 h 3813301"/>
                      <a:gd name="connsiteX56" fmla="*/ 1051560 w 5115438"/>
                      <a:gd name="connsiteY56" fmla="*/ 2214880 h 3813301"/>
                      <a:gd name="connsiteX57" fmla="*/ 1051560 w 5115438"/>
                      <a:gd name="connsiteY57" fmla="*/ 2235200 h 3813301"/>
                      <a:gd name="connsiteX58" fmla="*/ 1097280 w 5115438"/>
                      <a:gd name="connsiteY58" fmla="*/ 2235200 h 3813301"/>
                      <a:gd name="connsiteX59" fmla="*/ 1097280 w 5115438"/>
                      <a:gd name="connsiteY59" fmla="*/ 2235200 h 3813301"/>
                      <a:gd name="connsiteX60" fmla="*/ 1132840 w 5115438"/>
                      <a:gd name="connsiteY60" fmla="*/ 2270760 h 3813301"/>
                      <a:gd name="connsiteX61" fmla="*/ 1132840 w 5115438"/>
                      <a:gd name="connsiteY61" fmla="*/ 2341880 h 3813301"/>
                      <a:gd name="connsiteX62" fmla="*/ 1188720 w 5115438"/>
                      <a:gd name="connsiteY62" fmla="*/ 2341880 h 3813301"/>
                      <a:gd name="connsiteX63" fmla="*/ 1188720 w 5115438"/>
                      <a:gd name="connsiteY63" fmla="*/ 2377440 h 3813301"/>
                      <a:gd name="connsiteX64" fmla="*/ 1244600 w 5115438"/>
                      <a:gd name="connsiteY64" fmla="*/ 2377440 h 3813301"/>
                      <a:gd name="connsiteX65" fmla="*/ 1244600 w 5115438"/>
                      <a:gd name="connsiteY65" fmla="*/ 2377440 h 3813301"/>
                      <a:gd name="connsiteX66" fmla="*/ 1290320 w 5115438"/>
                      <a:gd name="connsiteY66" fmla="*/ 2377440 h 3813301"/>
                      <a:gd name="connsiteX67" fmla="*/ 1290320 w 5115438"/>
                      <a:gd name="connsiteY67" fmla="*/ 2479040 h 3813301"/>
                      <a:gd name="connsiteX68" fmla="*/ 1351280 w 5115438"/>
                      <a:gd name="connsiteY68" fmla="*/ 2479040 h 3813301"/>
                      <a:gd name="connsiteX69" fmla="*/ 1351280 w 5115438"/>
                      <a:gd name="connsiteY69" fmla="*/ 2540000 h 3813301"/>
                      <a:gd name="connsiteX70" fmla="*/ 1422400 w 5115438"/>
                      <a:gd name="connsiteY70" fmla="*/ 2540000 h 3813301"/>
                      <a:gd name="connsiteX71" fmla="*/ 1422400 w 5115438"/>
                      <a:gd name="connsiteY71" fmla="*/ 2600960 h 3813301"/>
                      <a:gd name="connsiteX72" fmla="*/ 1549400 w 5115438"/>
                      <a:gd name="connsiteY72" fmla="*/ 2600960 h 3813301"/>
                      <a:gd name="connsiteX73" fmla="*/ 1549400 w 5115438"/>
                      <a:gd name="connsiteY73" fmla="*/ 2651760 h 3813301"/>
                      <a:gd name="connsiteX74" fmla="*/ 1615440 w 5115438"/>
                      <a:gd name="connsiteY74" fmla="*/ 2651760 h 3813301"/>
                      <a:gd name="connsiteX75" fmla="*/ 1615440 w 5115438"/>
                      <a:gd name="connsiteY75" fmla="*/ 2687320 h 3813301"/>
                      <a:gd name="connsiteX76" fmla="*/ 1661160 w 5115438"/>
                      <a:gd name="connsiteY76" fmla="*/ 2687320 h 3813301"/>
                      <a:gd name="connsiteX77" fmla="*/ 1661160 w 5115438"/>
                      <a:gd name="connsiteY77" fmla="*/ 2748280 h 3813301"/>
                      <a:gd name="connsiteX78" fmla="*/ 1681480 w 5115438"/>
                      <a:gd name="connsiteY78" fmla="*/ 2768600 h 3813301"/>
                      <a:gd name="connsiteX79" fmla="*/ 1681480 w 5115438"/>
                      <a:gd name="connsiteY79" fmla="*/ 2834640 h 3813301"/>
                      <a:gd name="connsiteX80" fmla="*/ 1711960 w 5115438"/>
                      <a:gd name="connsiteY80" fmla="*/ 2834640 h 3813301"/>
                      <a:gd name="connsiteX81" fmla="*/ 1711960 w 5115438"/>
                      <a:gd name="connsiteY81" fmla="*/ 2880360 h 3813301"/>
                      <a:gd name="connsiteX82" fmla="*/ 1788160 w 5115438"/>
                      <a:gd name="connsiteY82" fmla="*/ 2880360 h 3813301"/>
                      <a:gd name="connsiteX83" fmla="*/ 1788160 w 5115438"/>
                      <a:gd name="connsiteY83" fmla="*/ 2910840 h 3813301"/>
                      <a:gd name="connsiteX84" fmla="*/ 1823720 w 5115438"/>
                      <a:gd name="connsiteY84" fmla="*/ 2910840 h 3813301"/>
                      <a:gd name="connsiteX85" fmla="*/ 1823720 w 5115438"/>
                      <a:gd name="connsiteY85" fmla="*/ 2961640 h 3813301"/>
                      <a:gd name="connsiteX86" fmla="*/ 1879600 w 5115438"/>
                      <a:gd name="connsiteY86" fmla="*/ 2961640 h 3813301"/>
                      <a:gd name="connsiteX87" fmla="*/ 1879600 w 5115438"/>
                      <a:gd name="connsiteY87" fmla="*/ 2997200 h 3813301"/>
                      <a:gd name="connsiteX88" fmla="*/ 1940560 w 5115438"/>
                      <a:gd name="connsiteY88" fmla="*/ 2997200 h 3813301"/>
                      <a:gd name="connsiteX89" fmla="*/ 1940560 w 5115438"/>
                      <a:gd name="connsiteY89" fmla="*/ 3068320 h 3813301"/>
                      <a:gd name="connsiteX90" fmla="*/ 2108200 w 5115438"/>
                      <a:gd name="connsiteY90" fmla="*/ 3068320 h 3813301"/>
                      <a:gd name="connsiteX91" fmla="*/ 2108200 w 5115438"/>
                      <a:gd name="connsiteY91" fmla="*/ 3068320 h 3813301"/>
                      <a:gd name="connsiteX92" fmla="*/ 2119508 w 5115438"/>
                      <a:gd name="connsiteY92" fmla="*/ 3094916 h 3813301"/>
                      <a:gd name="connsiteX93" fmla="*/ 2336800 w 5115438"/>
                      <a:gd name="connsiteY93" fmla="*/ 3094990 h 3813301"/>
                      <a:gd name="connsiteX94" fmla="*/ 2336800 w 5115438"/>
                      <a:gd name="connsiteY94" fmla="*/ 3134360 h 3813301"/>
                      <a:gd name="connsiteX95" fmla="*/ 2468880 w 5115438"/>
                      <a:gd name="connsiteY95" fmla="*/ 3134360 h 3813301"/>
                      <a:gd name="connsiteX96" fmla="*/ 2468880 w 5115438"/>
                      <a:gd name="connsiteY96" fmla="*/ 3180080 h 3813301"/>
                      <a:gd name="connsiteX97" fmla="*/ 2697480 w 5115438"/>
                      <a:gd name="connsiteY97" fmla="*/ 3180080 h 3813301"/>
                      <a:gd name="connsiteX98" fmla="*/ 2697480 w 5115438"/>
                      <a:gd name="connsiteY98" fmla="*/ 3230880 h 3813301"/>
                      <a:gd name="connsiteX99" fmla="*/ 2768600 w 5115438"/>
                      <a:gd name="connsiteY99" fmla="*/ 3230880 h 3813301"/>
                      <a:gd name="connsiteX100" fmla="*/ 2768600 w 5115438"/>
                      <a:gd name="connsiteY100" fmla="*/ 3251200 h 3813301"/>
                      <a:gd name="connsiteX101" fmla="*/ 3007360 w 5115438"/>
                      <a:gd name="connsiteY101" fmla="*/ 3251200 h 3813301"/>
                      <a:gd name="connsiteX102" fmla="*/ 3007360 w 5115438"/>
                      <a:gd name="connsiteY102" fmla="*/ 3296920 h 3813301"/>
                      <a:gd name="connsiteX103" fmla="*/ 3053080 w 5115438"/>
                      <a:gd name="connsiteY103" fmla="*/ 3296920 h 3813301"/>
                      <a:gd name="connsiteX104" fmla="*/ 3053080 w 5115438"/>
                      <a:gd name="connsiteY104" fmla="*/ 3347720 h 3813301"/>
                      <a:gd name="connsiteX105" fmla="*/ 3078480 w 5115438"/>
                      <a:gd name="connsiteY105" fmla="*/ 3347720 h 3813301"/>
                      <a:gd name="connsiteX106" fmla="*/ 3078480 w 5115438"/>
                      <a:gd name="connsiteY106" fmla="*/ 3393440 h 3813301"/>
                      <a:gd name="connsiteX107" fmla="*/ 3256280 w 5115438"/>
                      <a:gd name="connsiteY107" fmla="*/ 3393440 h 3813301"/>
                      <a:gd name="connsiteX108" fmla="*/ 3256280 w 5115438"/>
                      <a:gd name="connsiteY108" fmla="*/ 3439160 h 3813301"/>
                      <a:gd name="connsiteX109" fmla="*/ 3703320 w 5115438"/>
                      <a:gd name="connsiteY109" fmla="*/ 3439160 h 3813301"/>
                      <a:gd name="connsiteX110" fmla="*/ 3705740 w 5115438"/>
                      <a:gd name="connsiteY110" fmla="*/ 3524177 h 3813301"/>
                      <a:gd name="connsiteX111" fmla="*/ 3969900 w 5115438"/>
                      <a:gd name="connsiteY111" fmla="*/ 3521637 h 3813301"/>
                      <a:gd name="connsiteX112" fmla="*/ 3969899 w 5115438"/>
                      <a:gd name="connsiteY112" fmla="*/ 3610537 h 3813301"/>
                      <a:gd name="connsiteX113" fmla="*/ 4028319 w 5115438"/>
                      <a:gd name="connsiteY113" fmla="*/ 3613077 h 3813301"/>
                      <a:gd name="connsiteX114" fmla="*/ 4030859 w 5115438"/>
                      <a:gd name="connsiteY114" fmla="*/ 3701976 h 3813301"/>
                      <a:gd name="connsiteX115" fmla="*/ 4185799 w 5115438"/>
                      <a:gd name="connsiteY115" fmla="*/ 3709596 h 3813301"/>
                      <a:gd name="connsiteX116" fmla="*/ 4198499 w 5115438"/>
                      <a:gd name="connsiteY116" fmla="*/ 3803576 h 3813301"/>
                      <a:gd name="connsiteX117" fmla="*/ 5115438 w 5115438"/>
                      <a:gd name="connsiteY117" fmla="*/ 3811196 h 3813301"/>
                      <a:gd name="connsiteX0" fmla="*/ 0 w 5115438"/>
                      <a:gd name="connsiteY0" fmla="*/ 0 h 3813301"/>
                      <a:gd name="connsiteX1" fmla="*/ 0 w 5115438"/>
                      <a:gd name="connsiteY1" fmla="*/ 116840 h 3813301"/>
                      <a:gd name="connsiteX2" fmla="*/ 66040 w 5115438"/>
                      <a:gd name="connsiteY2" fmla="*/ 116840 h 3813301"/>
                      <a:gd name="connsiteX3" fmla="*/ 66040 w 5115438"/>
                      <a:gd name="connsiteY3" fmla="*/ 218440 h 3813301"/>
                      <a:gd name="connsiteX4" fmla="*/ 137160 w 5115438"/>
                      <a:gd name="connsiteY4" fmla="*/ 218440 h 3813301"/>
                      <a:gd name="connsiteX5" fmla="*/ 137160 w 5115438"/>
                      <a:gd name="connsiteY5" fmla="*/ 294640 h 3813301"/>
                      <a:gd name="connsiteX6" fmla="*/ 147320 w 5115438"/>
                      <a:gd name="connsiteY6" fmla="*/ 294640 h 3813301"/>
                      <a:gd name="connsiteX7" fmla="*/ 147320 w 5115438"/>
                      <a:gd name="connsiteY7" fmla="*/ 421640 h 3813301"/>
                      <a:gd name="connsiteX8" fmla="*/ 198120 w 5115438"/>
                      <a:gd name="connsiteY8" fmla="*/ 421640 h 3813301"/>
                      <a:gd name="connsiteX9" fmla="*/ 198120 w 5115438"/>
                      <a:gd name="connsiteY9" fmla="*/ 543560 h 3813301"/>
                      <a:gd name="connsiteX10" fmla="*/ 198120 w 5115438"/>
                      <a:gd name="connsiteY10" fmla="*/ 543560 h 3813301"/>
                      <a:gd name="connsiteX11" fmla="*/ 243840 w 5115438"/>
                      <a:gd name="connsiteY11" fmla="*/ 589280 h 3813301"/>
                      <a:gd name="connsiteX12" fmla="*/ 259080 w 5115438"/>
                      <a:gd name="connsiteY12" fmla="*/ 604520 h 3813301"/>
                      <a:gd name="connsiteX13" fmla="*/ 259080 w 5115438"/>
                      <a:gd name="connsiteY13" fmla="*/ 665480 h 3813301"/>
                      <a:gd name="connsiteX14" fmla="*/ 294640 w 5115438"/>
                      <a:gd name="connsiteY14" fmla="*/ 665480 h 3813301"/>
                      <a:gd name="connsiteX15" fmla="*/ 294640 w 5115438"/>
                      <a:gd name="connsiteY15" fmla="*/ 716280 h 3813301"/>
                      <a:gd name="connsiteX16" fmla="*/ 320040 w 5115438"/>
                      <a:gd name="connsiteY16" fmla="*/ 716280 h 3813301"/>
                      <a:gd name="connsiteX17" fmla="*/ 320040 w 5115438"/>
                      <a:gd name="connsiteY17" fmla="*/ 792480 h 3813301"/>
                      <a:gd name="connsiteX18" fmla="*/ 335280 w 5115438"/>
                      <a:gd name="connsiteY18" fmla="*/ 792480 h 3813301"/>
                      <a:gd name="connsiteX19" fmla="*/ 335280 w 5115438"/>
                      <a:gd name="connsiteY19" fmla="*/ 889000 h 3813301"/>
                      <a:gd name="connsiteX20" fmla="*/ 375920 w 5115438"/>
                      <a:gd name="connsiteY20" fmla="*/ 889000 h 3813301"/>
                      <a:gd name="connsiteX21" fmla="*/ 375920 w 5115438"/>
                      <a:gd name="connsiteY21" fmla="*/ 949960 h 3813301"/>
                      <a:gd name="connsiteX22" fmla="*/ 375920 w 5115438"/>
                      <a:gd name="connsiteY22" fmla="*/ 949960 h 3813301"/>
                      <a:gd name="connsiteX23" fmla="*/ 416560 w 5115438"/>
                      <a:gd name="connsiteY23" fmla="*/ 949960 h 3813301"/>
                      <a:gd name="connsiteX24" fmla="*/ 416560 w 5115438"/>
                      <a:gd name="connsiteY24" fmla="*/ 1026160 h 3813301"/>
                      <a:gd name="connsiteX25" fmla="*/ 441960 w 5115438"/>
                      <a:gd name="connsiteY25" fmla="*/ 1026160 h 3813301"/>
                      <a:gd name="connsiteX26" fmla="*/ 441960 w 5115438"/>
                      <a:gd name="connsiteY26" fmla="*/ 1092200 h 3813301"/>
                      <a:gd name="connsiteX27" fmla="*/ 472440 w 5115438"/>
                      <a:gd name="connsiteY27" fmla="*/ 1092200 h 3813301"/>
                      <a:gd name="connsiteX28" fmla="*/ 472440 w 5115438"/>
                      <a:gd name="connsiteY28" fmla="*/ 1214120 h 3813301"/>
                      <a:gd name="connsiteX29" fmla="*/ 492760 w 5115438"/>
                      <a:gd name="connsiteY29" fmla="*/ 1234440 h 3813301"/>
                      <a:gd name="connsiteX30" fmla="*/ 492760 w 5115438"/>
                      <a:gd name="connsiteY30" fmla="*/ 1285240 h 3813301"/>
                      <a:gd name="connsiteX31" fmla="*/ 553720 w 5115438"/>
                      <a:gd name="connsiteY31" fmla="*/ 1285240 h 3813301"/>
                      <a:gd name="connsiteX32" fmla="*/ 553720 w 5115438"/>
                      <a:gd name="connsiteY32" fmla="*/ 1386840 h 3813301"/>
                      <a:gd name="connsiteX33" fmla="*/ 553720 w 5115438"/>
                      <a:gd name="connsiteY33" fmla="*/ 1427480 h 3813301"/>
                      <a:gd name="connsiteX34" fmla="*/ 599440 w 5115438"/>
                      <a:gd name="connsiteY34" fmla="*/ 1427480 h 3813301"/>
                      <a:gd name="connsiteX35" fmla="*/ 599440 w 5115438"/>
                      <a:gd name="connsiteY35" fmla="*/ 1493520 h 3813301"/>
                      <a:gd name="connsiteX36" fmla="*/ 650240 w 5115438"/>
                      <a:gd name="connsiteY36" fmla="*/ 1493520 h 3813301"/>
                      <a:gd name="connsiteX37" fmla="*/ 650240 w 5115438"/>
                      <a:gd name="connsiteY37" fmla="*/ 1539240 h 3813301"/>
                      <a:gd name="connsiteX38" fmla="*/ 695960 w 5115438"/>
                      <a:gd name="connsiteY38" fmla="*/ 1539240 h 3813301"/>
                      <a:gd name="connsiteX39" fmla="*/ 695960 w 5115438"/>
                      <a:gd name="connsiteY39" fmla="*/ 1635760 h 3813301"/>
                      <a:gd name="connsiteX40" fmla="*/ 731520 w 5115438"/>
                      <a:gd name="connsiteY40" fmla="*/ 1635760 h 3813301"/>
                      <a:gd name="connsiteX41" fmla="*/ 731520 w 5115438"/>
                      <a:gd name="connsiteY41" fmla="*/ 1706880 h 3813301"/>
                      <a:gd name="connsiteX42" fmla="*/ 762000 w 5115438"/>
                      <a:gd name="connsiteY42" fmla="*/ 1706880 h 3813301"/>
                      <a:gd name="connsiteX43" fmla="*/ 762000 w 5115438"/>
                      <a:gd name="connsiteY43" fmla="*/ 1803400 h 3813301"/>
                      <a:gd name="connsiteX44" fmla="*/ 797560 w 5115438"/>
                      <a:gd name="connsiteY44" fmla="*/ 1803400 h 3813301"/>
                      <a:gd name="connsiteX45" fmla="*/ 797560 w 5115438"/>
                      <a:gd name="connsiteY45" fmla="*/ 1854200 h 3813301"/>
                      <a:gd name="connsiteX46" fmla="*/ 853440 w 5115438"/>
                      <a:gd name="connsiteY46" fmla="*/ 1854200 h 3813301"/>
                      <a:gd name="connsiteX47" fmla="*/ 853440 w 5115438"/>
                      <a:gd name="connsiteY47" fmla="*/ 1940560 h 3813301"/>
                      <a:gd name="connsiteX48" fmla="*/ 894080 w 5115438"/>
                      <a:gd name="connsiteY48" fmla="*/ 1940560 h 3813301"/>
                      <a:gd name="connsiteX49" fmla="*/ 894080 w 5115438"/>
                      <a:gd name="connsiteY49" fmla="*/ 2011680 h 3813301"/>
                      <a:gd name="connsiteX50" fmla="*/ 939800 w 5115438"/>
                      <a:gd name="connsiteY50" fmla="*/ 2011680 h 3813301"/>
                      <a:gd name="connsiteX51" fmla="*/ 939800 w 5115438"/>
                      <a:gd name="connsiteY51" fmla="*/ 2062480 h 3813301"/>
                      <a:gd name="connsiteX52" fmla="*/ 1000760 w 5115438"/>
                      <a:gd name="connsiteY52" fmla="*/ 2062480 h 3813301"/>
                      <a:gd name="connsiteX53" fmla="*/ 1000760 w 5115438"/>
                      <a:gd name="connsiteY53" fmla="*/ 2128520 h 3813301"/>
                      <a:gd name="connsiteX54" fmla="*/ 1000760 w 5115438"/>
                      <a:gd name="connsiteY54" fmla="*/ 2128520 h 3813301"/>
                      <a:gd name="connsiteX55" fmla="*/ 1000760 w 5115438"/>
                      <a:gd name="connsiteY55" fmla="*/ 2214880 h 3813301"/>
                      <a:gd name="connsiteX56" fmla="*/ 1051560 w 5115438"/>
                      <a:gd name="connsiteY56" fmla="*/ 2214880 h 3813301"/>
                      <a:gd name="connsiteX57" fmla="*/ 1051560 w 5115438"/>
                      <a:gd name="connsiteY57" fmla="*/ 2235200 h 3813301"/>
                      <a:gd name="connsiteX58" fmla="*/ 1097280 w 5115438"/>
                      <a:gd name="connsiteY58" fmla="*/ 2235200 h 3813301"/>
                      <a:gd name="connsiteX59" fmla="*/ 1097280 w 5115438"/>
                      <a:gd name="connsiteY59" fmla="*/ 2235200 h 3813301"/>
                      <a:gd name="connsiteX60" fmla="*/ 1132840 w 5115438"/>
                      <a:gd name="connsiteY60" fmla="*/ 2270760 h 3813301"/>
                      <a:gd name="connsiteX61" fmla="*/ 1132840 w 5115438"/>
                      <a:gd name="connsiteY61" fmla="*/ 2341880 h 3813301"/>
                      <a:gd name="connsiteX62" fmla="*/ 1188720 w 5115438"/>
                      <a:gd name="connsiteY62" fmla="*/ 2341880 h 3813301"/>
                      <a:gd name="connsiteX63" fmla="*/ 1188720 w 5115438"/>
                      <a:gd name="connsiteY63" fmla="*/ 2377440 h 3813301"/>
                      <a:gd name="connsiteX64" fmla="*/ 1244600 w 5115438"/>
                      <a:gd name="connsiteY64" fmla="*/ 2377440 h 3813301"/>
                      <a:gd name="connsiteX65" fmla="*/ 1244600 w 5115438"/>
                      <a:gd name="connsiteY65" fmla="*/ 2377440 h 3813301"/>
                      <a:gd name="connsiteX66" fmla="*/ 1290320 w 5115438"/>
                      <a:gd name="connsiteY66" fmla="*/ 2377440 h 3813301"/>
                      <a:gd name="connsiteX67" fmla="*/ 1290320 w 5115438"/>
                      <a:gd name="connsiteY67" fmla="*/ 2479040 h 3813301"/>
                      <a:gd name="connsiteX68" fmla="*/ 1351280 w 5115438"/>
                      <a:gd name="connsiteY68" fmla="*/ 2479040 h 3813301"/>
                      <a:gd name="connsiteX69" fmla="*/ 1351280 w 5115438"/>
                      <a:gd name="connsiteY69" fmla="*/ 2540000 h 3813301"/>
                      <a:gd name="connsiteX70" fmla="*/ 1422400 w 5115438"/>
                      <a:gd name="connsiteY70" fmla="*/ 2540000 h 3813301"/>
                      <a:gd name="connsiteX71" fmla="*/ 1422400 w 5115438"/>
                      <a:gd name="connsiteY71" fmla="*/ 2600960 h 3813301"/>
                      <a:gd name="connsiteX72" fmla="*/ 1549400 w 5115438"/>
                      <a:gd name="connsiteY72" fmla="*/ 2600960 h 3813301"/>
                      <a:gd name="connsiteX73" fmla="*/ 1549400 w 5115438"/>
                      <a:gd name="connsiteY73" fmla="*/ 2651760 h 3813301"/>
                      <a:gd name="connsiteX74" fmla="*/ 1615440 w 5115438"/>
                      <a:gd name="connsiteY74" fmla="*/ 2651760 h 3813301"/>
                      <a:gd name="connsiteX75" fmla="*/ 1615440 w 5115438"/>
                      <a:gd name="connsiteY75" fmla="*/ 2687320 h 3813301"/>
                      <a:gd name="connsiteX76" fmla="*/ 1661160 w 5115438"/>
                      <a:gd name="connsiteY76" fmla="*/ 2687320 h 3813301"/>
                      <a:gd name="connsiteX77" fmla="*/ 1661160 w 5115438"/>
                      <a:gd name="connsiteY77" fmla="*/ 2748280 h 3813301"/>
                      <a:gd name="connsiteX78" fmla="*/ 1681480 w 5115438"/>
                      <a:gd name="connsiteY78" fmla="*/ 2768600 h 3813301"/>
                      <a:gd name="connsiteX79" fmla="*/ 1681480 w 5115438"/>
                      <a:gd name="connsiteY79" fmla="*/ 2834640 h 3813301"/>
                      <a:gd name="connsiteX80" fmla="*/ 1711960 w 5115438"/>
                      <a:gd name="connsiteY80" fmla="*/ 2834640 h 3813301"/>
                      <a:gd name="connsiteX81" fmla="*/ 1711960 w 5115438"/>
                      <a:gd name="connsiteY81" fmla="*/ 2880360 h 3813301"/>
                      <a:gd name="connsiteX82" fmla="*/ 1788160 w 5115438"/>
                      <a:gd name="connsiteY82" fmla="*/ 2880360 h 3813301"/>
                      <a:gd name="connsiteX83" fmla="*/ 1788160 w 5115438"/>
                      <a:gd name="connsiteY83" fmla="*/ 2910840 h 3813301"/>
                      <a:gd name="connsiteX84" fmla="*/ 1823720 w 5115438"/>
                      <a:gd name="connsiteY84" fmla="*/ 2910840 h 3813301"/>
                      <a:gd name="connsiteX85" fmla="*/ 1823720 w 5115438"/>
                      <a:gd name="connsiteY85" fmla="*/ 2961640 h 3813301"/>
                      <a:gd name="connsiteX86" fmla="*/ 1879600 w 5115438"/>
                      <a:gd name="connsiteY86" fmla="*/ 2961640 h 3813301"/>
                      <a:gd name="connsiteX87" fmla="*/ 1879600 w 5115438"/>
                      <a:gd name="connsiteY87" fmla="*/ 2997200 h 3813301"/>
                      <a:gd name="connsiteX88" fmla="*/ 1940560 w 5115438"/>
                      <a:gd name="connsiteY88" fmla="*/ 2997200 h 3813301"/>
                      <a:gd name="connsiteX89" fmla="*/ 1940560 w 5115438"/>
                      <a:gd name="connsiteY89" fmla="*/ 3068320 h 3813301"/>
                      <a:gd name="connsiteX90" fmla="*/ 2108200 w 5115438"/>
                      <a:gd name="connsiteY90" fmla="*/ 3068320 h 3813301"/>
                      <a:gd name="connsiteX91" fmla="*/ 2108200 w 5115438"/>
                      <a:gd name="connsiteY91" fmla="*/ 3068320 h 3813301"/>
                      <a:gd name="connsiteX92" fmla="*/ 2119508 w 5115438"/>
                      <a:gd name="connsiteY92" fmla="*/ 3094916 h 3813301"/>
                      <a:gd name="connsiteX93" fmla="*/ 2336800 w 5115438"/>
                      <a:gd name="connsiteY93" fmla="*/ 3094990 h 3813301"/>
                      <a:gd name="connsiteX94" fmla="*/ 2336800 w 5115438"/>
                      <a:gd name="connsiteY94" fmla="*/ 3134360 h 3813301"/>
                      <a:gd name="connsiteX95" fmla="*/ 2468880 w 5115438"/>
                      <a:gd name="connsiteY95" fmla="*/ 3134360 h 3813301"/>
                      <a:gd name="connsiteX96" fmla="*/ 2468880 w 5115438"/>
                      <a:gd name="connsiteY96" fmla="*/ 3180080 h 3813301"/>
                      <a:gd name="connsiteX97" fmla="*/ 2697480 w 5115438"/>
                      <a:gd name="connsiteY97" fmla="*/ 3180080 h 3813301"/>
                      <a:gd name="connsiteX98" fmla="*/ 2697480 w 5115438"/>
                      <a:gd name="connsiteY98" fmla="*/ 3230880 h 3813301"/>
                      <a:gd name="connsiteX99" fmla="*/ 2768600 w 5115438"/>
                      <a:gd name="connsiteY99" fmla="*/ 3230880 h 3813301"/>
                      <a:gd name="connsiteX100" fmla="*/ 2768600 w 5115438"/>
                      <a:gd name="connsiteY100" fmla="*/ 3251200 h 3813301"/>
                      <a:gd name="connsiteX101" fmla="*/ 3007360 w 5115438"/>
                      <a:gd name="connsiteY101" fmla="*/ 3251200 h 3813301"/>
                      <a:gd name="connsiteX102" fmla="*/ 3007360 w 5115438"/>
                      <a:gd name="connsiteY102" fmla="*/ 3296920 h 3813301"/>
                      <a:gd name="connsiteX103" fmla="*/ 3053080 w 5115438"/>
                      <a:gd name="connsiteY103" fmla="*/ 3296920 h 3813301"/>
                      <a:gd name="connsiteX104" fmla="*/ 3053080 w 5115438"/>
                      <a:gd name="connsiteY104" fmla="*/ 3347720 h 3813301"/>
                      <a:gd name="connsiteX105" fmla="*/ 3078480 w 5115438"/>
                      <a:gd name="connsiteY105" fmla="*/ 3347720 h 3813301"/>
                      <a:gd name="connsiteX106" fmla="*/ 3078480 w 5115438"/>
                      <a:gd name="connsiteY106" fmla="*/ 3393440 h 3813301"/>
                      <a:gd name="connsiteX107" fmla="*/ 3256280 w 5115438"/>
                      <a:gd name="connsiteY107" fmla="*/ 3393440 h 3813301"/>
                      <a:gd name="connsiteX108" fmla="*/ 3256280 w 5115438"/>
                      <a:gd name="connsiteY108" fmla="*/ 3439160 h 3813301"/>
                      <a:gd name="connsiteX109" fmla="*/ 3700780 w 5115438"/>
                      <a:gd name="connsiteY109" fmla="*/ 3436620 h 3813301"/>
                      <a:gd name="connsiteX110" fmla="*/ 3705740 w 5115438"/>
                      <a:gd name="connsiteY110" fmla="*/ 3524177 h 3813301"/>
                      <a:gd name="connsiteX111" fmla="*/ 3969900 w 5115438"/>
                      <a:gd name="connsiteY111" fmla="*/ 3521637 h 3813301"/>
                      <a:gd name="connsiteX112" fmla="*/ 3969899 w 5115438"/>
                      <a:gd name="connsiteY112" fmla="*/ 3610537 h 3813301"/>
                      <a:gd name="connsiteX113" fmla="*/ 4028319 w 5115438"/>
                      <a:gd name="connsiteY113" fmla="*/ 3613077 h 3813301"/>
                      <a:gd name="connsiteX114" fmla="*/ 4030859 w 5115438"/>
                      <a:gd name="connsiteY114" fmla="*/ 3701976 h 3813301"/>
                      <a:gd name="connsiteX115" fmla="*/ 4185799 w 5115438"/>
                      <a:gd name="connsiteY115" fmla="*/ 3709596 h 3813301"/>
                      <a:gd name="connsiteX116" fmla="*/ 4198499 w 5115438"/>
                      <a:gd name="connsiteY116" fmla="*/ 3803576 h 3813301"/>
                      <a:gd name="connsiteX117" fmla="*/ 5115438 w 5115438"/>
                      <a:gd name="connsiteY117" fmla="*/ 3811196 h 3813301"/>
                      <a:gd name="connsiteX0" fmla="*/ 0 w 5115438"/>
                      <a:gd name="connsiteY0" fmla="*/ 0 h 3813301"/>
                      <a:gd name="connsiteX1" fmla="*/ 0 w 5115438"/>
                      <a:gd name="connsiteY1" fmla="*/ 116840 h 3813301"/>
                      <a:gd name="connsiteX2" fmla="*/ 66040 w 5115438"/>
                      <a:gd name="connsiteY2" fmla="*/ 116840 h 3813301"/>
                      <a:gd name="connsiteX3" fmla="*/ 66040 w 5115438"/>
                      <a:gd name="connsiteY3" fmla="*/ 218440 h 3813301"/>
                      <a:gd name="connsiteX4" fmla="*/ 137160 w 5115438"/>
                      <a:gd name="connsiteY4" fmla="*/ 218440 h 3813301"/>
                      <a:gd name="connsiteX5" fmla="*/ 137160 w 5115438"/>
                      <a:gd name="connsiteY5" fmla="*/ 294640 h 3813301"/>
                      <a:gd name="connsiteX6" fmla="*/ 147320 w 5115438"/>
                      <a:gd name="connsiteY6" fmla="*/ 294640 h 3813301"/>
                      <a:gd name="connsiteX7" fmla="*/ 147320 w 5115438"/>
                      <a:gd name="connsiteY7" fmla="*/ 421640 h 3813301"/>
                      <a:gd name="connsiteX8" fmla="*/ 198120 w 5115438"/>
                      <a:gd name="connsiteY8" fmla="*/ 421640 h 3813301"/>
                      <a:gd name="connsiteX9" fmla="*/ 198120 w 5115438"/>
                      <a:gd name="connsiteY9" fmla="*/ 543560 h 3813301"/>
                      <a:gd name="connsiteX10" fmla="*/ 198120 w 5115438"/>
                      <a:gd name="connsiteY10" fmla="*/ 543560 h 3813301"/>
                      <a:gd name="connsiteX11" fmla="*/ 243840 w 5115438"/>
                      <a:gd name="connsiteY11" fmla="*/ 589280 h 3813301"/>
                      <a:gd name="connsiteX12" fmla="*/ 259080 w 5115438"/>
                      <a:gd name="connsiteY12" fmla="*/ 604520 h 3813301"/>
                      <a:gd name="connsiteX13" fmla="*/ 259080 w 5115438"/>
                      <a:gd name="connsiteY13" fmla="*/ 665480 h 3813301"/>
                      <a:gd name="connsiteX14" fmla="*/ 294640 w 5115438"/>
                      <a:gd name="connsiteY14" fmla="*/ 665480 h 3813301"/>
                      <a:gd name="connsiteX15" fmla="*/ 294640 w 5115438"/>
                      <a:gd name="connsiteY15" fmla="*/ 716280 h 3813301"/>
                      <a:gd name="connsiteX16" fmla="*/ 320040 w 5115438"/>
                      <a:gd name="connsiteY16" fmla="*/ 716280 h 3813301"/>
                      <a:gd name="connsiteX17" fmla="*/ 320040 w 5115438"/>
                      <a:gd name="connsiteY17" fmla="*/ 792480 h 3813301"/>
                      <a:gd name="connsiteX18" fmla="*/ 335280 w 5115438"/>
                      <a:gd name="connsiteY18" fmla="*/ 792480 h 3813301"/>
                      <a:gd name="connsiteX19" fmla="*/ 335280 w 5115438"/>
                      <a:gd name="connsiteY19" fmla="*/ 889000 h 3813301"/>
                      <a:gd name="connsiteX20" fmla="*/ 375920 w 5115438"/>
                      <a:gd name="connsiteY20" fmla="*/ 889000 h 3813301"/>
                      <a:gd name="connsiteX21" fmla="*/ 375920 w 5115438"/>
                      <a:gd name="connsiteY21" fmla="*/ 949960 h 3813301"/>
                      <a:gd name="connsiteX22" fmla="*/ 375920 w 5115438"/>
                      <a:gd name="connsiteY22" fmla="*/ 949960 h 3813301"/>
                      <a:gd name="connsiteX23" fmla="*/ 416560 w 5115438"/>
                      <a:gd name="connsiteY23" fmla="*/ 949960 h 3813301"/>
                      <a:gd name="connsiteX24" fmla="*/ 416560 w 5115438"/>
                      <a:gd name="connsiteY24" fmla="*/ 1026160 h 3813301"/>
                      <a:gd name="connsiteX25" fmla="*/ 441960 w 5115438"/>
                      <a:gd name="connsiteY25" fmla="*/ 1026160 h 3813301"/>
                      <a:gd name="connsiteX26" fmla="*/ 441960 w 5115438"/>
                      <a:gd name="connsiteY26" fmla="*/ 1092200 h 3813301"/>
                      <a:gd name="connsiteX27" fmla="*/ 472440 w 5115438"/>
                      <a:gd name="connsiteY27" fmla="*/ 1092200 h 3813301"/>
                      <a:gd name="connsiteX28" fmla="*/ 472440 w 5115438"/>
                      <a:gd name="connsiteY28" fmla="*/ 1214120 h 3813301"/>
                      <a:gd name="connsiteX29" fmla="*/ 492760 w 5115438"/>
                      <a:gd name="connsiteY29" fmla="*/ 1234440 h 3813301"/>
                      <a:gd name="connsiteX30" fmla="*/ 492760 w 5115438"/>
                      <a:gd name="connsiteY30" fmla="*/ 1285240 h 3813301"/>
                      <a:gd name="connsiteX31" fmla="*/ 553720 w 5115438"/>
                      <a:gd name="connsiteY31" fmla="*/ 1285240 h 3813301"/>
                      <a:gd name="connsiteX32" fmla="*/ 553720 w 5115438"/>
                      <a:gd name="connsiteY32" fmla="*/ 1386840 h 3813301"/>
                      <a:gd name="connsiteX33" fmla="*/ 553720 w 5115438"/>
                      <a:gd name="connsiteY33" fmla="*/ 1427480 h 3813301"/>
                      <a:gd name="connsiteX34" fmla="*/ 599440 w 5115438"/>
                      <a:gd name="connsiteY34" fmla="*/ 1427480 h 3813301"/>
                      <a:gd name="connsiteX35" fmla="*/ 599440 w 5115438"/>
                      <a:gd name="connsiteY35" fmla="*/ 1493520 h 3813301"/>
                      <a:gd name="connsiteX36" fmla="*/ 650240 w 5115438"/>
                      <a:gd name="connsiteY36" fmla="*/ 1493520 h 3813301"/>
                      <a:gd name="connsiteX37" fmla="*/ 650240 w 5115438"/>
                      <a:gd name="connsiteY37" fmla="*/ 1539240 h 3813301"/>
                      <a:gd name="connsiteX38" fmla="*/ 695960 w 5115438"/>
                      <a:gd name="connsiteY38" fmla="*/ 1539240 h 3813301"/>
                      <a:gd name="connsiteX39" fmla="*/ 695960 w 5115438"/>
                      <a:gd name="connsiteY39" fmla="*/ 1635760 h 3813301"/>
                      <a:gd name="connsiteX40" fmla="*/ 731520 w 5115438"/>
                      <a:gd name="connsiteY40" fmla="*/ 1635760 h 3813301"/>
                      <a:gd name="connsiteX41" fmla="*/ 731520 w 5115438"/>
                      <a:gd name="connsiteY41" fmla="*/ 1706880 h 3813301"/>
                      <a:gd name="connsiteX42" fmla="*/ 762000 w 5115438"/>
                      <a:gd name="connsiteY42" fmla="*/ 1706880 h 3813301"/>
                      <a:gd name="connsiteX43" fmla="*/ 762000 w 5115438"/>
                      <a:gd name="connsiteY43" fmla="*/ 1803400 h 3813301"/>
                      <a:gd name="connsiteX44" fmla="*/ 797560 w 5115438"/>
                      <a:gd name="connsiteY44" fmla="*/ 1803400 h 3813301"/>
                      <a:gd name="connsiteX45" fmla="*/ 797560 w 5115438"/>
                      <a:gd name="connsiteY45" fmla="*/ 1854200 h 3813301"/>
                      <a:gd name="connsiteX46" fmla="*/ 853440 w 5115438"/>
                      <a:gd name="connsiteY46" fmla="*/ 1854200 h 3813301"/>
                      <a:gd name="connsiteX47" fmla="*/ 853440 w 5115438"/>
                      <a:gd name="connsiteY47" fmla="*/ 1940560 h 3813301"/>
                      <a:gd name="connsiteX48" fmla="*/ 894080 w 5115438"/>
                      <a:gd name="connsiteY48" fmla="*/ 1940560 h 3813301"/>
                      <a:gd name="connsiteX49" fmla="*/ 894080 w 5115438"/>
                      <a:gd name="connsiteY49" fmla="*/ 2011680 h 3813301"/>
                      <a:gd name="connsiteX50" fmla="*/ 939800 w 5115438"/>
                      <a:gd name="connsiteY50" fmla="*/ 2011680 h 3813301"/>
                      <a:gd name="connsiteX51" fmla="*/ 939800 w 5115438"/>
                      <a:gd name="connsiteY51" fmla="*/ 2062480 h 3813301"/>
                      <a:gd name="connsiteX52" fmla="*/ 1000760 w 5115438"/>
                      <a:gd name="connsiteY52" fmla="*/ 2062480 h 3813301"/>
                      <a:gd name="connsiteX53" fmla="*/ 1000760 w 5115438"/>
                      <a:gd name="connsiteY53" fmla="*/ 2128520 h 3813301"/>
                      <a:gd name="connsiteX54" fmla="*/ 1000760 w 5115438"/>
                      <a:gd name="connsiteY54" fmla="*/ 2128520 h 3813301"/>
                      <a:gd name="connsiteX55" fmla="*/ 1000760 w 5115438"/>
                      <a:gd name="connsiteY55" fmla="*/ 2214880 h 3813301"/>
                      <a:gd name="connsiteX56" fmla="*/ 1051560 w 5115438"/>
                      <a:gd name="connsiteY56" fmla="*/ 2214880 h 3813301"/>
                      <a:gd name="connsiteX57" fmla="*/ 1051560 w 5115438"/>
                      <a:gd name="connsiteY57" fmla="*/ 2235200 h 3813301"/>
                      <a:gd name="connsiteX58" fmla="*/ 1097280 w 5115438"/>
                      <a:gd name="connsiteY58" fmla="*/ 2235200 h 3813301"/>
                      <a:gd name="connsiteX59" fmla="*/ 1097280 w 5115438"/>
                      <a:gd name="connsiteY59" fmla="*/ 2235200 h 3813301"/>
                      <a:gd name="connsiteX60" fmla="*/ 1132840 w 5115438"/>
                      <a:gd name="connsiteY60" fmla="*/ 2270760 h 3813301"/>
                      <a:gd name="connsiteX61" fmla="*/ 1132840 w 5115438"/>
                      <a:gd name="connsiteY61" fmla="*/ 2341880 h 3813301"/>
                      <a:gd name="connsiteX62" fmla="*/ 1188720 w 5115438"/>
                      <a:gd name="connsiteY62" fmla="*/ 2341880 h 3813301"/>
                      <a:gd name="connsiteX63" fmla="*/ 1188720 w 5115438"/>
                      <a:gd name="connsiteY63" fmla="*/ 2377440 h 3813301"/>
                      <a:gd name="connsiteX64" fmla="*/ 1244600 w 5115438"/>
                      <a:gd name="connsiteY64" fmla="*/ 2377440 h 3813301"/>
                      <a:gd name="connsiteX65" fmla="*/ 1244600 w 5115438"/>
                      <a:gd name="connsiteY65" fmla="*/ 2377440 h 3813301"/>
                      <a:gd name="connsiteX66" fmla="*/ 1290320 w 5115438"/>
                      <a:gd name="connsiteY66" fmla="*/ 2377440 h 3813301"/>
                      <a:gd name="connsiteX67" fmla="*/ 1290320 w 5115438"/>
                      <a:gd name="connsiteY67" fmla="*/ 2479040 h 3813301"/>
                      <a:gd name="connsiteX68" fmla="*/ 1351280 w 5115438"/>
                      <a:gd name="connsiteY68" fmla="*/ 2479040 h 3813301"/>
                      <a:gd name="connsiteX69" fmla="*/ 1351280 w 5115438"/>
                      <a:gd name="connsiteY69" fmla="*/ 2540000 h 3813301"/>
                      <a:gd name="connsiteX70" fmla="*/ 1422400 w 5115438"/>
                      <a:gd name="connsiteY70" fmla="*/ 2540000 h 3813301"/>
                      <a:gd name="connsiteX71" fmla="*/ 1422400 w 5115438"/>
                      <a:gd name="connsiteY71" fmla="*/ 2600960 h 3813301"/>
                      <a:gd name="connsiteX72" fmla="*/ 1549400 w 5115438"/>
                      <a:gd name="connsiteY72" fmla="*/ 2600960 h 3813301"/>
                      <a:gd name="connsiteX73" fmla="*/ 1549400 w 5115438"/>
                      <a:gd name="connsiteY73" fmla="*/ 2651760 h 3813301"/>
                      <a:gd name="connsiteX74" fmla="*/ 1615440 w 5115438"/>
                      <a:gd name="connsiteY74" fmla="*/ 2651760 h 3813301"/>
                      <a:gd name="connsiteX75" fmla="*/ 1615440 w 5115438"/>
                      <a:gd name="connsiteY75" fmla="*/ 2687320 h 3813301"/>
                      <a:gd name="connsiteX76" fmla="*/ 1661160 w 5115438"/>
                      <a:gd name="connsiteY76" fmla="*/ 2687320 h 3813301"/>
                      <a:gd name="connsiteX77" fmla="*/ 1661160 w 5115438"/>
                      <a:gd name="connsiteY77" fmla="*/ 2748280 h 3813301"/>
                      <a:gd name="connsiteX78" fmla="*/ 1681480 w 5115438"/>
                      <a:gd name="connsiteY78" fmla="*/ 2768600 h 3813301"/>
                      <a:gd name="connsiteX79" fmla="*/ 1681480 w 5115438"/>
                      <a:gd name="connsiteY79" fmla="*/ 2834640 h 3813301"/>
                      <a:gd name="connsiteX80" fmla="*/ 1711960 w 5115438"/>
                      <a:gd name="connsiteY80" fmla="*/ 2834640 h 3813301"/>
                      <a:gd name="connsiteX81" fmla="*/ 1711960 w 5115438"/>
                      <a:gd name="connsiteY81" fmla="*/ 2880360 h 3813301"/>
                      <a:gd name="connsiteX82" fmla="*/ 1788160 w 5115438"/>
                      <a:gd name="connsiteY82" fmla="*/ 2880360 h 3813301"/>
                      <a:gd name="connsiteX83" fmla="*/ 1788160 w 5115438"/>
                      <a:gd name="connsiteY83" fmla="*/ 2910840 h 3813301"/>
                      <a:gd name="connsiteX84" fmla="*/ 1823720 w 5115438"/>
                      <a:gd name="connsiteY84" fmla="*/ 2910840 h 3813301"/>
                      <a:gd name="connsiteX85" fmla="*/ 1823720 w 5115438"/>
                      <a:gd name="connsiteY85" fmla="*/ 2961640 h 3813301"/>
                      <a:gd name="connsiteX86" fmla="*/ 1879600 w 5115438"/>
                      <a:gd name="connsiteY86" fmla="*/ 2961640 h 3813301"/>
                      <a:gd name="connsiteX87" fmla="*/ 1879600 w 5115438"/>
                      <a:gd name="connsiteY87" fmla="*/ 2997200 h 3813301"/>
                      <a:gd name="connsiteX88" fmla="*/ 1940560 w 5115438"/>
                      <a:gd name="connsiteY88" fmla="*/ 2997200 h 3813301"/>
                      <a:gd name="connsiteX89" fmla="*/ 1940560 w 5115438"/>
                      <a:gd name="connsiteY89" fmla="*/ 3068320 h 3813301"/>
                      <a:gd name="connsiteX90" fmla="*/ 2108200 w 5115438"/>
                      <a:gd name="connsiteY90" fmla="*/ 3068320 h 3813301"/>
                      <a:gd name="connsiteX91" fmla="*/ 2108200 w 5115438"/>
                      <a:gd name="connsiteY91" fmla="*/ 3068320 h 3813301"/>
                      <a:gd name="connsiteX92" fmla="*/ 2119508 w 5115438"/>
                      <a:gd name="connsiteY92" fmla="*/ 3094916 h 3813301"/>
                      <a:gd name="connsiteX93" fmla="*/ 2336800 w 5115438"/>
                      <a:gd name="connsiteY93" fmla="*/ 3094990 h 3813301"/>
                      <a:gd name="connsiteX94" fmla="*/ 2336800 w 5115438"/>
                      <a:gd name="connsiteY94" fmla="*/ 3134360 h 3813301"/>
                      <a:gd name="connsiteX95" fmla="*/ 2468880 w 5115438"/>
                      <a:gd name="connsiteY95" fmla="*/ 3134360 h 3813301"/>
                      <a:gd name="connsiteX96" fmla="*/ 2468880 w 5115438"/>
                      <a:gd name="connsiteY96" fmla="*/ 3180080 h 3813301"/>
                      <a:gd name="connsiteX97" fmla="*/ 2697480 w 5115438"/>
                      <a:gd name="connsiteY97" fmla="*/ 3180080 h 3813301"/>
                      <a:gd name="connsiteX98" fmla="*/ 2697480 w 5115438"/>
                      <a:gd name="connsiteY98" fmla="*/ 3230880 h 3813301"/>
                      <a:gd name="connsiteX99" fmla="*/ 2768600 w 5115438"/>
                      <a:gd name="connsiteY99" fmla="*/ 3230880 h 3813301"/>
                      <a:gd name="connsiteX100" fmla="*/ 2768600 w 5115438"/>
                      <a:gd name="connsiteY100" fmla="*/ 3251200 h 3813301"/>
                      <a:gd name="connsiteX101" fmla="*/ 3007360 w 5115438"/>
                      <a:gd name="connsiteY101" fmla="*/ 3251200 h 3813301"/>
                      <a:gd name="connsiteX102" fmla="*/ 3007360 w 5115438"/>
                      <a:gd name="connsiteY102" fmla="*/ 3296920 h 3813301"/>
                      <a:gd name="connsiteX103" fmla="*/ 3053080 w 5115438"/>
                      <a:gd name="connsiteY103" fmla="*/ 3296920 h 3813301"/>
                      <a:gd name="connsiteX104" fmla="*/ 3053080 w 5115438"/>
                      <a:gd name="connsiteY104" fmla="*/ 3347720 h 3813301"/>
                      <a:gd name="connsiteX105" fmla="*/ 3078480 w 5115438"/>
                      <a:gd name="connsiteY105" fmla="*/ 3347720 h 3813301"/>
                      <a:gd name="connsiteX106" fmla="*/ 3078480 w 5115438"/>
                      <a:gd name="connsiteY106" fmla="*/ 3393440 h 3813301"/>
                      <a:gd name="connsiteX107" fmla="*/ 3256280 w 5115438"/>
                      <a:gd name="connsiteY107" fmla="*/ 3393440 h 3813301"/>
                      <a:gd name="connsiteX108" fmla="*/ 3256280 w 5115438"/>
                      <a:gd name="connsiteY108" fmla="*/ 3439160 h 3813301"/>
                      <a:gd name="connsiteX109" fmla="*/ 3700780 w 5115438"/>
                      <a:gd name="connsiteY109" fmla="*/ 3436620 h 3813301"/>
                      <a:gd name="connsiteX110" fmla="*/ 3705740 w 5115438"/>
                      <a:gd name="connsiteY110" fmla="*/ 3524177 h 3813301"/>
                      <a:gd name="connsiteX111" fmla="*/ 3969900 w 5115438"/>
                      <a:gd name="connsiteY111" fmla="*/ 3521637 h 3813301"/>
                      <a:gd name="connsiteX112" fmla="*/ 3969899 w 5115438"/>
                      <a:gd name="connsiteY112" fmla="*/ 3610537 h 3813301"/>
                      <a:gd name="connsiteX113" fmla="*/ 4028319 w 5115438"/>
                      <a:gd name="connsiteY113" fmla="*/ 3613077 h 3813301"/>
                      <a:gd name="connsiteX114" fmla="*/ 4030859 w 5115438"/>
                      <a:gd name="connsiteY114" fmla="*/ 3701976 h 3813301"/>
                      <a:gd name="connsiteX115" fmla="*/ 4185799 w 5115438"/>
                      <a:gd name="connsiteY115" fmla="*/ 3709596 h 3813301"/>
                      <a:gd name="connsiteX116" fmla="*/ 4198499 w 5115438"/>
                      <a:gd name="connsiteY116" fmla="*/ 3803576 h 3813301"/>
                      <a:gd name="connsiteX117" fmla="*/ 5115438 w 5115438"/>
                      <a:gd name="connsiteY117" fmla="*/ 3811196 h 3813301"/>
                      <a:gd name="connsiteX0" fmla="*/ 0 w 5115438"/>
                      <a:gd name="connsiteY0" fmla="*/ 0 h 3816298"/>
                      <a:gd name="connsiteX1" fmla="*/ 0 w 5115438"/>
                      <a:gd name="connsiteY1" fmla="*/ 116840 h 3816298"/>
                      <a:gd name="connsiteX2" fmla="*/ 66040 w 5115438"/>
                      <a:gd name="connsiteY2" fmla="*/ 116840 h 3816298"/>
                      <a:gd name="connsiteX3" fmla="*/ 66040 w 5115438"/>
                      <a:gd name="connsiteY3" fmla="*/ 218440 h 3816298"/>
                      <a:gd name="connsiteX4" fmla="*/ 137160 w 5115438"/>
                      <a:gd name="connsiteY4" fmla="*/ 218440 h 3816298"/>
                      <a:gd name="connsiteX5" fmla="*/ 137160 w 5115438"/>
                      <a:gd name="connsiteY5" fmla="*/ 294640 h 3816298"/>
                      <a:gd name="connsiteX6" fmla="*/ 147320 w 5115438"/>
                      <a:gd name="connsiteY6" fmla="*/ 294640 h 3816298"/>
                      <a:gd name="connsiteX7" fmla="*/ 147320 w 5115438"/>
                      <a:gd name="connsiteY7" fmla="*/ 421640 h 3816298"/>
                      <a:gd name="connsiteX8" fmla="*/ 198120 w 5115438"/>
                      <a:gd name="connsiteY8" fmla="*/ 421640 h 3816298"/>
                      <a:gd name="connsiteX9" fmla="*/ 198120 w 5115438"/>
                      <a:gd name="connsiteY9" fmla="*/ 543560 h 3816298"/>
                      <a:gd name="connsiteX10" fmla="*/ 198120 w 5115438"/>
                      <a:gd name="connsiteY10" fmla="*/ 543560 h 3816298"/>
                      <a:gd name="connsiteX11" fmla="*/ 243840 w 5115438"/>
                      <a:gd name="connsiteY11" fmla="*/ 589280 h 3816298"/>
                      <a:gd name="connsiteX12" fmla="*/ 259080 w 5115438"/>
                      <a:gd name="connsiteY12" fmla="*/ 604520 h 3816298"/>
                      <a:gd name="connsiteX13" fmla="*/ 259080 w 5115438"/>
                      <a:gd name="connsiteY13" fmla="*/ 665480 h 3816298"/>
                      <a:gd name="connsiteX14" fmla="*/ 294640 w 5115438"/>
                      <a:gd name="connsiteY14" fmla="*/ 665480 h 3816298"/>
                      <a:gd name="connsiteX15" fmla="*/ 294640 w 5115438"/>
                      <a:gd name="connsiteY15" fmla="*/ 716280 h 3816298"/>
                      <a:gd name="connsiteX16" fmla="*/ 320040 w 5115438"/>
                      <a:gd name="connsiteY16" fmla="*/ 716280 h 3816298"/>
                      <a:gd name="connsiteX17" fmla="*/ 320040 w 5115438"/>
                      <a:gd name="connsiteY17" fmla="*/ 792480 h 3816298"/>
                      <a:gd name="connsiteX18" fmla="*/ 335280 w 5115438"/>
                      <a:gd name="connsiteY18" fmla="*/ 792480 h 3816298"/>
                      <a:gd name="connsiteX19" fmla="*/ 335280 w 5115438"/>
                      <a:gd name="connsiteY19" fmla="*/ 889000 h 3816298"/>
                      <a:gd name="connsiteX20" fmla="*/ 375920 w 5115438"/>
                      <a:gd name="connsiteY20" fmla="*/ 889000 h 3816298"/>
                      <a:gd name="connsiteX21" fmla="*/ 375920 w 5115438"/>
                      <a:gd name="connsiteY21" fmla="*/ 949960 h 3816298"/>
                      <a:gd name="connsiteX22" fmla="*/ 375920 w 5115438"/>
                      <a:gd name="connsiteY22" fmla="*/ 949960 h 3816298"/>
                      <a:gd name="connsiteX23" fmla="*/ 416560 w 5115438"/>
                      <a:gd name="connsiteY23" fmla="*/ 949960 h 3816298"/>
                      <a:gd name="connsiteX24" fmla="*/ 416560 w 5115438"/>
                      <a:gd name="connsiteY24" fmla="*/ 1026160 h 3816298"/>
                      <a:gd name="connsiteX25" fmla="*/ 441960 w 5115438"/>
                      <a:gd name="connsiteY25" fmla="*/ 1026160 h 3816298"/>
                      <a:gd name="connsiteX26" fmla="*/ 441960 w 5115438"/>
                      <a:gd name="connsiteY26" fmla="*/ 1092200 h 3816298"/>
                      <a:gd name="connsiteX27" fmla="*/ 472440 w 5115438"/>
                      <a:gd name="connsiteY27" fmla="*/ 1092200 h 3816298"/>
                      <a:gd name="connsiteX28" fmla="*/ 472440 w 5115438"/>
                      <a:gd name="connsiteY28" fmla="*/ 1214120 h 3816298"/>
                      <a:gd name="connsiteX29" fmla="*/ 492760 w 5115438"/>
                      <a:gd name="connsiteY29" fmla="*/ 1234440 h 3816298"/>
                      <a:gd name="connsiteX30" fmla="*/ 492760 w 5115438"/>
                      <a:gd name="connsiteY30" fmla="*/ 1285240 h 3816298"/>
                      <a:gd name="connsiteX31" fmla="*/ 553720 w 5115438"/>
                      <a:gd name="connsiteY31" fmla="*/ 1285240 h 3816298"/>
                      <a:gd name="connsiteX32" fmla="*/ 553720 w 5115438"/>
                      <a:gd name="connsiteY32" fmla="*/ 1386840 h 3816298"/>
                      <a:gd name="connsiteX33" fmla="*/ 553720 w 5115438"/>
                      <a:gd name="connsiteY33" fmla="*/ 1427480 h 3816298"/>
                      <a:gd name="connsiteX34" fmla="*/ 599440 w 5115438"/>
                      <a:gd name="connsiteY34" fmla="*/ 1427480 h 3816298"/>
                      <a:gd name="connsiteX35" fmla="*/ 599440 w 5115438"/>
                      <a:gd name="connsiteY35" fmla="*/ 1493520 h 3816298"/>
                      <a:gd name="connsiteX36" fmla="*/ 650240 w 5115438"/>
                      <a:gd name="connsiteY36" fmla="*/ 1493520 h 3816298"/>
                      <a:gd name="connsiteX37" fmla="*/ 650240 w 5115438"/>
                      <a:gd name="connsiteY37" fmla="*/ 1539240 h 3816298"/>
                      <a:gd name="connsiteX38" fmla="*/ 695960 w 5115438"/>
                      <a:gd name="connsiteY38" fmla="*/ 1539240 h 3816298"/>
                      <a:gd name="connsiteX39" fmla="*/ 695960 w 5115438"/>
                      <a:gd name="connsiteY39" fmla="*/ 1635760 h 3816298"/>
                      <a:gd name="connsiteX40" fmla="*/ 731520 w 5115438"/>
                      <a:gd name="connsiteY40" fmla="*/ 1635760 h 3816298"/>
                      <a:gd name="connsiteX41" fmla="*/ 731520 w 5115438"/>
                      <a:gd name="connsiteY41" fmla="*/ 1706880 h 3816298"/>
                      <a:gd name="connsiteX42" fmla="*/ 762000 w 5115438"/>
                      <a:gd name="connsiteY42" fmla="*/ 1706880 h 3816298"/>
                      <a:gd name="connsiteX43" fmla="*/ 762000 w 5115438"/>
                      <a:gd name="connsiteY43" fmla="*/ 1803400 h 3816298"/>
                      <a:gd name="connsiteX44" fmla="*/ 797560 w 5115438"/>
                      <a:gd name="connsiteY44" fmla="*/ 1803400 h 3816298"/>
                      <a:gd name="connsiteX45" fmla="*/ 797560 w 5115438"/>
                      <a:gd name="connsiteY45" fmla="*/ 1854200 h 3816298"/>
                      <a:gd name="connsiteX46" fmla="*/ 853440 w 5115438"/>
                      <a:gd name="connsiteY46" fmla="*/ 1854200 h 3816298"/>
                      <a:gd name="connsiteX47" fmla="*/ 853440 w 5115438"/>
                      <a:gd name="connsiteY47" fmla="*/ 1940560 h 3816298"/>
                      <a:gd name="connsiteX48" fmla="*/ 894080 w 5115438"/>
                      <a:gd name="connsiteY48" fmla="*/ 1940560 h 3816298"/>
                      <a:gd name="connsiteX49" fmla="*/ 894080 w 5115438"/>
                      <a:gd name="connsiteY49" fmla="*/ 2011680 h 3816298"/>
                      <a:gd name="connsiteX50" fmla="*/ 939800 w 5115438"/>
                      <a:gd name="connsiteY50" fmla="*/ 2011680 h 3816298"/>
                      <a:gd name="connsiteX51" fmla="*/ 939800 w 5115438"/>
                      <a:gd name="connsiteY51" fmla="*/ 2062480 h 3816298"/>
                      <a:gd name="connsiteX52" fmla="*/ 1000760 w 5115438"/>
                      <a:gd name="connsiteY52" fmla="*/ 2062480 h 3816298"/>
                      <a:gd name="connsiteX53" fmla="*/ 1000760 w 5115438"/>
                      <a:gd name="connsiteY53" fmla="*/ 2128520 h 3816298"/>
                      <a:gd name="connsiteX54" fmla="*/ 1000760 w 5115438"/>
                      <a:gd name="connsiteY54" fmla="*/ 2128520 h 3816298"/>
                      <a:gd name="connsiteX55" fmla="*/ 1000760 w 5115438"/>
                      <a:gd name="connsiteY55" fmla="*/ 2214880 h 3816298"/>
                      <a:gd name="connsiteX56" fmla="*/ 1051560 w 5115438"/>
                      <a:gd name="connsiteY56" fmla="*/ 2214880 h 3816298"/>
                      <a:gd name="connsiteX57" fmla="*/ 1051560 w 5115438"/>
                      <a:gd name="connsiteY57" fmla="*/ 2235200 h 3816298"/>
                      <a:gd name="connsiteX58" fmla="*/ 1097280 w 5115438"/>
                      <a:gd name="connsiteY58" fmla="*/ 2235200 h 3816298"/>
                      <a:gd name="connsiteX59" fmla="*/ 1097280 w 5115438"/>
                      <a:gd name="connsiteY59" fmla="*/ 2235200 h 3816298"/>
                      <a:gd name="connsiteX60" fmla="*/ 1132840 w 5115438"/>
                      <a:gd name="connsiteY60" fmla="*/ 2270760 h 3816298"/>
                      <a:gd name="connsiteX61" fmla="*/ 1132840 w 5115438"/>
                      <a:gd name="connsiteY61" fmla="*/ 2341880 h 3816298"/>
                      <a:gd name="connsiteX62" fmla="*/ 1188720 w 5115438"/>
                      <a:gd name="connsiteY62" fmla="*/ 2341880 h 3816298"/>
                      <a:gd name="connsiteX63" fmla="*/ 1188720 w 5115438"/>
                      <a:gd name="connsiteY63" fmla="*/ 2377440 h 3816298"/>
                      <a:gd name="connsiteX64" fmla="*/ 1244600 w 5115438"/>
                      <a:gd name="connsiteY64" fmla="*/ 2377440 h 3816298"/>
                      <a:gd name="connsiteX65" fmla="*/ 1244600 w 5115438"/>
                      <a:gd name="connsiteY65" fmla="*/ 2377440 h 3816298"/>
                      <a:gd name="connsiteX66" fmla="*/ 1290320 w 5115438"/>
                      <a:gd name="connsiteY66" fmla="*/ 2377440 h 3816298"/>
                      <a:gd name="connsiteX67" fmla="*/ 1290320 w 5115438"/>
                      <a:gd name="connsiteY67" fmla="*/ 2479040 h 3816298"/>
                      <a:gd name="connsiteX68" fmla="*/ 1351280 w 5115438"/>
                      <a:gd name="connsiteY68" fmla="*/ 2479040 h 3816298"/>
                      <a:gd name="connsiteX69" fmla="*/ 1351280 w 5115438"/>
                      <a:gd name="connsiteY69" fmla="*/ 2540000 h 3816298"/>
                      <a:gd name="connsiteX70" fmla="*/ 1422400 w 5115438"/>
                      <a:gd name="connsiteY70" fmla="*/ 2540000 h 3816298"/>
                      <a:gd name="connsiteX71" fmla="*/ 1422400 w 5115438"/>
                      <a:gd name="connsiteY71" fmla="*/ 2600960 h 3816298"/>
                      <a:gd name="connsiteX72" fmla="*/ 1549400 w 5115438"/>
                      <a:gd name="connsiteY72" fmla="*/ 2600960 h 3816298"/>
                      <a:gd name="connsiteX73" fmla="*/ 1549400 w 5115438"/>
                      <a:gd name="connsiteY73" fmla="*/ 2651760 h 3816298"/>
                      <a:gd name="connsiteX74" fmla="*/ 1615440 w 5115438"/>
                      <a:gd name="connsiteY74" fmla="*/ 2651760 h 3816298"/>
                      <a:gd name="connsiteX75" fmla="*/ 1615440 w 5115438"/>
                      <a:gd name="connsiteY75" fmla="*/ 2687320 h 3816298"/>
                      <a:gd name="connsiteX76" fmla="*/ 1661160 w 5115438"/>
                      <a:gd name="connsiteY76" fmla="*/ 2687320 h 3816298"/>
                      <a:gd name="connsiteX77" fmla="*/ 1661160 w 5115438"/>
                      <a:gd name="connsiteY77" fmla="*/ 2748280 h 3816298"/>
                      <a:gd name="connsiteX78" fmla="*/ 1681480 w 5115438"/>
                      <a:gd name="connsiteY78" fmla="*/ 2768600 h 3816298"/>
                      <a:gd name="connsiteX79" fmla="*/ 1681480 w 5115438"/>
                      <a:gd name="connsiteY79" fmla="*/ 2834640 h 3816298"/>
                      <a:gd name="connsiteX80" fmla="*/ 1711960 w 5115438"/>
                      <a:gd name="connsiteY80" fmla="*/ 2834640 h 3816298"/>
                      <a:gd name="connsiteX81" fmla="*/ 1711960 w 5115438"/>
                      <a:gd name="connsiteY81" fmla="*/ 2880360 h 3816298"/>
                      <a:gd name="connsiteX82" fmla="*/ 1788160 w 5115438"/>
                      <a:gd name="connsiteY82" fmla="*/ 2880360 h 3816298"/>
                      <a:gd name="connsiteX83" fmla="*/ 1788160 w 5115438"/>
                      <a:gd name="connsiteY83" fmla="*/ 2910840 h 3816298"/>
                      <a:gd name="connsiteX84" fmla="*/ 1823720 w 5115438"/>
                      <a:gd name="connsiteY84" fmla="*/ 2910840 h 3816298"/>
                      <a:gd name="connsiteX85" fmla="*/ 1823720 w 5115438"/>
                      <a:gd name="connsiteY85" fmla="*/ 2961640 h 3816298"/>
                      <a:gd name="connsiteX86" fmla="*/ 1879600 w 5115438"/>
                      <a:gd name="connsiteY86" fmla="*/ 2961640 h 3816298"/>
                      <a:gd name="connsiteX87" fmla="*/ 1879600 w 5115438"/>
                      <a:gd name="connsiteY87" fmla="*/ 2997200 h 3816298"/>
                      <a:gd name="connsiteX88" fmla="*/ 1940560 w 5115438"/>
                      <a:gd name="connsiteY88" fmla="*/ 2997200 h 3816298"/>
                      <a:gd name="connsiteX89" fmla="*/ 1940560 w 5115438"/>
                      <a:gd name="connsiteY89" fmla="*/ 3068320 h 3816298"/>
                      <a:gd name="connsiteX90" fmla="*/ 2108200 w 5115438"/>
                      <a:gd name="connsiteY90" fmla="*/ 3068320 h 3816298"/>
                      <a:gd name="connsiteX91" fmla="*/ 2108200 w 5115438"/>
                      <a:gd name="connsiteY91" fmla="*/ 3068320 h 3816298"/>
                      <a:gd name="connsiteX92" fmla="*/ 2119508 w 5115438"/>
                      <a:gd name="connsiteY92" fmla="*/ 3094916 h 3816298"/>
                      <a:gd name="connsiteX93" fmla="*/ 2336800 w 5115438"/>
                      <a:gd name="connsiteY93" fmla="*/ 3094990 h 3816298"/>
                      <a:gd name="connsiteX94" fmla="*/ 2336800 w 5115438"/>
                      <a:gd name="connsiteY94" fmla="*/ 3134360 h 3816298"/>
                      <a:gd name="connsiteX95" fmla="*/ 2468880 w 5115438"/>
                      <a:gd name="connsiteY95" fmla="*/ 3134360 h 3816298"/>
                      <a:gd name="connsiteX96" fmla="*/ 2468880 w 5115438"/>
                      <a:gd name="connsiteY96" fmla="*/ 3180080 h 3816298"/>
                      <a:gd name="connsiteX97" fmla="*/ 2697480 w 5115438"/>
                      <a:gd name="connsiteY97" fmla="*/ 3180080 h 3816298"/>
                      <a:gd name="connsiteX98" fmla="*/ 2697480 w 5115438"/>
                      <a:gd name="connsiteY98" fmla="*/ 3230880 h 3816298"/>
                      <a:gd name="connsiteX99" fmla="*/ 2768600 w 5115438"/>
                      <a:gd name="connsiteY99" fmla="*/ 3230880 h 3816298"/>
                      <a:gd name="connsiteX100" fmla="*/ 2768600 w 5115438"/>
                      <a:gd name="connsiteY100" fmla="*/ 3251200 h 3816298"/>
                      <a:gd name="connsiteX101" fmla="*/ 3007360 w 5115438"/>
                      <a:gd name="connsiteY101" fmla="*/ 3251200 h 3816298"/>
                      <a:gd name="connsiteX102" fmla="*/ 3007360 w 5115438"/>
                      <a:gd name="connsiteY102" fmla="*/ 3296920 h 3816298"/>
                      <a:gd name="connsiteX103" fmla="*/ 3053080 w 5115438"/>
                      <a:gd name="connsiteY103" fmla="*/ 3296920 h 3816298"/>
                      <a:gd name="connsiteX104" fmla="*/ 3053080 w 5115438"/>
                      <a:gd name="connsiteY104" fmla="*/ 3347720 h 3816298"/>
                      <a:gd name="connsiteX105" fmla="*/ 3078480 w 5115438"/>
                      <a:gd name="connsiteY105" fmla="*/ 3347720 h 3816298"/>
                      <a:gd name="connsiteX106" fmla="*/ 3078480 w 5115438"/>
                      <a:gd name="connsiteY106" fmla="*/ 3393440 h 3816298"/>
                      <a:gd name="connsiteX107" fmla="*/ 3256280 w 5115438"/>
                      <a:gd name="connsiteY107" fmla="*/ 3393440 h 3816298"/>
                      <a:gd name="connsiteX108" fmla="*/ 3256280 w 5115438"/>
                      <a:gd name="connsiteY108" fmla="*/ 3439160 h 3816298"/>
                      <a:gd name="connsiteX109" fmla="*/ 3700780 w 5115438"/>
                      <a:gd name="connsiteY109" fmla="*/ 3436620 h 3816298"/>
                      <a:gd name="connsiteX110" fmla="*/ 3705740 w 5115438"/>
                      <a:gd name="connsiteY110" fmla="*/ 3524177 h 3816298"/>
                      <a:gd name="connsiteX111" fmla="*/ 3969900 w 5115438"/>
                      <a:gd name="connsiteY111" fmla="*/ 3521637 h 3816298"/>
                      <a:gd name="connsiteX112" fmla="*/ 3969899 w 5115438"/>
                      <a:gd name="connsiteY112" fmla="*/ 3610537 h 3816298"/>
                      <a:gd name="connsiteX113" fmla="*/ 4028319 w 5115438"/>
                      <a:gd name="connsiteY113" fmla="*/ 3613077 h 3816298"/>
                      <a:gd name="connsiteX114" fmla="*/ 4030859 w 5115438"/>
                      <a:gd name="connsiteY114" fmla="*/ 3701976 h 3816298"/>
                      <a:gd name="connsiteX115" fmla="*/ 4185799 w 5115438"/>
                      <a:gd name="connsiteY115" fmla="*/ 3709596 h 3816298"/>
                      <a:gd name="connsiteX116" fmla="*/ 4193419 w 5115438"/>
                      <a:gd name="connsiteY116" fmla="*/ 3808656 h 3816298"/>
                      <a:gd name="connsiteX117" fmla="*/ 5115438 w 5115438"/>
                      <a:gd name="connsiteY117" fmla="*/ 3811196 h 3816298"/>
                      <a:gd name="connsiteX0" fmla="*/ 0 w 5115438"/>
                      <a:gd name="connsiteY0" fmla="*/ 0 h 3816298"/>
                      <a:gd name="connsiteX1" fmla="*/ 0 w 5115438"/>
                      <a:gd name="connsiteY1" fmla="*/ 116840 h 3816298"/>
                      <a:gd name="connsiteX2" fmla="*/ 66040 w 5115438"/>
                      <a:gd name="connsiteY2" fmla="*/ 116840 h 3816298"/>
                      <a:gd name="connsiteX3" fmla="*/ 66040 w 5115438"/>
                      <a:gd name="connsiteY3" fmla="*/ 218440 h 3816298"/>
                      <a:gd name="connsiteX4" fmla="*/ 137160 w 5115438"/>
                      <a:gd name="connsiteY4" fmla="*/ 218440 h 3816298"/>
                      <a:gd name="connsiteX5" fmla="*/ 137160 w 5115438"/>
                      <a:gd name="connsiteY5" fmla="*/ 294640 h 3816298"/>
                      <a:gd name="connsiteX6" fmla="*/ 147320 w 5115438"/>
                      <a:gd name="connsiteY6" fmla="*/ 294640 h 3816298"/>
                      <a:gd name="connsiteX7" fmla="*/ 147320 w 5115438"/>
                      <a:gd name="connsiteY7" fmla="*/ 421640 h 3816298"/>
                      <a:gd name="connsiteX8" fmla="*/ 198120 w 5115438"/>
                      <a:gd name="connsiteY8" fmla="*/ 421640 h 3816298"/>
                      <a:gd name="connsiteX9" fmla="*/ 198120 w 5115438"/>
                      <a:gd name="connsiteY9" fmla="*/ 543560 h 3816298"/>
                      <a:gd name="connsiteX10" fmla="*/ 198120 w 5115438"/>
                      <a:gd name="connsiteY10" fmla="*/ 543560 h 3816298"/>
                      <a:gd name="connsiteX11" fmla="*/ 243840 w 5115438"/>
                      <a:gd name="connsiteY11" fmla="*/ 589280 h 3816298"/>
                      <a:gd name="connsiteX12" fmla="*/ 259080 w 5115438"/>
                      <a:gd name="connsiteY12" fmla="*/ 604520 h 3816298"/>
                      <a:gd name="connsiteX13" fmla="*/ 259080 w 5115438"/>
                      <a:gd name="connsiteY13" fmla="*/ 665480 h 3816298"/>
                      <a:gd name="connsiteX14" fmla="*/ 294640 w 5115438"/>
                      <a:gd name="connsiteY14" fmla="*/ 665480 h 3816298"/>
                      <a:gd name="connsiteX15" fmla="*/ 294640 w 5115438"/>
                      <a:gd name="connsiteY15" fmla="*/ 716280 h 3816298"/>
                      <a:gd name="connsiteX16" fmla="*/ 320040 w 5115438"/>
                      <a:gd name="connsiteY16" fmla="*/ 716280 h 3816298"/>
                      <a:gd name="connsiteX17" fmla="*/ 320040 w 5115438"/>
                      <a:gd name="connsiteY17" fmla="*/ 792480 h 3816298"/>
                      <a:gd name="connsiteX18" fmla="*/ 335280 w 5115438"/>
                      <a:gd name="connsiteY18" fmla="*/ 792480 h 3816298"/>
                      <a:gd name="connsiteX19" fmla="*/ 335280 w 5115438"/>
                      <a:gd name="connsiteY19" fmla="*/ 889000 h 3816298"/>
                      <a:gd name="connsiteX20" fmla="*/ 375920 w 5115438"/>
                      <a:gd name="connsiteY20" fmla="*/ 889000 h 3816298"/>
                      <a:gd name="connsiteX21" fmla="*/ 375920 w 5115438"/>
                      <a:gd name="connsiteY21" fmla="*/ 949960 h 3816298"/>
                      <a:gd name="connsiteX22" fmla="*/ 375920 w 5115438"/>
                      <a:gd name="connsiteY22" fmla="*/ 949960 h 3816298"/>
                      <a:gd name="connsiteX23" fmla="*/ 416560 w 5115438"/>
                      <a:gd name="connsiteY23" fmla="*/ 949960 h 3816298"/>
                      <a:gd name="connsiteX24" fmla="*/ 416560 w 5115438"/>
                      <a:gd name="connsiteY24" fmla="*/ 1026160 h 3816298"/>
                      <a:gd name="connsiteX25" fmla="*/ 441960 w 5115438"/>
                      <a:gd name="connsiteY25" fmla="*/ 1026160 h 3816298"/>
                      <a:gd name="connsiteX26" fmla="*/ 441960 w 5115438"/>
                      <a:gd name="connsiteY26" fmla="*/ 1092200 h 3816298"/>
                      <a:gd name="connsiteX27" fmla="*/ 472440 w 5115438"/>
                      <a:gd name="connsiteY27" fmla="*/ 1092200 h 3816298"/>
                      <a:gd name="connsiteX28" fmla="*/ 472440 w 5115438"/>
                      <a:gd name="connsiteY28" fmla="*/ 1214120 h 3816298"/>
                      <a:gd name="connsiteX29" fmla="*/ 492760 w 5115438"/>
                      <a:gd name="connsiteY29" fmla="*/ 1234440 h 3816298"/>
                      <a:gd name="connsiteX30" fmla="*/ 492760 w 5115438"/>
                      <a:gd name="connsiteY30" fmla="*/ 1285240 h 3816298"/>
                      <a:gd name="connsiteX31" fmla="*/ 553720 w 5115438"/>
                      <a:gd name="connsiteY31" fmla="*/ 1285240 h 3816298"/>
                      <a:gd name="connsiteX32" fmla="*/ 553720 w 5115438"/>
                      <a:gd name="connsiteY32" fmla="*/ 1386840 h 3816298"/>
                      <a:gd name="connsiteX33" fmla="*/ 553720 w 5115438"/>
                      <a:gd name="connsiteY33" fmla="*/ 1427480 h 3816298"/>
                      <a:gd name="connsiteX34" fmla="*/ 599440 w 5115438"/>
                      <a:gd name="connsiteY34" fmla="*/ 1427480 h 3816298"/>
                      <a:gd name="connsiteX35" fmla="*/ 599440 w 5115438"/>
                      <a:gd name="connsiteY35" fmla="*/ 1493520 h 3816298"/>
                      <a:gd name="connsiteX36" fmla="*/ 650240 w 5115438"/>
                      <a:gd name="connsiteY36" fmla="*/ 1493520 h 3816298"/>
                      <a:gd name="connsiteX37" fmla="*/ 650240 w 5115438"/>
                      <a:gd name="connsiteY37" fmla="*/ 1539240 h 3816298"/>
                      <a:gd name="connsiteX38" fmla="*/ 695960 w 5115438"/>
                      <a:gd name="connsiteY38" fmla="*/ 1539240 h 3816298"/>
                      <a:gd name="connsiteX39" fmla="*/ 695960 w 5115438"/>
                      <a:gd name="connsiteY39" fmla="*/ 1635760 h 3816298"/>
                      <a:gd name="connsiteX40" fmla="*/ 731520 w 5115438"/>
                      <a:gd name="connsiteY40" fmla="*/ 1635760 h 3816298"/>
                      <a:gd name="connsiteX41" fmla="*/ 731520 w 5115438"/>
                      <a:gd name="connsiteY41" fmla="*/ 1706880 h 3816298"/>
                      <a:gd name="connsiteX42" fmla="*/ 762000 w 5115438"/>
                      <a:gd name="connsiteY42" fmla="*/ 1706880 h 3816298"/>
                      <a:gd name="connsiteX43" fmla="*/ 762000 w 5115438"/>
                      <a:gd name="connsiteY43" fmla="*/ 1803400 h 3816298"/>
                      <a:gd name="connsiteX44" fmla="*/ 797560 w 5115438"/>
                      <a:gd name="connsiteY44" fmla="*/ 1803400 h 3816298"/>
                      <a:gd name="connsiteX45" fmla="*/ 797560 w 5115438"/>
                      <a:gd name="connsiteY45" fmla="*/ 1854200 h 3816298"/>
                      <a:gd name="connsiteX46" fmla="*/ 853440 w 5115438"/>
                      <a:gd name="connsiteY46" fmla="*/ 1854200 h 3816298"/>
                      <a:gd name="connsiteX47" fmla="*/ 853440 w 5115438"/>
                      <a:gd name="connsiteY47" fmla="*/ 1940560 h 3816298"/>
                      <a:gd name="connsiteX48" fmla="*/ 894080 w 5115438"/>
                      <a:gd name="connsiteY48" fmla="*/ 1940560 h 3816298"/>
                      <a:gd name="connsiteX49" fmla="*/ 894080 w 5115438"/>
                      <a:gd name="connsiteY49" fmla="*/ 2011680 h 3816298"/>
                      <a:gd name="connsiteX50" fmla="*/ 939800 w 5115438"/>
                      <a:gd name="connsiteY50" fmla="*/ 2011680 h 3816298"/>
                      <a:gd name="connsiteX51" fmla="*/ 939800 w 5115438"/>
                      <a:gd name="connsiteY51" fmla="*/ 2062480 h 3816298"/>
                      <a:gd name="connsiteX52" fmla="*/ 1000760 w 5115438"/>
                      <a:gd name="connsiteY52" fmla="*/ 2062480 h 3816298"/>
                      <a:gd name="connsiteX53" fmla="*/ 1000760 w 5115438"/>
                      <a:gd name="connsiteY53" fmla="*/ 2128520 h 3816298"/>
                      <a:gd name="connsiteX54" fmla="*/ 1000760 w 5115438"/>
                      <a:gd name="connsiteY54" fmla="*/ 2128520 h 3816298"/>
                      <a:gd name="connsiteX55" fmla="*/ 1000760 w 5115438"/>
                      <a:gd name="connsiteY55" fmla="*/ 2214880 h 3816298"/>
                      <a:gd name="connsiteX56" fmla="*/ 1051560 w 5115438"/>
                      <a:gd name="connsiteY56" fmla="*/ 2214880 h 3816298"/>
                      <a:gd name="connsiteX57" fmla="*/ 1051560 w 5115438"/>
                      <a:gd name="connsiteY57" fmla="*/ 2235200 h 3816298"/>
                      <a:gd name="connsiteX58" fmla="*/ 1097280 w 5115438"/>
                      <a:gd name="connsiteY58" fmla="*/ 2235200 h 3816298"/>
                      <a:gd name="connsiteX59" fmla="*/ 1097280 w 5115438"/>
                      <a:gd name="connsiteY59" fmla="*/ 2235200 h 3816298"/>
                      <a:gd name="connsiteX60" fmla="*/ 1132840 w 5115438"/>
                      <a:gd name="connsiteY60" fmla="*/ 2270760 h 3816298"/>
                      <a:gd name="connsiteX61" fmla="*/ 1132840 w 5115438"/>
                      <a:gd name="connsiteY61" fmla="*/ 2341880 h 3816298"/>
                      <a:gd name="connsiteX62" fmla="*/ 1188720 w 5115438"/>
                      <a:gd name="connsiteY62" fmla="*/ 2341880 h 3816298"/>
                      <a:gd name="connsiteX63" fmla="*/ 1188720 w 5115438"/>
                      <a:gd name="connsiteY63" fmla="*/ 2377440 h 3816298"/>
                      <a:gd name="connsiteX64" fmla="*/ 1244600 w 5115438"/>
                      <a:gd name="connsiteY64" fmla="*/ 2377440 h 3816298"/>
                      <a:gd name="connsiteX65" fmla="*/ 1244600 w 5115438"/>
                      <a:gd name="connsiteY65" fmla="*/ 2377440 h 3816298"/>
                      <a:gd name="connsiteX66" fmla="*/ 1290320 w 5115438"/>
                      <a:gd name="connsiteY66" fmla="*/ 2377440 h 3816298"/>
                      <a:gd name="connsiteX67" fmla="*/ 1290320 w 5115438"/>
                      <a:gd name="connsiteY67" fmla="*/ 2479040 h 3816298"/>
                      <a:gd name="connsiteX68" fmla="*/ 1351280 w 5115438"/>
                      <a:gd name="connsiteY68" fmla="*/ 2479040 h 3816298"/>
                      <a:gd name="connsiteX69" fmla="*/ 1351280 w 5115438"/>
                      <a:gd name="connsiteY69" fmla="*/ 2540000 h 3816298"/>
                      <a:gd name="connsiteX70" fmla="*/ 1422400 w 5115438"/>
                      <a:gd name="connsiteY70" fmla="*/ 2540000 h 3816298"/>
                      <a:gd name="connsiteX71" fmla="*/ 1422400 w 5115438"/>
                      <a:gd name="connsiteY71" fmla="*/ 2600960 h 3816298"/>
                      <a:gd name="connsiteX72" fmla="*/ 1549400 w 5115438"/>
                      <a:gd name="connsiteY72" fmla="*/ 2600960 h 3816298"/>
                      <a:gd name="connsiteX73" fmla="*/ 1549400 w 5115438"/>
                      <a:gd name="connsiteY73" fmla="*/ 2651760 h 3816298"/>
                      <a:gd name="connsiteX74" fmla="*/ 1615440 w 5115438"/>
                      <a:gd name="connsiteY74" fmla="*/ 2651760 h 3816298"/>
                      <a:gd name="connsiteX75" fmla="*/ 1615440 w 5115438"/>
                      <a:gd name="connsiteY75" fmla="*/ 2687320 h 3816298"/>
                      <a:gd name="connsiteX76" fmla="*/ 1661160 w 5115438"/>
                      <a:gd name="connsiteY76" fmla="*/ 2687320 h 3816298"/>
                      <a:gd name="connsiteX77" fmla="*/ 1661160 w 5115438"/>
                      <a:gd name="connsiteY77" fmla="*/ 2748280 h 3816298"/>
                      <a:gd name="connsiteX78" fmla="*/ 1681480 w 5115438"/>
                      <a:gd name="connsiteY78" fmla="*/ 2768600 h 3816298"/>
                      <a:gd name="connsiteX79" fmla="*/ 1681480 w 5115438"/>
                      <a:gd name="connsiteY79" fmla="*/ 2834640 h 3816298"/>
                      <a:gd name="connsiteX80" fmla="*/ 1711960 w 5115438"/>
                      <a:gd name="connsiteY80" fmla="*/ 2834640 h 3816298"/>
                      <a:gd name="connsiteX81" fmla="*/ 1711960 w 5115438"/>
                      <a:gd name="connsiteY81" fmla="*/ 2880360 h 3816298"/>
                      <a:gd name="connsiteX82" fmla="*/ 1788160 w 5115438"/>
                      <a:gd name="connsiteY82" fmla="*/ 2880360 h 3816298"/>
                      <a:gd name="connsiteX83" fmla="*/ 1788160 w 5115438"/>
                      <a:gd name="connsiteY83" fmla="*/ 2910840 h 3816298"/>
                      <a:gd name="connsiteX84" fmla="*/ 1823720 w 5115438"/>
                      <a:gd name="connsiteY84" fmla="*/ 2910840 h 3816298"/>
                      <a:gd name="connsiteX85" fmla="*/ 1823720 w 5115438"/>
                      <a:gd name="connsiteY85" fmla="*/ 2961640 h 3816298"/>
                      <a:gd name="connsiteX86" fmla="*/ 1879600 w 5115438"/>
                      <a:gd name="connsiteY86" fmla="*/ 2961640 h 3816298"/>
                      <a:gd name="connsiteX87" fmla="*/ 1879600 w 5115438"/>
                      <a:gd name="connsiteY87" fmla="*/ 2997200 h 3816298"/>
                      <a:gd name="connsiteX88" fmla="*/ 1940560 w 5115438"/>
                      <a:gd name="connsiteY88" fmla="*/ 2997200 h 3816298"/>
                      <a:gd name="connsiteX89" fmla="*/ 1940560 w 5115438"/>
                      <a:gd name="connsiteY89" fmla="*/ 3068320 h 3816298"/>
                      <a:gd name="connsiteX90" fmla="*/ 2108200 w 5115438"/>
                      <a:gd name="connsiteY90" fmla="*/ 3068320 h 3816298"/>
                      <a:gd name="connsiteX91" fmla="*/ 2108200 w 5115438"/>
                      <a:gd name="connsiteY91" fmla="*/ 3068320 h 3816298"/>
                      <a:gd name="connsiteX92" fmla="*/ 2119508 w 5115438"/>
                      <a:gd name="connsiteY92" fmla="*/ 3094916 h 3816298"/>
                      <a:gd name="connsiteX93" fmla="*/ 2336800 w 5115438"/>
                      <a:gd name="connsiteY93" fmla="*/ 3094990 h 3816298"/>
                      <a:gd name="connsiteX94" fmla="*/ 2336800 w 5115438"/>
                      <a:gd name="connsiteY94" fmla="*/ 3134360 h 3816298"/>
                      <a:gd name="connsiteX95" fmla="*/ 2468880 w 5115438"/>
                      <a:gd name="connsiteY95" fmla="*/ 3134360 h 3816298"/>
                      <a:gd name="connsiteX96" fmla="*/ 2468880 w 5115438"/>
                      <a:gd name="connsiteY96" fmla="*/ 3180080 h 3816298"/>
                      <a:gd name="connsiteX97" fmla="*/ 2697480 w 5115438"/>
                      <a:gd name="connsiteY97" fmla="*/ 3180080 h 3816298"/>
                      <a:gd name="connsiteX98" fmla="*/ 2697480 w 5115438"/>
                      <a:gd name="connsiteY98" fmla="*/ 3230880 h 3816298"/>
                      <a:gd name="connsiteX99" fmla="*/ 2768600 w 5115438"/>
                      <a:gd name="connsiteY99" fmla="*/ 3230880 h 3816298"/>
                      <a:gd name="connsiteX100" fmla="*/ 2768600 w 5115438"/>
                      <a:gd name="connsiteY100" fmla="*/ 3251200 h 3816298"/>
                      <a:gd name="connsiteX101" fmla="*/ 3007360 w 5115438"/>
                      <a:gd name="connsiteY101" fmla="*/ 3251200 h 3816298"/>
                      <a:gd name="connsiteX102" fmla="*/ 3007360 w 5115438"/>
                      <a:gd name="connsiteY102" fmla="*/ 3296920 h 3816298"/>
                      <a:gd name="connsiteX103" fmla="*/ 3053080 w 5115438"/>
                      <a:gd name="connsiteY103" fmla="*/ 3296920 h 3816298"/>
                      <a:gd name="connsiteX104" fmla="*/ 3053080 w 5115438"/>
                      <a:gd name="connsiteY104" fmla="*/ 3347720 h 3816298"/>
                      <a:gd name="connsiteX105" fmla="*/ 3078480 w 5115438"/>
                      <a:gd name="connsiteY105" fmla="*/ 3347720 h 3816298"/>
                      <a:gd name="connsiteX106" fmla="*/ 3078480 w 5115438"/>
                      <a:gd name="connsiteY106" fmla="*/ 3393440 h 3816298"/>
                      <a:gd name="connsiteX107" fmla="*/ 3256280 w 5115438"/>
                      <a:gd name="connsiteY107" fmla="*/ 3393440 h 3816298"/>
                      <a:gd name="connsiteX108" fmla="*/ 3256280 w 5115438"/>
                      <a:gd name="connsiteY108" fmla="*/ 3439160 h 3816298"/>
                      <a:gd name="connsiteX109" fmla="*/ 3700780 w 5115438"/>
                      <a:gd name="connsiteY109" fmla="*/ 3436620 h 3816298"/>
                      <a:gd name="connsiteX110" fmla="*/ 3705740 w 5115438"/>
                      <a:gd name="connsiteY110" fmla="*/ 3524177 h 3816298"/>
                      <a:gd name="connsiteX111" fmla="*/ 3969900 w 5115438"/>
                      <a:gd name="connsiteY111" fmla="*/ 3521637 h 3816298"/>
                      <a:gd name="connsiteX112" fmla="*/ 3969899 w 5115438"/>
                      <a:gd name="connsiteY112" fmla="*/ 3610537 h 3816298"/>
                      <a:gd name="connsiteX113" fmla="*/ 4028319 w 5115438"/>
                      <a:gd name="connsiteY113" fmla="*/ 3613077 h 3816298"/>
                      <a:gd name="connsiteX114" fmla="*/ 4030859 w 5115438"/>
                      <a:gd name="connsiteY114" fmla="*/ 3701976 h 3816298"/>
                      <a:gd name="connsiteX115" fmla="*/ 4185799 w 5115438"/>
                      <a:gd name="connsiteY115" fmla="*/ 3709596 h 3816298"/>
                      <a:gd name="connsiteX116" fmla="*/ 4193419 w 5115438"/>
                      <a:gd name="connsiteY116" fmla="*/ 3808656 h 3816298"/>
                      <a:gd name="connsiteX117" fmla="*/ 5115438 w 5115438"/>
                      <a:gd name="connsiteY117" fmla="*/ 3811196 h 3816298"/>
                      <a:gd name="connsiteX0" fmla="*/ 0 w 5115438"/>
                      <a:gd name="connsiteY0" fmla="*/ 0 h 3816298"/>
                      <a:gd name="connsiteX1" fmla="*/ 0 w 5115438"/>
                      <a:gd name="connsiteY1" fmla="*/ 116840 h 3816298"/>
                      <a:gd name="connsiteX2" fmla="*/ 66040 w 5115438"/>
                      <a:gd name="connsiteY2" fmla="*/ 116840 h 3816298"/>
                      <a:gd name="connsiteX3" fmla="*/ 66040 w 5115438"/>
                      <a:gd name="connsiteY3" fmla="*/ 218440 h 3816298"/>
                      <a:gd name="connsiteX4" fmla="*/ 137160 w 5115438"/>
                      <a:gd name="connsiteY4" fmla="*/ 218440 h 3816298"/>
                      <a:gd name="connsiteX5" fmla="*/ 137160 w 5115438"/>
                      <a:gd name="connsiteY5" fmla="*/ 294640 h 3816298"/>
                      <a:gd name="connsiteX6" fmla="*/ 147320 w 5115438"/>
                      <a:gd name="connsiteY6" fmla="*/ 294640 h 3816298"/>
                      <a:gd name="connsiteX7" fmla="*/ 147320 w 5115438"/>
                      <a:gd name="connsiteY7" fmla="*/ 421640 h 3816298"/>
                      <a:gd name="connsiteX8" fmla="*/ 198120 w 5115438"/>
                      <a:gd name="connsiteY8" fmla="*/ 421640 h 3816298"/>
                      <a:gd name="connsiteX9" fmla="*/ 198120 w 5115438"/>
                      <a:gd name="connsiteY9" fmla="*/ 543560 h 3816298"/>
                      <a:gd name="connsiteX10" fmla="*/ 198120 w 5115438"/>
                      <a:gd name="connsiteY10" fmla="*/ 543560 h 3816298"/>
                      <a:gd name="connsiteX11" fmla="*/ 243840 w 5115438"/>
                      <a:gd name="connsiteY11" fmla="*/ 589280 h 3816298"/>
                      <a:gd name="connsiteX12" fmla="*/ 259080 w 5115438"/>
                      <a:gd name="connsiteY12" fmla="*/ 604520 h 3816298"/>
                      <a:gd name="connsiteX13" fmla="*/ 259080 w 5115438"/>
                      <a:gd name="connsiteY13" fmla="*/ 665480 h 3816298"/>
                      <a:gd name="connsiteX14" fmla="*/ 294640 w 5115438"/>
                      <a:gd name="connsiteY14" fmla="*/ 665480 h 3816298"/>
                      <a:gd name="connsiteX15" fmla="*/ 294640 w 5115438"/>
                      <a:gd name="connsiteY15" fmla="*/ 716280 h 3816298"/>
                      <a:gd name="connsiteX16" fmla="*/ 320040 w 5115438"/>
                      <a:gd name="connsiteY16" fmla="*/ 716280 h 3816298"/>
                      <a:gd name="connsiteX17" fmla="*/ 320040 w 5115438"/>
                      <a:gd name="connsiteY17" fmla="*/ 792480 h 3816298"/>
                      <a:gd name="connsiteX18" fmla="*/ 335280 w 5115438"/>
                      <a:gd name="connsiteY18" fmla="*/ 792480 h 3816298"/>
                      <a:gd name="connsiteX19" fmla="*/ 335280 w 5115438"/>
                      <a:gd name="connsiteY19" fmla="*/ 889000 h 3816298"/>
                      <a:gd name="connsiteX20" fmla="*/ 375920 w 5115438"/>
                      <a:gd name="connsiteY20" fmla="*/ 889000 h 3816298"/>
                      <a:gd name="connsiteX21" fmla="*/ 375920 w 5115438"/>
                      <a:gd name="connsiteY21" fmla="*/ 949960 h 3816298"/>
                      <a:gd name="connsiteX22" fmla="*/ 375920 w 5115438"/>
                      <a:gd name="connsiteY22" fmla="*/ 949960 h 3816298"/>
                      <a:gd name="connsiteX23" fmla="*/ 416560 w 5115438"/>
                      <a:gd name="connsiteY23" fmla="*/ 949960 h 3816298"/>
                      <a:gd name="connsiteX24" fmla="*/ 416560 w 5115438"/>
                      <a:gd name="connsiteY24" fmla="*/ 1026160 h 3816298"/>
                      <a:gd name="connsiteX25" fmla="*/ 441960 w 5115438"/>
                      <a:gd name="connsiteY25" fmla="*/ 1026160 h 3816298"/>
                      <a:gd name="connsiteX26" fmla="*/ 441960 w 5115438"/>
                      <a:gd name="connsiteY26" fmla="*/ 1092200 h 3816298"/>
                      <a:gd name="connsiteX27" fmla="*/ 472440 w 5115438"/>
                      <a:gd name="connsiteY27" fmla="*/ 1092200 h 3816298"/>
                      <a:gd name="connsiteX28" fmla="*/ 472440 w 5115438"/>
                      <a:gd name="connsiteY28" fmla="*/ 1214120 h 3816298"/>
                      <a:gd name="connsiteX29" fmla="*/ 492760 w 5115438"/>
                      <a:gd name="connsiteY29" fmla="*/ 1234440 h 3816298"/>
                      <a:gd name="connsiteX30" fmla="*/ 492760 w 5115438"/>
                      <a:gd name="connsiteY30" fmla="*/ 1285240 h 3816298"/>
                      <a:gd name="connsiteX31" fmla="*/ 553720 w 5115438"/>
                      <a:gd name="connsiteY31" fmla="*/ 1285240 h 3816298"/>
                      <a:gd name="connsiteX32" fmla="*/ 553720 w 5115438"/>
                      <a:gd name="connsiteY32" fmla="*/ 1386840 h 3816298"/>
                      <a:gd name="connsiteX33" fmla="*/ 553720 w 5115438"/>
                      <a:gd name="connsiteY33" fmla="*/ 1427480 h 3816298"/>
                      <a:gd name="connsiteX34" fmla="*/ 599440 w 5115438"/>
                      <a:gd name="connsiteY34" fmla="*/ 1427480 h 3816298"/>
                      <a:gd name="connsiteX35" fmla="*/ 599440 w 5115438"/>
                      <a:gd name="connsiteY35" fmla="*/ 1493520 h 3816298"/>
                      <a:gd name="connsiteX36" fmla="*/ 650240 w 5115438"/>
                      <a:gd name="connsiteY36" fmla="*/ 1493520 h 3816298"/>
                      <a:gd name="connsiteX37" fmla="*/ 650240 w 5115438"/>
                      <a:gd name="connsiteY37" fmla="*/ 1539240 h 3816298"/>
                      <a:gd name="connsiteX38" fmla="*/ 695960 w 5115438"/>
                      <a:gd name="connsiteY38" fmla="*/ 1539240 h 3816298"/>
                      <a:gd name="connsiteX39" fmla="*/ 695960 w 5115438"/>
                      <a:gd name="connsiteY39" fmla="*/ 1635760 h 3816298"/>
                      <a:gd name="connsiteX40" fmla="*/ 731520 w 5115438"/>
                      <a:gd name="connsiteY40" fmla="*/ 1635760 h 3816298"/>
                      <a:gd name="connsiteX41" fmla="*/ 731520 w 5115438"/>
                      <a:gd name="connsiteY41" fmla="*/ 1706880 h 3816298"/>
                      <a:gd name="connsiteX42" fmla="*/ 762000 w 5115438"/>
                      <a:gd name="connsiteY42" fmla="*/ 1706880 h 3816298"/>
                      <a:gd name="connsiteX43" fmla="*/ 762000 w 5115438"/>
                      <a:gd name="connsiteY43" fmla="*/ 1803400 h 3816298"/>
                      <a:gd name="connsiteX44" fmla="*/ 797560 w 5115438"/>
                      <a:gd name="connsiteY44" fmla="*/ 1803400 h 3816298"/>
                      <a:gd name="connsiteX45" fmla="*/ 797560 w 5115438"/>
                      <a:gd name="connsiteY45" fmla="*/ 1854200 h 3816298"/>
                      <a:gd name="connsiteX46" fmla="*/ 853440 w 5115438"/>
                      <a:gd name="connsiteY46" fmla="*/ 1854200 h 3816298"/>
                      <a:gd name="connsiteX47" fmla="*/ 853440 w 5115438"/>
                      <a:gd name="connsiteY47" fmla="*/ 1940560 h 3816298"/>
                      <a:gd name="connsiteX48" fmla="*/ 894080 w 5115438"/>
                      <a:gd name="connsiteY48" fmla="*/ 1940560 h 3816298"/>
                      <a:gd name="connsiteX49" fmla="*/ 894080 w 5115438"/>
                      <a:gd name="connsiteY49" fmla="*/ 2011680 h 3816298"/>
                      <a:gd name="connsiteX50" fmla="*/ 939800 w 5115438"/>
                      <a:gd name="connsiteY50" fmla="*/ 2011680 h 3816298"/>
                      <a:gd name="connsiteX51" fmla="*/ 939800 w 5115438"/>
                      <a:gd name="connsiteY51" fmla="*/ 2062480 h 3816298"/>
                      <a:gd name="connsiteX52" fmla="*/ 1000760 w 5115438"/>
                      <a:gd name="connsiteY52" fmla="*/ 2062480 h 3816298"/>
                      <a:gd name="connsiteX53" fmla="*/ 1000760 w 5115438"/>
                      <a:gd name="connsiteY53" fmla="*/ 2128520 h 3816298"/>
                      <a:gd name="connsiteX54" fmla="*/ 1000760 w 5115438"/>
                      <a:gd name="connsiteY54" fmla="*/ 2128520 h 3816298"/>
                      <a:gd name="connsiteX55" fmla="*/ 1000760 w 5115438"/>
                      <a:gd name="connsiteY55" fmla="*/ 2214880 h 3816298"/>
                      <a:gd name="connsiteX56" fmla="*/ 1051560 w 5115438"/>
                      <a:gd name="connsiteY56" fmla="*/ 2214880 h 3816298"/>
                      <a:gd name="connsiteX57" fmla="*/ 1051560 w 5115438"/>
                      <a:gd name="connsiteY57" fmla="*/ 2235200 h 3816298"/>
                      <a:gd name="connsiteX58" fmla="*/ 1097280 w 5115438"/>
                      <a:gd name="connsiteY58" fmla="*/ 2235200 h 3816298"/>
                      <a:gd name="connsiteX59" fmla="*/ 1097280 w 5115438"/>
                      <a:gd name="connsiteY59" fmla="*/ 2235200 h 3816298"/>
                      <a:gd name="connsiteX60" fmla="*/ 1132840 w 5115438"/>
                      <a:gd name="connsiteY60" fmla="*/ 2270760 h 3816298"/>
                      <a:gd name="connsiteX61" fmla="*/ 1132840 w 5115438"/>
                      <a:gd name="connsiteY61" fmla="*/ 2341880 h 3816298"/>
                      <a:gd name="connsiteX62" fmla="*/ 1188720 w 5115438"/>
                      <a:gd name="connsiteY62" fmla="*/ 2341880 h 3816298"/>
                      <a:gd name="connsiteX63" fmla="*/ 1188720 w 5115438"/>
                      <a:gd name="connsiteY63" fmla="*/ 2377440 h 3816298"/>
                      <a:gd name="connsiteX64" fmla="*/ 1244600 w 5115438"/>
                      <a:gd name="connsiteY64" fmla="*/ 2377440 h 3816298"/>
                      <a:gd name="connsiteX65" fmla="*/ 1244600 w 5115438"/>
                      <a:gd name="connsiteY65" fmla="*/ 2377440 h 3816298"/>
                      <a:gd name="connsiteX66" fmla="*/ 1290320 w 5115438"/>
                      <a:gd name="connsiteY66" fmla="*/ 2377440 h 3816298"/>
                      <a:gd name="connsiteX67" fmla="*/ 1290320 w 5115438"/>
                      <a:gd name="connsiteY67" fmla="*/ 2479040 h 3816298"/>
                      <a:gd name="connsiteX68" fmla="*/ 1351280 w 5115438"/>
                      <a:gd name="connsiteY68" fmla="*/ 2479040 h 3816298"/>
                      <a:gd name="connsiteX69" fmla="*/ 1351280 w 5115438"/>
                      <a:gd name="connsiteY69" fmla="*/ 2540000 h 3816298"/>
                      <a:gd name="connsiteX70" fmla="*/ 1422400 w 5115438"/>
                      <a:gd name="connsiteY70" fmla="*/ 2540000 h 3816298"/>
                      <a:gd name="connsiteX71" fmla="*/ 1422400 w 5115438"/>
                      <a:gd name="connsiteY71" fmla="*/ 2600960 h 3816298"/>
                      <a:gd name="connsiteX72" fmla="*/ 1549400 w 5115438"/>
                      <a:gd name="connsiteY72" fmla="*/ 2600960 h 3816298"/>
                      <a:gd name="connsiteX73" fmla="*/ 1549400 w 5115438"/>
                      <a:gd name="connsiteY73" fmla="*/ 2651760 h 3816298"/>
                      <a:gd name="connsiteX74" fmla="*/ 1615440 w 5115438"/>
                      <a:gd name="connsiteY74" fmla="*/ 2651760 h 3816298"/>
                      <a:gd name="connsiteX75" fmla="*/ 1615440 w 5115438"/>
                      <a:gd name="connsiteY75" fmla="*/ 2687320 h 3816298"/>
                      <a:gd name="connsiteX76" fmla="*/ 1661160 w 5115438"/>
                      <a:gd name="connsiteY76" fmla="*/ 2687320 h 3816298"/>
                      <a:gd name="connsiteX77" fmla="*/ 1661160 w 5115438"/>
                      <a:gd name="connsiteY77" fmla="*/ 2748280 h 3816298"/>
                      <a:gd name="connsiteX78" fmla="*/ 1681480 w 5115438"/>
                      <a:gd name="connsiteY78" fmla="*/ 2768600 h 3816298"/>
                      <a:gd name="connsiteX79" fmla="*/ 1681480 w 5115438"/>
                      <a:gd name="connsiteY79" fmla="*/ 2834640 h 3816298"/>
                      <a:gd name="connsiteX80" fmla="*/ 1711960 w 5115438"/>
                      <a:gd name="connsiteY80" fmla="*/ 2834640 h 3816298"/>
                      <a:gd name="connsiteX81" fmla="*/ 1711960 w 5115438"/>
                      <a:gd name="connsiteY81" fmla="*/ 2880360 h 3816298"/>
                      <a:gd name="connsiteX82" fmla="*/ 1788160 w 5115438"/>
                      <a:gd name="connsiteY82" fmla="*/ 2880360 h 3816298"/>
                      <a:gd name="connsiteX83" fmla="*/ 1788160 w 5115438"/>
                      <a:gd name="connsiteY83" fmla="*/ 2910840 h 3816298"/>
                      <a:gd name="connsiteX84" fmla="*/ 1823720 w 5115438"/>
                      <a:gd name="connsiteY84" fmla="*/ 2910840 h 3816298"/>
                      <a:gd name="connsiteX85" fmla="*/ 1823720 w 5115438"/>
                      <a:gd name="connsiteY85" fmla="*/ 2961640 h 3816298"/>
                      <a:gd name="connsiteX86" fmla="*/ 1879600 w 5115438"/>
                      <a:gd name="connsiteY86" fmla="*/ 2961640 h 3816298"/>
                      <a:gd name="connsiteX87" fmla="*/ 1879600 w 5115438"/>
                      <a:gd name="connsiteY87" fmla="*/ 2997200 h 3816298"/>
                      <a:gd name="connsiteX88" fmla="*/ 1940560 w 5115438"/>
                      <a:gd name="connsiteY88" fmla="*/ 2997200 h 3816298"/>
                      <a:gd name="connsiteX89" fmla="*/ 1940560 w 5115438"/>
                      <a:gd name="connsiteY89" fmla="*/ 3068320 h 3816298"/>
                      <a:gd name="connsiteX90" fmla="*/ 2108200 w 5115438"/>
                      <a:gd name="connsiteY90" fmla="*/ 3068320 h 3816298"/>
                      <a:gd name="connsiteX91" fmla="*/ 2108200 w 5115438"/>
                      <a:gd name="connsiteY91" fmla="*/ 3068320 h 3816298"/>
                      <a:gd name="connsiteX92" fmla="*/ 2119508 w 5115438"/>
                      <a:gd name="connsiteY92" fmla="*/ 3094916 h 3816298"/>
                      <a:gd name="connsiteX93" fmla="*/ 2336800 w 5115438"/>
                      <a:gd name="connsiteY93" fmla="*/ 3094990 h 3816298"/>
                      <a:gd name="connsiteX94" fmla="*/ 2336800 w 5115438"/>
                      <a:gd name="connsiteY94" fmla="*/ 3134360 h 3816298"/>
                      <a:gd name="connsiteX95" fmla="*/ 2468880 w 5115438"/>
                      <a:gd name="connsiteY95" fmla="*/ 3134360 h 3816298"/>
                      <a:gd name="connsiteX96" fmla="*/ 2468880 w 5115438"/>
                      <a:gd name="connsiteY96" fmla="*/ 3180080 h 3816298"/>
                      <a:gd name="connsiteX97" fmla="*/ 2697480 w 5115438"/>
                      <a:gd name="connsiteY97" fmla="*/ 3180080 h 3816298"/>
                      <a:gd name="connsiteX98" fmla="*/ 2697480 w 5115438"/>
                      <a:gd name="connsiteY98" fmla="*/ 3230880 h 3816298"/>
                      <a:gd name="connsiteX99" fmla="*/ 2768600 w 5115438"/>
                      <a:gd name="connsiteY99" fmla="*/ 3230880 h 3816298"/>
                      <a:gd name="connsiteX100" fmla="*/ 2768600 w 5115438"/>
                      <a:gd name="connsiteY100" fmla="*/ 3251200 h 3816298"/>
                      <a:gd name="connsiteX101" fmla="*/ 3007360 w 5115438"/>
                      <a:gd name="connsiteY101" fmla="*/ 3251200 h 3816298"/>
                      <a:gd name="connsiteX102" fmla="*/ 3007360 w 5115438"/>
                      <a:gd name="connsiteY102" fmla="*/ 3296920 h 3816298"/>
                      <a:gd name="connsiteX103" fmla="*/ 3053080 w 5115438"/>
                      <a:gd name="connsiteY103" fmla="*/ 3296920 h 3816298"/>
                      <a:gd name="connsiteX104" fmla="*/ 3053080 w 5115438"/>
                      <a:gd name="connsiteY104" fmla="*/ 3347720 h 3816298"/>
                      <a:gd name="connsiteX105" fmla="*/ 3078480 w 5115438"/>
                      <a:gd name="connsiteY105" fmla="*/ 3347720 h 3816298"/>
                      <a:gd name="connsiteX106" fmla="*/ 3078480 w 5115438"/>
                      <a:gd name="connsiteY106" fmla="*/ 3393440 h 3816298"/>
                      <a:gd name="connsiteX107" fmla="*/ 3256280 w 5115438"/>
                      <a:gd name="connsiteY107" fmla="*/ 3393440 h 3816298"/>
                      <a:gd name="connsiteX108" fmla="*/ 3256280 w 5115438"/>
                      <a:gd name="connsiteY108" fmla="*/ 3439160 h 3816298"/>
                      <a:gd name="connsiteX109" fmla="*/ 3700780 w 5115438"/>
                      <a:gd name="connsiteY109" fmla="*/ 3436620 h 3816298"/>
                      <a:gd name="connsiteX110" fmla="*/ 3705740 w 5115438"/>
                      <a:gd name="connsiteY110" fmla="*/ 3524177 h 3816298"/>
                      <a:gd name="connsiteX111" fmla="*/ 3969900 w 5115438"/>
                      <a:gd name="connsiteY111" fmla="*/ 3521637 h 3816298"/>
                      <a:gd name="connsiteX112" fmla="*/ 3969899 w 5115438"/>
                      <a:gd name="connsiteY112" fmla="*/ 3610537 h 3816298"/>
                      <a:gd name="connsiteX113" fmla="*/ 4028319 w 5115438"/>
                      <a:gd name="connsiteY113" fmla="*/ 3613077 h 3816298"/>
                      <a:gd name="connsiteX114" fmla="*/ 4030859 w 5115438"/>
                      <a:gd name="connsiteY114" fmla="*/ 3701976 h 3816298"/>
                      <a:gd name="connsiteX115" fmla="*/ 4185799 w 5115438"/>
                      <a:gd name="connsiteY115" fmla="*/ 3709596 h 3816298"/>
                      <a:gd name="connsiteX116" fmla="*/ 4193419 w 5115438"/>
                      <a:gd name="connsiteY116" fmla="*/ 3808656 h 3816298"/>
                      <a:gd name="connsiteX117" fmla="*/ 5115438 w 5115438"/>
                      <a:gd name="connsiteY117" fmla="*/ 3811196 h 3816298"/>
                      <a:gd name="connsiteX0" fmla="*/ 0 w 5115438"/>
                      <a:gd name="connsiteY0" fmla="*/ 0 h 3816298"/>
                      <a:gd name="connsiteX1" fmla="*/ 0 w 5115438"/>
                      <a:gd name="connsiteY1" fmla="*/ 116840 h 3816298"/>
                      <a:gd name="connsiteX2" fmla="*/ 66040 w 5115438"/>
                      <a:gd name="connsiteY2" fmla="*/ 116840 h 3816298"/>
                      <a:gd name="connsiteX3" fmla="*/ 66040 w 5115438"/>
                      <a:gd name="connsiteY3" fmla="*/ 218440 h 3816298"/>
                      <a:gd name="connsiteX4" fmla="*/ 137160 w 5115438"/>
                      <a:gd name="connsiteY4" fmla="*/ 218440 h 3816298"/>
                      <a:gd name="connsiteX5" fmla="*/ 137160 w 5115438"/>
                      <a:gd name="connsiteY5" fmla="*/ 294640 h 3816298"/>
                      <a:gd name="connsiteX6" fmla="*/ 147320 w 5115438"/>
                      <a:gd name="connsiteY6" fmla="*/ 294640 h 3816298"/>
                      <a:gd name="connsiteX7" fmla="*/ 147320 w 5115438"/>
                      <a:gd name="connsiteY7" fmla="*/ 421640 h 3816298"/>
                      <a:gd name="connsiteX8" fmla="*/ 198120 w 5115438"/>
                      <a:gd name="connsiteY8" fmla="*/ 421640 h 3816298"/>
                      <a:gd name="connsiteX9" fmla="*/ 198120 w 5115438"/>
                      <a:gd name="connsiteY9" fmla="*/ 543560 h 3816298"/>
                      <a:gd name="connsiteX10" fmla="*/ 198120 w 5115438"/>
                      <a:gd name="connsiteY10" fmla="*/ 543560 h 3816298"/>
                      <a:gd name="connsiteX11" fmla="*/ 243840 w 5115438"/>
                      <a:gd name="connsiteY11" fmla="*/ 589280 h 3816298"/>
                      <a:gd name="connsiteX12" fmla="*/ 259080 w 5115438"/>
                      <a:gd name="connsiteY12" fmla="*/ 604520 h 3816298"/>
                      <a:gd name="connsiteX13" fmla="*/ 259080 w 5115438"/>
                      <a:gd name="connsiteY13" fmla="*/ 665480 h 3816298"/>
                      <a:gd name="connsiteX14" fmla="*/ 294640 w 5115438"/>
                      <a:gd name="connsiteY14" fmla="*/ 665480 h 3816298"/>
                      <a:gd name="connsiteX15" fmla="*/ 294640 w 5115438"/>
                      <a:gd name="connsiteY15" fmla="*/ 716280 h 3816298"/>
                      <a:gd name="connsiteX16" fmla="*/ 320040 w 5115438"/>
                      <a:gd name="connsiteY16" fmla="*/ 716280 h 3816298"/>
                      <a:gd name="connsiteX17" fmla="*/ 320040 w 5115438"/>
                      <a:gd name="connsiteY17" fmla="*/ 792480 h 3816298"/>
                      <a:gd name="connsiteX18" fmla="*/ 335280 w 5115438"/>
                      <a:gd name="connsiteY18" fmla="*/ 792480 h 3816298"/>
                      <a:gd name="connsiteX19" fmla="*/ 335280 w 5115438"/>
                      <a:gd name="connsiteY19" fmla="*/ 889000 h 3816298"/>
                      <a:gd name="connsiteX20" fmla="*/ 375920 w 5115438"/>
                      <a:gd name="connsiteY20" fmla="*/ 889000 h 3816298"/>
                      <a:gd name="connsiteX21" fmla="*/ 375920 w 5115438"/>
                      <a:gd name="connsiteY21" fmla="*/ 949960 h 3816298"/>
                      <a:gd name="connsiteX22" fmla="*/ 375920 w 5115438"/>
                      <a:gd name="connsiteY22" fmla="*/ 949960 h 3816298"/>
                      <a:gd name="connsiteX23" fmla="*/ 416560 w 5115438"/>
                      <a:gd name="connsiteY23" fmla="*/ 949960 h 3816298"/>
                      <a:gd name="connsiteX24" fmla="*/ 416560 w 5115438"/>
                      <a:gd name="connsiteY24" fmla="*/ 1026160 h 3816298"/>
                      <a:gd name="connsiteX25" fmla="*/ 441960 w 5115438"/>
                      <a:gd name="connsiteY25" fmla="*/ 1026160 h 3816298"/>
                      <a:gd name="connsiteX26" fmla="*/ 441960 w 5115438"/>
                      <a:gd name="connsiteY26" fmla="*/ 1092200 h 3816298"/>
                      <a:gd name="connsiteX27" fmla="*/ 472440 w 5115438"/>
                      <a:gd name="connsiteY27" fmla="*/ 1092200 h 3816298"/>
                      <a:gd name="connsiteX28" fmla="*/ 472440 w 5115438"/>
                      <a:gd name="connsiteY28" fmla="*/ 1214120 h 3816298"/>
                      <a:gd name="connsiteX29" fmla="*/ 492760 w 5115438"/>
                      <a:gd name="connsiteY29" fmla="*/ 1234440 h 3816298"/>
                      <a:gd name="connsiteX30" fmla="*/ 492760 w 5115438"/>
                      <a:gd name="connsiteY30" fmla="*/ 1285240 h 3816298"/>
                      <a:gd name="connsiteX31" fmla="*/ 553720 w 5115438"/>
                      <a:gd name="connsiteY31" fmla="*/ 1285240 h 3816298"/>
                      <a:gd name="connsiteX32" fmla="*/ 553720 w 5115438"/>
                      <a:gd name="connsiteY32" fmla="*/ 1386840 h 3816298"/>
                      <a:gd name="connsiteX33" fmla="*/ 553720 w 5115438"/>
                      <a:gd name="connsiteY33" fmla="*/ 1427480 h 3816298"/>
                      <a:gd name="connsiteX34" fmla="*/ 599440 w 5115438"/>
                      <a:gd name="connsiteY34" fmla="*/ 1427480 h 3816298"/>
                      <a:gd name="connsiteX35" fmla="*/ 599440 w 5115438"/>
                      <a:gd name="connsiteY35" fmla="*/ 1493520 h 3816298"/>
                      <a:gd name="connsiteX36" fmla="*/ 650240 w 5115438"/>
                      <a:gd name="connsiteY36" fmla="*/ 1493520 h 3816298"/>
                      <a:gd name="connsiteX37" fmla="*/ 650240 w 5115438"/>
                      <a:gd name="connsiteY37" fmla="*/ 1539240 h 3816298"/>
                      <a:gd name="connsiteX38" fmla="*/ 695960 w 5115438"/>
                      <a:gd name="connsiteY38" fmla="*/ 1539240 h 3816298"/>
                      <a:gd name="connsiteX39" fmla="*/ 695960 w 5115438"/>
                      <a:gd name="connsiteY39" fmla="*/ 1635760 h 3816298"/>
                      <a:gd name="connsiteX40" fmla="*/ 731520 w 5115438"/>
                      <a:gd name="connsiteY40" fmla="*/ 1635760 h 3816298"/>
                      <a:gd name="connsiteX41" fmla="*/ 731520 w 5115438"/>
                      <a:gd name="connsiteY41" fmla="*/ 1706880 h 3816298"/>
                      <a:gd name="connsiteX42" fmla="*/ 762000 w 5115438"/>
                      <a:gd name="connsiteY42" fmla="*/ 1706880 h 3816298"/>
                      <a:gd name="connsiteX43" fmla="*/ 762000 w 5115438"/>
                      <a:gd name="connsiteY43" fmla="*/ 1803400 h 3816298"/>
                      <a:gd name="connsiteX44" fmla="*/ 797560 w 5115438"/>
                      <a:gd name="connsiteY44" fmla="*/ 1803400 h 3816298"/>
                      <a:gd name="connsiteX45" fmla="*/ 797560 w 5115438"/>
                      <a:gd name="connsiteY45" fmla="*/ 1854200 h 3816298"/>
                      <a:gd name="connsiteX46" fmla="*/ 853440 w 5115438"/>
                      <a:gd name="connsiteY46" fmla="*/ 1854200 h 3816298"/>
                      <a:gd name="connsiteX47" fmla="*/ 853440 w 5115438"/>
                      <a:gd name="connsiteY47" fmla="*/ 1940560 h 3816298"/>
                      <a:gd name="connsiteX48" fmla="*/ 894080 w 5115438"/>
                      <a:gd name="connsiteY48" fmla="*/ 1940560 h 3816298"/>
                      <a:gd name="connsiteX49" fmla="*/ 894080 w 5115438"/>
                      <a:gd name="connsiteY49" fmla="*/ 2011680 h 3816298"/>
                      <a:gd name="connsiteX50" fmla="*/ 939800 w 5115438"/>
                      <a:gd name="connsiteY50" fmla="*/ 2011680 h 3816298"/>
                      <a:gd name="connsiteX51" fmla="*/ 939800 w 5115438"/>
                      <a:gd name="connsiteY51" fmla="*/ 2062480 h 3816298"/>
                      <a:gd name="connsiteX52" fmla="*/ 1000760 w 5115438"/>
                      <a:gd name="connsiteY52" fmla="*/ 2062480 h 3816298"/>
                      <a:gd name="connsiteX53" fmla="*/ 1000760 w 5115438"/>
                      <a:gd name="connsiteY53" fmla="*/ 2128520 h 3816298"/>
                      <a:gd name="connsiteX54" fmla="*/ 1000760 w 5115438"/>
                      <a:gd name="connsiteY54" fmla="*/ 2128520 h 3816298"/>
                      <a:gd name="connsiteX55" fmla="*/ 1000760 w 5115438"/>
                      <a:gd name="connsiteY55" fmla="*/ 2214880 h 3816298"/>
                      <a:gd name="connsiteX56" fmla="*/ 1051560 w 5115438"/>
                      <a:gd name="connsiteY56" fmla="*/ 2214880 h 3816298"/>
                      <a:gd name="connsiteX57" fmla="*/ 1051560 w 5115438"/>
                      <a:gd name="connsiteY57" fmla="*/ 2235200 h 3816298"/>
                      <a:gd name="connsiteX58" fmla="*/ 1097280 w 5115438"/>
                      <a:gd name="connsiteY58" fmla="*/ 2235200 h 3816298"/>
                      <a:gd name="connsiteX59" fmla="*/ 1097280 w 5115438"/>
                      <a:gd name="connsiteY59" fmla="*/ 2235200 h 3816298"/>
                      <a:gd name="connsiteX60" fmla="*/ 1132840 w 5115438"/>
                      <a:gd name="connsiteY60" fmla="*/ 2270760 h 3816298"/>
                      <a:gd name="connsiteX61" fmla="*/ 1132840 w 5115438"/>
                      <a:gd name="connsiteY61" fmla="*/ 2341880 h 3816298"/>
                      <a:gd name="connsiteX62" fmla="*/ 1188720 w 5115438"/>
                      <a:gd name="connsiteY62" fmla="*/ 2341880 h 3816298"/>
                      <a:gd name="connsiteX63" fmla="*/ 1188720 w 5115438"/>
                      <a:gd name="connsiteY63" fmla="*/ 2377440 h 3816298"/>
                      <a:gd name="connsiteX64" fmla="*/ 1244600 w 5115438"/>
                      <a:gd name="connsiteY64" fmla="*/ 2377440 h 3816298"/>
                      <a:gd name="connsiteX65" fmla="*/ 1244600 w 5115438"/>
                      <a:gd name="connsiteY65" fmla="*/ 2377440 h 3816298"/>
                      <a:gd name="connsiteX66" fmla="*/ 1290320 w 5115438"/>
                      <a:gd name="connsiteY66" fmla="*/ 2377440 h 3816298"/>
                      <a:gd name="connsiteX67" fmla="*/ 1290320 w 5115438"/>
                      <a:gd name="connsiteY67" fmla="*/ 2479040 h 3816298"/>
                      <a:gd name="connsiteX68" fmla="*/ 1351280 w 5115438"/>
                      <a:gd name="connsiteY68" fmla="*/ 2479040 h 3816298"/>
                      <a:gd name="connsiteX69" fmla="*/ 1351280 w 5115438"/>
                      <a:gd name="connsiteY69" fmla="*/ 2540000 h 3816298"/>
                      <a:gd name="connsiteX70" fmla="*/ 1422400 w 5115438"/>
                      <a:gd name="connsiteY70" fmla="*/ 2540000 h 3816298"/>
                      <a:gd name="connsiteX71" fmla="*/ 1422400 w 5115438"/>
                      <a:gd name="connsiteY71" fmla="*/ 2600960 h 3816298"/>
                      <a:gd name="connsiteX72" fmla="*/ 1549400 w 5115438"/>
                      <a:gd name="connsiteY72" fmla="*/ 2600960 h 3816298"/>
                      <a:gd name="connsiteX73" fmla="*/ 1549400 w 5115438"/>
                      <a:gd name="connsiteY73" fmla="*/ 2651760 h 3816298"/>
                      <a:gd name="connsiteX74" fmla="*/ 1615440 w 5115438"/>
                      <a:gd name="connsiteY74" fmla="*/ 2651760 h 3816298"/>
                      <a:gd name="connsiteX75" fmla="*/ 1615440 w 5115438"/>
                      <a:gd name="connsiteY75" fmla="*/ 2687320 h 3816298"/>
                      <a:gd name="connsiteX76" fmla="*/ 1661160 w 5115438"/>
                      <a:gd name="connsiteY76" fmla="*/ 2687320 h 3816298"/>
                      <a:gd name="connsiteX77" fmla="*/ 1661160 w 5115438"/>
                      <a:gd name="connsiteY77" fmla="*/ 2748280 h 3816298"/>
                      <a:gd name="connsiteX78" fmla="*/ 1681480 w 5115438"/>
                      <a:gd name="connsiteY78" fmla="*/ 2768600 h 3816298"/>
                      <a:gd name="connsiteX79" fmla="*/ 1681480 w 5115438"/>
                      <a:gd name="connsiteY79" fmla="*/ 2834640 h 3816298"/>
                      <a:gd name="connsiteX80" fmla="*/ 1711960 w 5115438"/>
                      <a:gd name="connsiteY80" fmla="*/ 2834640 h 3816298"/>
                      <a:gd name="connsiteX81" fmla="*/ 1711960 w 5115438"/>
                      <a:gd name="connsiteY81" fmla="*/ 2880360 h 3816298"/>
                      <a:gd name="connsiteX82" fmla="*/ 1788160 w 5115438"/>
                      <a:gd name="connsiteY82" fmla="*/ 2880360 h 3816298"/>
                      <a:gd name="connsiteX83" fmla="*/ 1788160 w 5115438"/>
                      <a:gd name="connsiteY83" fmla="*/ 2910840 h 3816298"/>
                      <a:gd name="connsiteX84" fmla="*/ 1823720 w 5115438"/>
                      <a:gd name="connsiteY84" fmla="*/ 2910840 h 3816298"/>
                      <a:gd name="connsiteX85" fmla="*/ 1823720 w 5115438"/>
                      <a:gd name="connsiteY85" fmla="*/ 2961640 h 3816298"/>
                      <a:gd name="connsiteX86" fmla="*/ 1879600 w 5115438"/>
                      <a:gd name="connsiteY86" fmla="*/ 2961640 h 3816298"/>
                      <a:gd name="connsiteX87" fmla="*/ 1879600 w 5115438"/>
                      <a:gd name="connsiteY87" fmla="*/ 2997200 h 3816298"/>
                      <a:gd name="connsiteX88" fmla="*/ 1940560 w 5115438"/>
                      <a:gd name="connsiteY88" fmla="*/ 2997200 h 3816298"/>
                      <a:gd name="connsiteX89" fmla="*/ 1940560 w 5115438"/>
                      <a:gd name="connsiteY89" fmla="*/ 3068320 h 3816298"/>
                      <a:gd name="connsiteX90" fmla="*/ 2108200 w 5115438"/>
                      <a:gd name="connsiteY90" fmla="*/ 3068320 h 3816298"/>
                      <a:gd name="connsiteX91" fmla="*/ 2108200 w 5115438"/>
                      <a:gd name="connsiteY91" fmla="*/ 3068320 h 3816298"/>
                      <a:gd name="connsiteX92" fmla="*/ 2119508 w 5115438"/>
                      <a:gd name="connsiteY92" fmla="*/ 3094916 h 3816298"/>
                      <a:gd name="connsiteX93" fmla="*/ 2336800 w 5115438"/>
                      <a:gd name="connsiteY93" fmla="*/ 3094990 h 3816298"/>
                      <a:gd name="connsiteX94" fmla="*/ 2336800 w 5115438"/>
                      <a:gd name="connsiteY94" fmla="*/ 3134360 h 3816298"/>
                      <a:gd name="connsiteX95" fmla="*/ 2468880 w 5115438"/>
                      <a:gd name="connsiteY95" fmla="*/ 3134360 h 3816298"/>
                      <a:gd name="connsiteX96" fmla="*/ 2468880 w 5115438"/>
                      <a:gd name="connsiteY96" fmla="*/ 3180080 h 3816298"/>
                      <a:gd name="connsiteX97" fmla="*/ 2697480 w 5115438"/>
                      <a:gd name="connsiteY97" fmla="*/ 3180080 h 3816298"/>
                      <a:gd name="connsiteX98" fmla="*/ 2697480 w 5115438"/>
                      <a:gd name="connsiteY98" fmla="*/ 3230880 h 3816298"/>
                      <a:gd name="connsiteX99" fmla="*/ 2768600 w 5115438"/>
                      <a:gd name="connsiteY99" fmla="*/ 3230880 h 3816298"/>
                      <a:gd name="connsiteX100" fmla="*/ 2768600 w 5115438"/>
                      <a:gd name="connsiteY100" fmla="*/ 3251200 h 3816298"/>
                      <a:gd name="connsiteX101" fmla="*/ 3007360 w 5115438"/>
                      <a:gd name="connsiteY101" fmla="*/ 3251200 h 3816298"/>
                      <a:gd name="connsiteX102" fmla="*/ 3007360 w 5115438"/>
                      <a:gd name="connsiteY102" fmla="*/ 3296920 h 3816298"/>
                      <a:gd name="connsiteX103" fmla="*/ 3053080 w 5115438"/>
                      <a:gd name="connsiteY103" fmla="*/ 3296920 h 3816298"/>
                      <a:gd name="connsiteX104" fmla="*/ 3053080 w 5115438"/>
                      <a:gd name="connsiteY104" fmla="*/ 3347720 h 3816298"/>
                      <a:gd name="connsiteX105" fmla="*/ 3078480 w 5115438"/>
                      <a:gd name="connsiteY105" fmla="*/ 3347720 h 3816298"/>
                      <a:gd name="connsiteX106" fmla="*/ 3078480 w 5115438"/>
                      <a:gd name="connsiteY106" fmla="*/ 3393440 h 3816298"/>
                      <a:gd name="connsiteX107" fmla="*/ 3256280 w 5115438"/>
                      <a:gd name="connsiteY107" fmla="*/ 3393440 h 3816298"/>
                      <a:gd name="connsiteX108" fmla="*/ 3256280 w 5115438"/>
                      <a:gd name="connsiteY108" fmla="*/ 3439160 h 3816298"/>
                      <a:gd name="connsiteX109" fmla="*/ 3700780 w 5115438"/>
                      <a:gd name="connsiteY109" fmla="*/ 3436620 h 3816298"/>
                      <a:gd name="connsiteX110" fmla="*/ 3705740 w 5115438"/>
                      <a:gd name="connsiteY110" fmla="*/ 3524177 h 3816298"/>
                      <a:gd name="connsiteX111" fmla="*/ 3969900 w 5115438"/>
                      <a:gd name="connsiteY111" fmla="*/ 3521637 h 3816298"/>
                      <a:gd name="connsiteX112" fmla="*/ 3969899 w 5115438"/>
                      <a:gd name="connsiteY112" fmla="*/ 3610537 h 3816298"/>
                      <a:gd name="connsiteX113" fmla="*/ 4028319 w 5115438"/>
                      <a:gd name="connsiteY113" fmla="*/ 3613077 h 3816298"/>
                      <a:gd name="connsiteX114" fmla="*/ 4030859 w 5115438"/>
                      <a:gd name="connsiteY114" fmla="*/ 3701976 h 3816298"/>
                      <a:gd name="connsiteX115" fmla="*/ 4185799 w 5115438"/>
                      <a:gd name="connsiteY115" fmla="*/ 3709596 h 3816298"/>
                      <a:gd name="connsiteX116" fmla="*/ 4193419 w 5115438"/>
                      <a:gd name="connsiteY116" fmla="*/ 3808656 h 3816298"/>
                      <a:gd name="connsiteX117" fmla="*/ 5115438 w 5115438"/>
                      <a:gd name="connsiteY117" fmla="*/ 3811196 h 3816298"/>
                      <a:gd name="connsiteX0" fmla="*/ 0 w 5115438"/>
                      <a:gd name="connsiteY0" fmla="*/ 0 h 3816298"/>
                      <a:gd name="connsiteX1" fmla="*/ 0 w 5115438"/>
                      <a:gd name="connsiteY1" fmla="*/ 116840 h 3816298"/>
                      <a:gd name="connsiteX2" fmla="*/ 66040 w 5115438"/>
                      <a:gd name="connsiteY2" fmla="*/ 116840 h 3816298"/>
                      <a:gd name="connsiteX3" fmla="*/ 66040 w 5115438"/>
                      <a:gd name="connsiteY3" fmla="*/ 218440 h 3816298"/>
                      <a:gd name="connsiteX4" fmla="*/ 137160 w 5115438"/>
                      <a:gd name="connsiteY4" fmla="*/ 218440 h 3816298"/>
                      <a:gd name="connsiteX5" fmla="*/ 137160 w 5115438"/>
                      <a:gd name="connsiteY5" fmla="*/ 294640 h 3816298"/>
                      <a:gd name="connsiteX6" fmla="*/ 147320 w 5115438"/>
                      <a:gd name="connsiteY6" fmla="*/ 294640 h 3816298"/>
                      <a:gd name="connsiteX7" fmla="*/ 147320 w 5115438"/>
                      <a:gd name="connsiteY7" fmla="*/ 421640 h 3816298"/>
                      <a:gd name="connsiteX8" fmla="*/ 198120 w 5115438"/>
                      <a:gd name="connsiteY8" fmla="*/ 421640 h 3816298"/>
                      <a:gd name="connsiteX9" fmla="*/ 198120 w 5115438"/>
                      <a:gd name="connsiteY9" fmla="*/ 543560 h 3816298"/>
                      <a:gd name="connsiteX10" fmla="*/ 198120 w 5115438"/>
                      <a:gd name="connsiteY10" fmla="*/ 543560 h 3816298"/>
                      <a:gd name="connsiteX11" fmla="*/ 243840 w 5115438"/>
                      <a:gd name="connsiteY11" fmla="*/ 589280 h 3816298"/>
                      <a:gd name="connsiteX12" fmla="*/ 259080 w 5115438"/>
                      <a:gd name="connsiteY12" fmla="*/ 604520 h 3816298"/>
                      <a:gd name="connsiteX13" fmla="*/ 259080 w 5115438"/>
                      <a:gd name="connsiteY13" fmla="*/ 665480 h 3816298"/>
                      <a:gd name="connsiteX14" fmla="*/ 294640 w 5115438"/>
                      <a:gd name="connsiteY14" fmla="*/ 665480 h 3816298"/>
                      <a:gd name="connsiteX15" fmla="*/ 294640 w 5115438"/>
                      <a:gd name="connsiteY15" fmla="*/ 716280 h 3816298"/>
                      <a:gd name="connsiteX16" fmla="*/ 320040 w 5115438"/>
                      <a:gd name="connsiteY16" fmla="*/ 716280 h 3816298"/>
                      <a:gd name="connsiteX17" fmla="*/ 320040 w 5115438"/>
                      <a:gd name="connsiteY17" fmla="*/ 792480 h 3816298"/>
                      <a:gd name="connsiteX18" fmla="*/ 335280 w 5115438"/>
                      <a:gd name="connsiteY18" fmla="*/ 792480 h 3816298"/>
                      <a:gd name="connsiteX19" fmla="*/ 335280 w 5115438"/>
                      <a:gd name="connsiteY19" fmla="*/ 889000 h 3816298"/>
                      <a:gd name="connsiteX20" fmla="*/ 375920 w 5115438"/>
                      <a:gd name="connsiteY20" fmla="*/ 889000 h 3816298"/>
                      <a:gd name="connsiteX21" fmla="*/ 375920 w 5115438"/>
                      <a:gd name="connsiteY21" fmla="*/ 949960 h 3816298"/>
                      <a:gd name="connsiteX22" fmla="*/ 375920 w 5115438"/>
                      <a:gd name="connsiteY22" fmla="*/ 949960 h 3816298"/>
                      <a:gd name="connsiteX23" fmla="*/ 416560 w 5115438"/>
                      <a:gd name="connsiteY23" fmla="*/ 949960 h 3816298"/>
                      <a:gd name="connsiteX24" fmla="*/ 416560 w 5115438"/>
                      <a:gd name="connsiteY24" fmla="*/ 1026160 h 3816298"/>
                      <a:gd name="connsiteX25" fmla="*/ 441960 w 5115438"/>
                      <a:gd name="connsiteY25" fmla="*/ 1026160 h 3816298"/>
                      <a:gd name="connsiteX26" fmla="*/ 441960 w 5115438"/>
                      <a:gd name="connsiteY26" fmla="*/ 1092200 h 3816298"/>
                      <a:gd name="connsiteX27" fmla="*/ 472440 w 5115438"/>
                      <a:gd name="connsiteY27" fmla="*/ 1092200 h 3816298"/>
                      <a:gd name="connsiteX28" fmla="*/ 472440 w 5115438"/>
                      <a:gd name="connsiteY28" fmla="*/ 1214120 h 3816298"/>
                      <a:gd name="connsiteX29" fmla="*/ 492760 w 5115438"/>
                      <a:gd name="connsiteY29" fmla="*/ 1234440 h 3816298"/>
                      <a:gd name="connsiteX30" fmla="*/ 492760 w 5115438"/>
                      <a:gd name="connsiteY30" fmla="*/ 1285240 h 3816298"/>
                      <a:gd name="connsiteX31" fmla="*/ 553720 w 5115438"/>
                      <a:gd name="connsiteY31" fmla="*/ 1285240 h 3816298"/>
                      <a:gd name="connsiteX32" fmla="*/ 553720 w 5115438"/>
                      <a:gd name="connsiteY32" fmla="*/ 1386840 h 3816298"/>
                      <a:gd name="connsiteX33" fmla="*/ 553720 w 5115438"/>
                      <a:gd name="connsiteY33" fmla="*/ 1427480 h 3816298"/>
                      <a:gd name="connsiteX34" fmla="*/ 599440 w 5115438"/>
                      <a:gd name="connsiteY34" fmla="*/ 1427480 h 3816298"/>
                      <a:gd name="connsiteX35" fmla="*/ 599440 w 5115438"/>
                      <a:gd name="connsiteY35" fmla="*/ 1493520 h 3816298"/>
                      <a:gd name="connsiteX36" fmla="*/ 650240 w 5115438"/>
                      <a:gd name="connsiteY36" fmla="*/ 1493520 h 3816298"/>
                      <a:gd name="connsiteX37" fmla="*/ 650240 w 5115438"/>
                      <a:gd name="connsiteY37" fmla="*/ 1539240 h 3816298"/>
                      <a:gd name="connsiteX38" fmla="*/ 695960 w 5115438"/>
                      <a:gd name="connsiteY38" fmla="*/ 1539240 h 3816298"/>
                      <a:gd name="connsiteX39" fmla="*/ 695960 w 5115438"/>
                      <a:gd name="connsiteY39" fmla="*/ 1635760 h 3816298"/>
                      <a:gd name="connsiteX40" fmla="*/ 731520 w 5115438"/>
                      <a:gd name="connsiteY40" fmla="*/ 1635760 h 3816298"/>
                      <a:gd name="connsiteX41" fmla="*/ 731520 w 5115438"/>
                      <a:gd name="connsiteY41" fmla="*/ 1706880 h 3816298"/>
                      <a:gd name="connsiteX42" fmla="*/ 762000 w 5115438"/>
                      <a:gd name="connsiteY42" fmla="*/ 1706880 h 3816298"/>
                      <a:gd name="connsiteX43" fmla="*/ 762000 w 5115438"/>
                      <a:gd name="connsiteY43" fmla="*/ 1803400 h 3816298"/>
                      <a:gd name="connsiteX44" fmla="*/ 797560 w 5115438"/>
                      <a:gd name="connsiteY44" fmla="*/ 1803400 h 3816298"/>
                      <a:gd name="connsiteX45" fmla="*/ 797560 w 5115438"/>
                      <a:gd name="connsiteY45" fmla="*/ 1854200 h 3816298"/>
                      <a:gd name="connsiteX46" fmla="*/ 853440 w 5115438"/>
                      <a:gd name="connsiteY46" fmla="*/ 1854200 h 3816298"/>
                      <a:gd name="connsiteX47" fmla="*/ 853440 w 5115438"/>
                      <a:gd name="connsiteY47" fmla="*/ 1940560 h 3816298"/>
                      <a:gd name="connsiteX48" fmla="*/ 894080 w 5115438"/>
                      <a:gd name="connsiteY48" fmla="*/ 1940560 h 3816298"/>
                      <a:gd name="connsiteX49" fmla="*/ 894080 w 5115438"/>
                      <a:gd name="connsiteY49" fmla="*/ 2011680 h 3816298"/>
                      <a:gd name="connsiteX50" fmla="*/ 939800 w 5115438"/>
                      <a:gd name="connsiteY50" fmla="*/ 2011680 h 3816298"/>
                      <a:gd name="connsiteX51" fmla="*/ 939800 w 5115438"/>
                      <a:gd name="connsiteY51" fmla="*/ 2062480 h 3816298"/>
                      <a:gd name="connsiteX52" fmla="*/ 1000760 w 5115438"/>
                      <a:gd name="connsiteY52" fmla="*/ 2062480 h 3816298"/>
                      <a:gd name="connsiteX53" fmla="*/ 1000760 w 5115438"/>
                      <a:gd name="connsiteY53" fmla="*/ 2128520 h 3816298"/>
                      <a:gd name="connsiteX54" fmla="*/ 1000760 w 5115438"/>
                      <a:gd name="connsiteY54" fmla="*/ 2128520 h 3816298"/>
                      <a:gd name="connsiteX55" fmla="*/ 1000760 w 5115438"/>
                      <a:gd name="connsiteY55" fmla="*/ 2214880 h 3816298"/>
                      <a:gd name="connsiteX56" fmla="*/ 1051560 w 5115438"/>
                      <a:gd name="connsiteY56" fmla="*/ 2214880 h 3816298"/>
                      <a:gd name="connsiteX57" fmla="*/ 1051560 w 5115438"/>
                      <a:gd name="connsiteY57" fmla="*/ 2235200 h 3816298"/>
                      <a:gd name="connsiteX58" fmla="*/ 1097280 w 5115438"/>
                      <a:gd name="connsiteY58" fmla="*/ 2235200 h 3816298"/>
                      <a:gd name="connsiteX59" fmla="*/ 1097280 w 5115438"/>
                      <a:gd name="connsiteY59" fmla="*/ 2235200 h 3816298"/>
                      <a:gd name="connsiteX60" fmla="*/ 1132840 w 5115438"/>
                      <a:gd name="connsiteY60" fmla="*/ 2270760 h 3816298"/>
                      <a:gd name="connsiteX61" fmla="*/ 1132840 w 5115438"/>
                      <a:gd name="connsiteY61" fmla="*/ 2341880 h 3816298"/>
                      <a:gd name="connsiteX62" fmla="*/ 1188720 w 5115438"/>
                      <a:gd name="connsiteY62" fmla="*/ 2341880 h 3816298"/>
                      <a:gd name="connsiteX63" fmla="*/ 1188720 w 5115438"/>
                      <a:gd name="connsiteY63" fmla="*/ 2377440 h 3816298"/>
                      <a:gd name="connsiteX64" fmla="*/ 1244600 w 5115438"/>
                      <a:gd name="connsiteY64" fmla="*/ 2377440 h 3816298"/>
                      <a:gd name="connsiteX65" fmla="*/ 1244600 w 5115438"/>
                      <a:gd name="connsiteY65" fmla="*/ 2377440 h 3816298"/>
                      <a:gd name="connsiteX66" fmla="*/ 1290320 w 5115438"/>
                      <a:gd name="connsiteY66" fmla="*/ 2377440 h 3816298"/>
                      <a:gd name="connsiteX67" fmla="*/ 1290320 w 5115438"/>
                      <a:gd name="connsiteY67" fmla="*/ 2479040 h 3816298"/>
                      <a:gd name="connsiteX68" fmla="*/ 1351280 w 5115438"/>
                      <a:gd name="connsiteY68" fmla="*/ 2479040 h 3816298"/>
                      <a:gd name="connsiteX69" fmla="*/ 1351280 w 5115438"/>
                      <a:gd name="connsiteY69" fmla="*/ 2540000 h 3816298"/>
                      <a:gd name="connsiteX70" fmla="*/ 1422400 w 5115438"/>
                      <a:gd name="connsiteY70" fmla="*/ 2540000 h 3816298"/>
                      <a:gd name="connsiteX71" fmla="*/ 1422400 w 5115438"/>
                      <a:gd name="connsiteY71" fmla="*/ 2600960 h 3816298"/>
                      <a:gd name="connsiteX72" fmla="*/ 1549400 w 5115438"/>
                      <a:gd name="connsiteY72" fmla="*/ 2600960 h 3816298"/>
                      <a:gd name="connsiteX73" fmla="*/ 1549400 w 5115438"/>
                      <a:gd name="connsiteY73" fmla="*/ 2651760 h 3816298"/>
                      <a:gd name="connsiteX74" fmla="*/ 1615440 w 5115438"/>
                      <a:gd name="connsiteY74" fmla="*/ 2651760 h 3816298"/>
                      <a:gd name="connsiteX75" fmla="*/ 1615440 w 5115438"/>
                      <a:gd name="connsiteY75" fmla="*/ 2687320 h 3816298"/>
                      <a:gd name="connsiteX76" fmla="*/ 1661160 w 5115438"/>
                      <a:gd name="connsiteY76" fmla="*/ 2687320 h 3816298"/>
                      <a:gd name="connsiteX77" fmla="*/ 1661160 w 5115438"/>
                      <a:gd name="connsiteY77" fmla="*/ 2748280 h 3816298"/>
                      <a:gd name="connsiteX78" fmla="*/ 1681480 w 5115438"/>
                      <a:gd name="connsiteY78" fmla="*/ 2768600 h 3816298"/>
                      <a:gd name="connsiteX79" fmla="*/ 1681480 w 5115438"/>
                      <a:gd name="connsiteY79" fmla="*/ 2834640 h 3816298"/>
                      <a:gd name="connsiteX80" fmla="*/ 1711960 w 5115438"/>
                      <a:gd name="connsiteY80" fmla="*/ 2834640 h 3816298"/>
                      <a:gd name="connsiteX81" fmla="*/ 1711960 w 5115438"/>
                      <a:gd name="connsiteY81" fmla="*/ 2880360 h 3816298"/>
                      <a:gd name="connsiteX82" fmla="*/ 1788160 w 5115438"/>
                      <a:gd name="connsiteY82" fmla="*/ 2880360 h 3816298"/>
                      <a:gd name="connsiteX83" fmla="*/ 1788160 w 5115438"/>
                      <a:gd name="connsiteY83" fmla="*/ 2910840 h 3816298"/>
                      <a:gd name="connsiteX84" fmla="*/ 1823720 w 5115438"/>
                      <a:gd name="connsiteY84" fmla="*/ 2910840 h 3816298"/>
                      <a:gd name="connsiteX85" fmla="*/ 1823720 w 5115438"/>
                      <a:gd name="connsiteY85" fmla="*/ 2961640 h 3816298"/>
                      <a:gd name="connsiteX86" fmla="*/ 1879600 w 5115438"/>
                      <a:gd name="connsiteY86" fmla="*/ 2961640 h 3816298"/>
                      <a:gd name="connsiteX87" fmla="*/ 1879600 w 5115438"/>
                      <a:gd name="connsiteY87" fmla="*/ 2997200 h 3816298"/>
                      <a:gd name="connsiteX88" fmla="*/ 1940560 w 5115438"/>
                      <a:gd name="connsiteY88" fmla="*/ 2997200 h 3816298"/>
                      <a:gd name="connsiteX89" fmla="*/ 1940560 w 5115438"/>
                      <a:gd name="connsiteY89" fmla="*/ 3068320 h 3816298"/>
                      <a:gd name="connsiteX90" fmla="*/ 2108200 w 5115438"/>
                      <a:gd name="connsiteY90" fmla="*/ 3068320 h 3816298"/>
                      <a:gd name="connsiteX91" fmla="*/ 2108200 w 5115438"/>
                      <a:gd name="connsiteY91" fmla="*/ 3068320 h 3816298"/>
                      <a:gd name="connsiteX92" fmla="*/ 2119508 w 5115438"/>
                      <a:gd name="connsiteY92" fmla="*/ 3094916 h 3816298"/>
                      <a:gd name="connsiteX93" fmla="*/ 2336800 w 5115438"/>
                      <a:gd name="connsiteY93" fmla="*/ 3094990 h 3816298"/>
                      <a:gd name="connsiteX94" fmla="*/ 2336800 w 5115438"/>
                      <a:gd name="connsiteY94" fmla="*/ 3134360 h 3816298"/>
                      <a:gd name="connsiteX95" fmla="*/ 2468880 w 5115438"/>
                      <a:gd name="connsiteY95" fmla="*/ 3134360 h 3816298"/>
                      <a:gd name="connsiteX96" fmla="*/ 2468880 w 5115438"/>
                      <a:gd name="connsiteY96" fmla="*/ 3180080 h 3816298"/>
                      <a:gd name="connsiteX97" fmla="*/ 2697480 w 5115438"/>
                      <a:gd name="connsiteY97" fmla="*/ 3180080 h 3816298"/>
                      <a:gd name="connsiteX98" fmla="*/ 2697480 w 5115438"/>
                      <a:gd name="connsiteY98" fmla="*/ 3230880 h 3816298"/>
                      <a:gd name="connsiteX99" fmla="*/ 2768600 w 5115438"/>
                      <a:gd name="connsiteY99" fmla="*/ 3230880 h 3816298"/>
                      <a:gd name="connsiteX100" fmla="*/ 2768600 w 5115438"/>
                      <a:gd name="connsiteY100" fmla="*/ 3251200 h 3816298"/>
                      <a:gd name="connsiteX101" fmla="*/ 3007360 w 5115438"/>
                      <a:gd name="connsiteY101" fmla="*/ 3251200 h 3816298"/>
                      <a:gd name="connsiteX102" fmla="*/ 3007360 w 5115438"/>
                      <a:gd name="connsiteY102" fmla="*/ 3296920 h 3816298"/>
                      <a:gd name="connsiteX103" fmla="*/ 3053080 w 5115438"/>
                      <a:gd name="connsiteY103" fmla="*/ 3296920 h 3816298"/>
                      <a:gd name="connsiteX104" fmla="*/ 3053080 w 5115438"/>
                      <a:gd name="connsiteY104" fmla="*/ 3347720 h 3816298"/>
                      <a:gd name="connsiteX105" fmla="*/ 3078480 w 5115438"/>
                      <a:gd name="connsiteY105" fmla="*/ 3347720 h 3816298"/>
                      <a:gd name="connsiteX106" fmla="*/ 3078480 w 5115438"/>
                      <a:gd name="connsiteY106" fmla="*/ 3393440 h 3816298"/>
                      <a:gd name="connsiteX107" fmla="*/ 3256280 w 5115438"/>
                      <a:gd name="connsiteY107" fmla="*/ 3393440 h 3816298"/>
                      <a:gd name="connsiteX108" fmla="*/ 3256280 w 5115438"/>
                      <a:gd name="connsiteY108" fmla="*/ 3439160 h 3816298"/>
                      <a:gd name="connsiteX109" fmla="*/ 3700780 w 5115438"/>
                      <a:gd name="connsiteY109" fmla="*/ 3436620 h 3816298"/>
                      <a:gd name="connsiteX110" fmla="*/ 3705740 w 5115438"/>
                      <a:gd name="connsiteY110" fmla="*/ 3524177 h 3816298"/>
                      <a:gd name="connsiteX111" fmla="*/ 3969900 w 5115438"/>
                      <a:gd name="connsiteY111" fmla="*/ 3521637 h 3816298"/>
                      <a:gd name="connsiteX112" fmla="*/ 3969899 w 5115438"/>
                      <a:gd name="connsiteY112" fmla="*/ 3610537 h 3816298"/>
                      <a:gd name="connsiteX113" fmla="*/ 4028319 w 5115438"/>
                      <a:gd name="connsiteY113" fmla="*/ 3613077 h 3816298"/>
                      <a:gd name="connsiteX114" fmla="*/ 4030859 w 5115438"/>
                      <a:gd name="connsiteY114" fmla="*/ 3701976 h 3816298"/>
                      <a:gd name="connsiteX115" fmla="*/ 4185799 w 5115438"/>
                      <a:gd name="connsiteY115" fmla="*/ 3709596 h 3816298"/>
                      <a:gd name="connsiteX116" fmla="*/ 4188339 w 5115438"/>
                      <a:gd name="connsiteY116" fmla="*/ 3808656 h 3816298"/>
                      <a:gd name="connsiteX117" fmla="*/ 5115438 w 5115438"/>
                      <a:gd name="connsiteY117" fmla="*/ 3811196 h 3816298"/>
                      <a:gd name="connsiteX0" fmla="*/ 0 w 5115438"/>
                      <a:gd name="connsiteY0" fmla="*/ 0 h 3816298"/>
                      <a:gd name="connsiteX1" fmla="*/ 0 w 5115438"/>
                      <a:gd name="connsiteY1" fmla="*/ 116840 h 3816298"/>
                      <a:gd name="connsiteX2" fmla="*/ 66040 w 5115438"/>
                      <a:gd name="connsiteY2" fmla="*/ 116840 h 3816298"/>
                      <a:gd name="connsiteX3" fmla="*/ 66040 w 5115438"/>
                      <a:gd name="connsiteY3" fmla="*/ 218440 h 3816298"/>
                      <a:gd name="connsiteX4" fmla="*/ 137160 w 5115438"/>
                      <a:gd name="connsiteY4" fmla="*/ 218440 h 3816298"/>
                      <a:gd name="connsiteX5" fmla="*/ 137160 w 5115438"/>
                      <a:gd name="connsiteY5" fmla="*/ 294640 h 3816298"/>
                      <a:gd name="connsiteX6" fmla="*/ 147320 w 5115438"/>
                      <a:gd name="connsiteY6" fmla="*/ 294640 h 3816298"/>
                      <a:gd name="connsiteX7" fmla="*/ 147320 w 5115438"/>
                      <a:gd name="connsiteY7" fmla="*/ 421640 h 3816298"/>
                      <a:gd name="connsiteX8" fmla="*/ 198120 w 5115438"/>
                      <a:gd name="connsiteY8" fmla="*/ 421640 h 3816298"/>
                      <a:gd name="connsiteX9" fmla="*/ 198120 w 5115438"/>
                      <a:gd name="connsiteY9" fmla="*/ 543560 h 3816298"/>
                      <a:gd name="connsiteX10" fmla="*/ 198120 w 5115438"/>
                      <a:gd name="connsiteY10" fmla="*/ 543560 h 3816298"/>
                      <a:gd name="connsiteX11" fmla="*/ 243840 w 5115438"/>
                      <a:gd name="connsiteY11" fmla="*/ 589280 h 3816298"/>
                      <a:gd name="connsiteX12" fmla="*/ 259080 w 5115438"/>
                      <a:gd name="connsiteY12" fmla="*/ 604520 h 3816298"/>
                      <a:gd name="connsiteX13" fmla="*/ 259080 w 5115438"/>
                      <a:gd name="connsiteY13" fmla="*/ 665480 h 3816298"/>
                      <a:gd name="connsiteX14" fmla="*/ 294640 w 5115438"/>
                      <a:gd name="connsiteY14" fmla="*/ 665480 h 3816298"/>
                      <a:gd name="connsiteX15" fmla="*/ 294640 w 5115438"/>
                      <a:gd name="connsiteY15" fmla="*/ 716280 h 3816298"/>
                      <a:gd name="connsiteX16" fmla="*/ 320040 w 5115438"/>
                      <a:gd name="connsiteY16" fmla="*/ 716280 h 3816298"/>
                      <a:gd name="connsiteX17" fmla="*/ 320040 w 5115438"/>
                      <a:gd name="connsiteY17" fmla="*/ 792480 h 3816298"/>
                      <a:gd name="connsiteX18" fmla="*/ 335280 w 5115438"/>
                      <a:gd name="connsiteY18" fmla="*/ 792480 h 3816298"/>
                      <a:gd name="connsiteX19" fmla="*/ 335280 w 5115438"/>
                      <a:gd name="connsiteY19" fmla="*/ 889000 h 3816298"/>
                      <a:gd name="connsiteX20" fmla="*/ 375920 w 5115438"/>
                      <a:gd name="connsiteY20" fmla="*/ 889000 h 3816298"/>
                      <a:gd name="connsiteX21" fmla="*/ 375920 w 5115438"/>
                      <a:gd name="connsiteY21" fmla="*/ 949960 h 3816298"/>
                      <a:gd name="connsiteX22" fmla="*/ 375920 w 5115438"/>
                      <a:gd name="connsiteY22" fmla="*/ 949960 h 3816298"/>
                      <a:gd name="connsiteX23" fmla="*/ 416560 w 5115438"/>
                      <a:gd name="connsiteY23" fmla="*/ 949960 h 3816298"/>
                      <a:gd name="connsiteX24" fmla="*/ 416560 w 5115438"/>
                      <a:gd name="connsiteY24" fmla="*/ 1026160 h 3816298"/>
                      <a:gd name="connsiteX25" fmla="*/ 441960 w 5115438"/>
                      <a:gd name="connsiteY25" fmla="*/ 1026160 h 3816298"/>
                      <a:gd name="connsiteX26" fmla="*/ 441960 w 5115438"/>
                      <a:gd name="connsiteY26" fmla="*/ 1092200 h 3816298"/>
                      <a:gd name="connsiteX27" fmla="*/ 472440 w 5115438"/>
                      <a:gd name="connsiteY27" fmla="*/ 1092200 h 3816298"/>
                      <a:gd name="connsiteX28" fmla="*/ 472440 w 5115438"/>
                      <a:gd name="connsiteY28" fmla="*/ 1214120 h 3816298"/>
                      <a:gd name="connsiteX29" fmla="*/ 492760 w 5115438"/>
                      <a:gd name="connsiteY29" fmla="*/ 1234440 h 3816298"/>
                      <a:gd name="connsiteX30" fmla="*/ 492760 w 5115438"/>
                      <a:gd name="connsiteY30" fmla="*/ 1285240 h 3816298"/>
                      <a:gd name="connsiteX31" fmla="*/ 553720 w 5115438"/>
                      <a:gd name="connsiteY31" fmla="*/ 1285240 h 3816298"/>
                      <a:gd name="connsiteX32" fmla="*/ 553720 w 5115438"/>
                      <a:gd name="connsiteY32" fmla="*/ 1386840 h 3816298"/>
                      <a:gd name="connsiteX33" fmla="*/ 553720 w 5115438"/>
                      <a:gd name="connsiteY33" fmla="*/ 1427480 h 3816298"/>
                      <a:gd name="connsiteX34" fmla="*/ 599440 w 5115438"/>
                      <a:gd name="connsiteY34" fmla="*/ 1427480 h 3816298"/>
                      <a:gd name="connsiteX35" fmla="*/ 599440 w 5115438"/>
                      <a:gd name="connsiteY35" fmla="*/ 1493520 h 3816298"/>
                      <a:gd name="connsiteX36" fmla="*/ 650240 w 5115438"/>
                      <a:gd name="connsiteY36" fmla="*/ 1493520 h 3816298"/>
                      <a:gd name="connsiteX37" fmla="*/ 650240 w 5115438"/>
                      <a:gd name="connsiteY37" fmla="*/ 1539240 h 3816298"/>
                      <a:gd name="connsiteX38" fmla="*/ 695960 w 5115438"/>
                      <a:gd name="connsiteY38" fmla="*/ 1539240 h 3816298"/>
                      <a:gd name="connsiteX39" fmla="*/ 695960 w 5115438"/>
                      <a:gd name="connsiteY39" fmla="*/ 1635760 h 3816298"/>
                      <a:gd name="connsiteX40" fmla="*/ 731520 w 5115438"/>
                      <a:gd name="connsiteY40" fmla="*/ 1635760 h 3816298"/>
                      <a:gd name="connsiteX41" fmla="*/ 731520 w 5115438"/>
                      <a:gd name="connsiteY41" fmla="*/ 1706880 h 3816298"/>
                      <a:gd name="connsiteX42" fmla="*/ 762000 w 5115438"/>
                      <a:gd name="connsiteY42" fmla="*/ 1706880 h 3816298"/>
                      <a:gd name="connsiteX43" fmla="*/ 762000 w 5115438"/>
                      <a:gd name="connsiteY43" fmla="*/ 1803400 h 3816298"/>
                      <a:gd name="connsiteX44" fmla="*/ 797560 w 5115438"/>
                      <a:gd name="connsiteY44" fmla="*/ 1803400 h 3816298"/>
                      <a:gd name="connsiteX45" fmla="*/ 797560 w 5115438"/>
                      <a:gd name="connsiteY45" fmla="*/ 1854200 h 3816298"/>
                      <a:gd name="connsiteX46" fmla="*/ 853440 w 5115438"/>
                      <a:gd name="connsiteY46" fmla="*/ 1854200 h 3816298"/>
                      <a:gd name="connsiteX47" fmla="*/ 853440 w 5115438"/>
                      <a:gd name="connsiteY47" fmla="*/ 1940560 h 3816298"/>
                      <a:gd name="connsiteX48" fmla="*/ 894080 w 5115438"/>
                      <a:gd name="connsiteY48" fmla="*/ 1940560 h 3816298"/>
                      <a:gd name="connsiteX49" fmla="*/ 894080 w 5115438"/>
                      <a:gd name="connsiteY49" fmla="*/ 2011680 h 3816298"/>
                      <a:gd name="connsiteX50" fmla="*/ 939800 w 5115438"/>
                      <a:gd name="connsiteY50" fmla="*/ 2011680 h 3816298"/>
                      <a:gd name="connsiteX51" fmla="*/ 939800 w 5115438"/>
                      <a:gd name="connsiteY51" fmla="*/ 2062480 h 3816298"/>
                      <a:gd name="connsiteX52" fmla="*/ 1000760 w 5115438"/>
                      <a:gd name="connsiteY52" fmla="*/ 2062480 h 3816298"/>
                      <a:gd name="connsiteX53" fmla="*/ 1000760 w 5115438"/>
                      <a:gd name="connsiteY53" fmla="*/ 2128520 h 3816298"/>
                      <a:gd name="connsiteX54" fmla="*/ 1000760 w 5115438"/>
                      <a:gd name="connsiteY54" fmla="*/ 2128520 h 3816298"/>
                      <a:gd name="connsiteX55" fmla="*/ 1000760 w 5115438"/>
                      <a:gd name="connsiteY55" fmla="*/ 2214880 h 3816298"/>
                      <a:gd name="connsiteX56" fmla="*/ 1051560 w 5115438"/>
                      <a:gd name="connsiteY56" fmla="*/ 2214880 h 3816298"/>
                      <a:gd name="connsiteX57" fmla="*/ 1051560 w 5115438"/>
                      <a:gd name="connsiteY57" fmla="*/ 2235200 h 3816298"/>
                      <a:gd name="connsiteX58" fmla="*/ 1097280 w 5115438"/>
                      <a:gd name="connsiteY58" fmla="*/ 2235200 h 3816298"/>
                      <a:gd name="connsiteX59" fmla="*/ 1097280 w 5115438"/>
                      <a:gd name="connsiteY59" fmla="*/ 2235200 h 3816298"/>
                      <a:gd name="connsiteX60" fmla="*/ 1132840 w 5115438"/>
                      <a:gd name="connsiteY60" fmla="*/ 2270760 h 3816298"/>
                      <a:gd name="connsiteX61" fmla="*/ 1132840 w 5115438"/>
                      <a:gd name="connsiteY61" fmla="*/ 2341880 h 3816298"/>
                      <a:gd name="connsiteX62" fmla="*/ 1188720 w 5115438"/>
                      <a:gd name="connsiteY62" fmla="*/ 2341880 h 3816298"/>
                      <a:gd name="connsiteX63" fmla="*/ 1188720 w 5115438"/>
                      <a:gd name="connsiteY63" fmla="*/ 2377440 h 3816298"/>
                      <a:gd name="connsiteX64" fmla="*/ 1244600 w 5115438"/>
                      <a:gd name="connsiteY64" fmla="*/ 2377440 h 3816298"/>
                      <a:gd name="connsiteX65" fmla="*/ 1244600 w 5115438"/>
                      <a:gd name="connsiteY65" fmla="*/ 2377440 h 3816298"/>
                      <a:gd name="connsiteX66" fmla="*/ 1290320 w 5115438"/>
                      <a:gd name="connsiteY66" fmla="*/ 2377440 h 3816298"/>
                      <a:gd name="connsiteX67" fmla="*/ 1290320 w 5115438"/>
                      <a:gd name="connsiteY67" fmla="*/ 2479040 h 3816298"/>
                      <a:gd name="connsiteX68" fmla="*/ 1351280 w 5115438"/>
                      <a:gd name="connsiteY68" fmla="*/ 2479040 h 3816298"/>
                      <a:gd name="connsiteX69" fmla="*/ 1351280 w 5115438"/>
                      <a:gd name="connsiteY69" fmla="*/ 2540000 h 3816298"/>
                      <a:gd name="connsiteX70" fmla="*/ 1422400 w 5115438"/>
                      <a:gd name="connsiteY70" fmla="*/ 2540000 h 3816298"/>
                      <a:gd name="connsiteX71" fmla="*/ 1422400 w 5115438"/>
                      <a:gd name="connsiteY71" fmla="*/ 2600960 h 3816298"/>
                      <a:gd name="connsiteX72" fmla="*/ 1549400 w 5115438"/>
                      <a:gd name="connsiteY72" fmla="*/ 2600960 h 3816298"/>
                      <a:gd name="connsiteX73" fmla="*/ 1549400 w 5115438"/>
                      <a:gd name="connsiteY73" fmla="*/ 2651760 h 3816298"/>
                      <a:gd name="connsiteX74" fmla="*/ 1615440 w 5115438"/>
                      <a:gd name="connsiteY74" fmla="*/ 2651760 h 3816298"/>
                      <a:gd name="connsiteX75" fmla="*/ 1615440 w 5115438"/>
                      <a:gd name="connsiteY75" fmla="*/ 2687320 h 3816298"/>
                      <a:gd name="connsiteX76" fmla="*/ 1661160 w 5115438"/>
                      <a:gd name="connsiteY76" fmla="*/ 2687320 h 3816298"/>
                      <a:gd name="connsiteX77" fmla="*/ 1661160 w 5115438"/>
                      <a:gd name="connsiteY77" fmla="*/ 2748280 h 3816298"/>
                      <a:gd name="connsiteX78" fmla="*/ 1681480 w 5115438"/>
                      <a:gd name="connsiteY78" fmla="*/ 2768600 h 3816298"/>
                      <a:gd name="connsiteX79" fmla="*/ 1681480 w 5115438"/>
                      <a:gd name="connsiteY79" fmla="*/ 2834640 h 3816298"/>
                      <a:gd name="connsiteX80" fmla="*/ 1711960 w 5115438"/>
                      <a:gd name="connsiteY80" fmla="*/ 2834640 h 3816298"/>
                      <a:gd name="connsiteX81" fmla="*/ 1711960 w 5115438"/>
                      <a:gd name="connsiteY81" fmla="*/ 2880360 h 3816298"/>
                      <a:gd name="connsiteX82" fmla="*/ 1788160 w 5115438"/>
                      <a:gd name="connsiteY82" fmla="*/ 2880360 h 3816298"/>
                      <a:gd name="connsiteX83" fmla="*/ 1788160 w 5115438"/>
                      <a:gd name="connsiteY83" fmla="*/ 2910840 h 3816298"/>
                      <a:gd name="connsiteX84" fmla="*/ 1823720 w 5115438"/>
                      <a:gd name="connsiteY84" fmla="*/ 2910840 h 3816298"/>
                      <a:gd name="connsiteX85" fmla="*/ 1823720 w 5115438"/>
                      <a:gd name="connsiteY85" fmla="*/ 2961640 h 3816298"/>
                      <a:gd name="connsiteX86" fmla="*/ 1879600 w 5115438"/>
                      <a:gd name="connsiteY86" fmla="*/ 2961640 h 3816298"/>
                      <a:gd name="connsiteX87" fmla="*/ 1879600 w 5115438"/>
                      <a:gd name="connsiteY87" fmla="*/ 2997200 h 3816298"/>
                      <a:gd name="connsiteX88" fmla="*/ 1940560 w 5115438"/>
                      <a:gd name="connsiteY88" fmla="*/ 2997200 h 3816298"/>
                      <a:gd name="connsiteX89" fmla="*/ 1940560 w 5115438"/>
                      <a:gd name="connsiteY89" fmla="*/ 3068320 h 3816298"/>
                      <a:gd name="connsiteX90" fmla="*/ 2108200 w 5115438"/>
                      <a:gd name="connsiteY90" fmla="*/ 3068320 h 3816298"/>
                      <a:gd name="connsiteX91" fmla="*/ 2108200 w 5115438"/>
                      <a:gd name="connsiteY91" fmla="*/ 3068320 h 3816298"/>
                      <a:gd name="connsiteX92" fmla="*/ 2119508 w 5115438"/>
                      <a:gd name="connsiteY92" fmla="*/ 3094916 h 3816298"/>
                      <a:gd name="connsiteX93" fmla="*/ 2336800 w 5115438"/>
                      <a:gd name="connsiteY93" fmla="*/ 3094990 h 3816298"/>
                      <a:gd name="connsiteX94" fmla="*/ 2336800 w 5115438"/>
                      <a:gd name="connsiteY94" fmla="*/ 3134360 h 3816298"/>
                      <a:gd name="connsiteX95" fmla="*/ 2468880 w 5115438"/>
                      <a:gd name="connsiteY95" fmla="*/ 3134360 h 3816298"/>
                      <a:gd name="connsiteX96" fmla="*/ 2468880 w 5115438"/>
                      <a:gd name="connsiteY96" fmla="*/ 3180080 h 3816298"/>
                      <a:gd name="connsiteX97" fmla="*/ 2697480 w 5115438"/>
                      <a:gd name="connsiteY97" fmla="*/ 3180080 h 3816298"/>
                      <a:gd name="connsiteX98" fmla="*/ 2697480 w 5115438"/>
                      <a:gd name="connsiteY98" fmla="*/ 3230880 h 3816298"/>
                      <a:gd name="connsiteX99" fmla="*/ 2768600 w 5115438"/>
                      <a:gd name="connsiteY99" fmla="*/ 3230880 h 3816298"/>
                      <a:gd name="connsiteX100" fmla="*/ 2768600 w 5115438"/>
                      <a:gd name="connsiteY100" fmla="*/ 3251200 h 3816298"/>
                      <a:gd name="connsiteX101" fmla="*/ 3007360 w 5115438"/>
                      <a:gd name="connsiteY101" fmla="*/ 3251200 h 3816298"/>
                      <a:gd name="connsiteX102" fmla="*/ 3007360 w 5115438"/>
                      <a:gd name="connsiteY102" fmla="*/ 3296920 h 3816298"/>
                      <a:gd name="connsiteX103" fmla="*/ 3053080 w 5115438"/>
                      <a:gd name="connsiteY103" fmla="*/ 3296920 h 3816298"/>
                      <a:gd name="connsiteX104" fmla="*/ 3053080 w 5115438"/>
                      <a:gd name="connsiteY104" fmla="*/ 3347720 h 3816298"/>
                      <a:gd name="connsiteX105" fmla="*/ 3078480 w 5115438"/>
                      <a:gd name="connsiteY105" fmla="*/ 3347720 h 3816298"/>
                      <a:gd name="connsiteX106" fmla="*/ 3078480 w 5115438"/>
                      <a:gd name="connsiteY106" fmla="*/ 3393440 h 3816298"/>
                      <a:gd name="connsiteX107" fmla="*/ 3256280 w 5115438"/>
                      <a:gd name="connsiteY107" fmla="*/ 3393440 h 3816298"/>
                      <a:gd name="connsiteX108" fmla="*/ 3256280 w 5115438"/>
                      <a:gd name="connsiteY108" fmla="*/ 3439160 h 3816298"/>
                      <a:gd name="connsiteX109" fmla="*/ 3700780 w 5115438"/>
                      <a:gd name="connsiteY109" fmla="*/ 3436620 h 3816298"/>
                      <a:gd name="connsiteX110" fmla="*/ 3705740 w 5115438"/>
                      <a:gd name="connsiteY110" fmla="*/ 3524177 h 3816298"/>
                      <a:gd name="connsiteX111" fmla="*/ 3969900 w 5115438"/>
                      <a:gd name="connsiteY111" fmla="*/ 3521637 h 3816298"/>
                      <a:gd name="connsiteX112" fmla="*/ 3969899 w 5115438"/>
                      <a:gd name="connsiteY112" fmla="*/ 3610537 h 3816298"/>
                      <a:gd name="connsiteX113" fmla="*/ 4028319 w 5115438"/>
                      <a:gd name="connsiteY113" fmla="*/ 3613077 h 3816298"/>
                      <a:gd name="connsiteX114" fmla="*/ 4030859 w 5115438"/>
                      <a:gd name="connsiteY114" fmla="*/ 3701976 h 3816298"/>
                      <a:gd name="connsiteX115" fmla="*/ 4185799 w 5115438"/>
                      <a:gd name="connsiteY115" fmla="*/ 3709596 h 3816298"/>
                      <a:gd name="connsiteX116" fmla="*/ 4188339 w 5115438"/>
                      <a:gd name="connsiteY116" fmla="*/ 3808656 h 3816298"/>
                      <a:gd name="connsiteX117" fmla="*/ 5115438 w 5115438"/>
                      <a:gd name="connsiteY117" fmla="*/ 3811196 h 3816298"/>
                      <a:gd name="connsiteX0" fmla="*/ 0 w 4249311"/>
                      <a:gd name="connsiteY0" fmla="*/ 0 h 3815548"/>
                      <a:gd name="connsiteX1" fmla="*/ 0 w 4249311"/>
                      <a:gd name="connsiteY1" fmla="*/ 116840 h 3815548"/>
                      <a:gd name="connsiteX2" fmla="*/ 66040 w 4249311"/>
                      <a:gd name="connsiteY2" fmla="*/ 116840 h 3815548"/>
                      <a:gd name="connsiteX3" fmla="*/ 66040 w 4249311"/>
                      <a:gd name="connsiteY3" fmla="*/ 218440 h 3815548"/>
                      <a:gd name="connsiteX4" fmla="*/ 137160 w 4249311"/>
                      <a:gd name="connsiteY4" fmla="*/ 218440 h 3815548"/>
                      <a:gd name="connsiteX5" fmla="*/ 137160 w 4249311"/>
                      <a:gd name="connsiteY5" fmla="*/ 294640 h 3815548"/>
                      <a:gd name="connsiteX6" fmla="*/ 147320 w 4249311"/>
                      <a:gd name="connsiteY6" fmla="*/ 294640 h 3815548"/>
                      <a:gd name="connsiteX7" fmla="*/ 147320 w 4249311"/>
                      <a:gd name="connsiteY7" fmla="*/ 421640 h 3815548"/>
                      <a:gd name="connsiteX8" fmla="*/ 198120 w 4249311"/>
                      <a:gd name="connsiteY8" fmla="*/ 421640 h 3815548"/>
                      <a:gd name="connsiteX9" fmla="*/ 198120 w 4249311"/>
                      <a:gd name="connsiteY9" fmla="*/ 543560 h 3815548"/>
                      <a:gd name="connsiteX10" fmla="*/ 198120 w 4249311"/>
                      <a:gd name="connsiteY10" fmla="*/ 543560 h 3815548"/>
                      <a:gd name="connsiteX11" fmla="*/ 243840 w 4249311"/>
                      <a:gd name="connsiteY11" fmla="*/ 589280 h 3815548"/>
                      <a:gd name="connsiteX12" fmla="*/ 259080 w 4249311"/>
                      <a:gd name="connsiteY12" fmla="*/ 604520 h 3815548"/>
                      <a:gd name="connsiteX13" fmla="*/ 259080 w 4249311"/>
                      <a:gd name="connsiteY13" fmla="*/ 665480 h 3815548"/>
                      <a:gd name="connsiteX14" fmla="*/ 294640 w 4249311"/>
                      <a:gd name="connsiteY14" fmla="*/ 665480 h 3815548"/>
                      <a:gd name="connsiteX15" fmla="*/ 294640 w 4249311"/>
                      <a:gd name="connsiteY15" fmla="*/ 716280 h 3815548"/>
                      <a:gd name="connsiteX16" fmla="*/ 320040 w 4249311"/>
                      <a:gd name="connsiteY16" fmla="*/ 716280 h 3815548"/>
                      <a:gd name="connsiteX17" fmla="*/ 320040 w 4249311"/>
                      <a:gd name="connsiteY17" fmla="*/ 792480 h 3815548"/>
                      <a:gd name="connsiteX18" fmla="*/ 335280 w 4249311"/>
                      <a:gd name="connsiteY18" fmla="*/ 792480 h 3815548"/>
                      <a:gd name="connsiteX19" fmla="*/ 335280 w 4249311"/>
                      <a:gd name="connsiteY19" fmla="*/ 889000 h 3815548"/>
                      <a:gd name="connsiteX20" fmla="*/ 375920 w 4249311"/>
                      <a:gd name="connsiteY20" fmla="*/ 889000 h 3815548"/>
                      <a:gd name="connsiteX21" fmla="*/ 375920 w 4249311"/>
                      <a:gd name="connsiteY21" fmla="*/ 949960 h 3815548"/>
                      <a:gd name="connsiteX22" fmla="*/ 375920 w 4249311"/>
                      <a:gd name="connsiteY22" fmla="*/ 949960 h 3815548"/>
                      <a:gd name="connsiteX23" fmla="*/ 416560 w 4249311"/>
                      <a:gd name="connsiteY23" fmla="*/ 949960 h 3815548"/>
                      <a:gd name="connsiteX24" fmla="*/ 416560 w 4249311"/>
                      <a:gd name="connsiteY24" fmla="*/ 1026160 h 3815548"/>
                      <a:gd name="connsiteX25" fmla="*/ 441960 w 4249311"/>
                      <a:gd name="connsiteY25" fmla="*/ 1026160 h 3815548"/>
                      <a:gd name="connsiteX26" fmla="*/ 441960 w 4249311"/>
                      <a:gd name="connsiteY26" fmla="*/ 1092200 h 3815548"/>
                      <a:gd name="connsiteX27" fmla="*/ 472440 w 4249311"/>
                      <a:gd name="connsiteY27" fmla="*/ 1092200 h 3815548"/>
                      <a:gd name="connsiteX28" fmla="*/ 472440 w 4249311"/>
                      <a:gd name="connsiteY28" fmla="*/ 1214120 h 3815548"/>
                      <a:gd name="connsiteX29" fmla="*/ 492760 w 4249311"/>
                      <a:gd name="connsiteY29" fmla="*/ 1234440 h 3815548"/>
                      <a:gd name="connsiteX30" fmla="*/ 492760 w 4249311"/>
                      <a:gd name="connsiteY30" fmla="*/ 1285240 h 3815548"/>
                      <a:gd name="connsiteX31" fmla="*/ 553720 w 4249311"/>
                      <a:gd name="connsiteY31" fmla="*/ 1285240 h 3815548"/>
                      <a:gd name="connsiteX32" fmla="*/ 553720 w 4249311"/>
                      <a:gd name="connsiteY32" fmla="*/ 1386840 h 3815548"/>
                      <a:gd name="connsiteX33" fmla="*/ 553720 w 4249311"/>
                      <a:gd name="connsiteY33" fmla="*/ 1427480 h 3815548"/>
                      <a:gd name="connsiteX34" fmla="*/ 599440 w 4249311"/>
                      <a:gd name="connsiteY34" fmla="*/ 1427480 h 3815548"/>
                      <a:gd name="connsiteX35" fmla="*/ 599440 w 4249311"/>
                      <a:gd name="connsiteY35" fmla="*/ 1493520 h 3815548"/>
                      <a:gd name="connsiteX36" fmla="*/ 650240 w 4249311"/>
                      <a:gd name="connsiteY36" fmla="*/ 1493520 h 3815548"/>
                      <a:gd name="connsiteX37" fmla="*/ 650240 w 4249311"/>
                      <a:gd name="connsiteY37" fmla="*/ 1539240 h 3815548"/>
                      <a:gd name="connsiteX38" fmla="*/ 695960 w 4249311"/>
                      <a:gd name="connsiteY38" fmla="*/ 1539240 h 3815548"/>
                      <a:gd name="connsiteX39" fmla="*/ 695960 w 4249311"/>
                      <a:gd name="connsiteY39" fmla="*/ 1635760 h 3815548"/>
                      <a:gd name="connsiteX40" fmla="*/ 731520 w 4249311"/>
                      <a:gd name="connsiteY40" fmla="*/ 1635760 h 3815548"/>
                      <a:gd name="connsiteX41" fmla="*/ 731520 w 4249311"/>
                      <a:gd name="connsiteY41" fmla="*/ 1706880 h 3815548"/>
                      <a:gd name="connsiteX42" fmla="*/ 762000 w 4249311"/>
                      <a:gd name="connsiteY42" fmla="*/ 1706880 h 3815548"/>
                      <a:gd name="connsiteX43" fmla="*/ 762000 w 4249311"/>
                      <a:gd name="connsiteY43" fmla="*/ 1803400 h 3815548"/>
                      <a:gd name="connsiteX44" fmla="*/ 797560 w 4249311"/>
                      <a:gd name="connsiteY44" fmla="*/ 1803400 h 3815548"/>
                      <a:gd name="connsiteX45" fmla="*/ 797560 w 4249311"/>
                      <a:gd name="connsiteY45" fmla="*/ 1854200 h 3815548"/>
                      <a:gd name="connsiteX46" fmla="*/ 853440 w 4249311"/>
                      <a:gd name="connsiteY46" fmla="*/ 1854200 h 3815548"/>
                      <a:gd name="connsiteX47" fmla="*/ 853440 w 4249311"/>
                      <a:gd name="connsiteY47" fmla="*/ 1940560 h 3815548"/>
                      <a:gd name="connsiteX48" fmla="*/ 894080 w 4249311"/>
                      <a:gd name="connsiteY48" fmla="*/ 1940560 h 3815548"/>
                      <a:gd name="connsiteX49" fmla="*/ 894080 w 4249311"/>
                      <a:gd name="connsiteY49" fmla="*/ 2011680 h 3815548"/>
                      <a:gd name="connsiteX50" fmla="*/ 939800 w 4249311"/>
                      <a:gd name="connsiteY50" fmla="*/ 2011680 h 3815548"/>
                      <a:gd name="connsiteX51" fmla="*/ 939800 w 4249311"/>
                      <a:gd name="connsiteY51" fmla="*/ 2062480 h 3815548"/>
                      <a:gd name="connsiteX52" fmla="*/ 1000760 w 4249311"/>
                      <a:gd name="connsiteY52" fmla="*/ 2062480 h 3815548"/>
                      <a:gd name="connsiteX53" fmla="*/ 1000760 w 4249311"/>
                      <a:gd name="connsiteY53" fmla="*/ 2128520 h 3815548"/>
                      <a:gd name="connsiteX54" fmla="*/ 1000760 w 4249311"/>
                      <a:gd name="connsiteY54" fmla="*/ 2128520 h 3815548"/>
                      <a:gd name="connsiteX55" fmla="*/ 1000760 w 4249311"/>
                      <a:gd name="connsiteY55" fmla="*/ 2214880 h 3815548"/>
                      <a:gd name="connsiteX56" fmla="*/ 1051560 w 4249311"/>
                      <a:gd name="connsiteY56" fmla="*/ 2214880 h 3815548"/>
                      <a:gd name="connsiteX57" fmla="*/ 1051560 w 4249311"/>
                      <a:gd name="connsiteY57" fmla="*/ 2235200 h 3815548"/>
                      <a:gd name="connsiteX58" fmla="*/ 1097280 w 4249311"/>
                      <a:gd name="connsiteY58" fmla="*/ 2235200 h 3815548"/>
                      <a:gd name="connsiteX59" fmla="*/ 1097280 w 4249311"/>
                      <a:gd name="connsiteY59" fmla="*/ 2235200 h 3815548"/>
                      <a:gd name="connsiteX60" fmla="*/ 1132840 w 4249311"/>
                      <a:gd name="connsiteY60" fmla="*/ 2270760 h 3815548"/>
                      <a:gd name="connsiteX61" fmla="*/ 1132840 w 4249311"/>
                      <a:gd name="connsiteY61" fmla="*/ 2341880 h 3815548"/>
                      <a:gd name="connsiteX62" fmla="*/ 1188720 w 4249311"/>
                      <a:gd name="connsiteY62" fmla="*/ 2341880 h 3815548"/>
                      <a:gd name="connsiteX63" fmla="*/ 1188720 w 4249311"/>
                      <a:gd name="connsiteY63" fmla="*/ 2377440 h 3815548"/>
                      <a:gd name="connsiteX64" fmla="*/ 1244600 w 4249311"/>
                      <a:gd name="connsiteY64" fmla="*/ 2377440 h 3815548"/>
                      <a:gd name="connsiteX65" fmla="*/ 1244600 w 4249311"/>
                      <a:gd name="connsiteY65" fmla="*/ 2377440 h 3815548"/>
                      <a:gd name="connsiteX66" fmla="*/ 1290320 w 4249311"/>
                      <a:gd name="connsiteY66" fmla="*/ 2377440 h 3815548"/>
                      <a:gd name="connsiteX67" fmla="*/ 1290320 w 4249311"/>
                      <a:gd name="connsiteY67" fmla="*/ 2479040 h 3815548"/>
                      <a:gd name="connsiteX68" fmla="*/ 1351280 w 4249311"/>
                      <a:gd name="connsiteY68" fmla="*/ 2479040 h 3815548"/>
                      <a:gd name="connsiteX69" fmla="*/ 1351280 w 4249311"/>
                      <a:gd name="connsiteY69" fmla="*/ 2540000 h 3815548"/>
                      <a:gd name="connsiteX70" fmla="*/ 1422400 w 4249311"/>
                      <a:gd name="connsiteY70" fmla="*/ 2540000 h 3815548"/>
                      <a:gd name="connsiteX71" fmla="*/ 1422400 w 4249311"/>
                      <a:gd name="connsiteY71" fmla="*/ 2600960 h 3815548"/>
                      <a:gd name="connsiteX72" fmla="*/ 1549400 w 4249311"/>
                      <a:gd name="connsiteY72" fmla="*/ 2600960 h 3815548"/>
                      <a:gd name="connsiteX73" fmla="*/ 1549400 w 4249311"/>
                      <a:gd name="connsiteY73" fmla="*/ 2651760 h 3815548"/>
                      <a:gd name="connsiteX74" fmla="*/ 1615440 w 4249311"/>
                      <a:gd name="connsiteY74" fmla="*/ 2651760 h 3815548"/>
                      <a:gd name="connsiteX75" fmla="*/ 1615440 w 4249311"/>
                      <a:gd name="connsiteY75" fmla="*/ 2687320 h 3815548"/>
                      <a:gd name="connsiteX76" fmla="*/ 1661160 w 4249311"/>
                      <a:gd name="connsiteY76" fmla="*/ 2687320 h 3815548"/>
                      <a:gd name="connsiteX77" fmla="*/ 1661160 w 4249311"/>
                      <a:gd name="connsiteY77" fmla="*/ 2748280 h 3815548"/>
                      <a:gd name="connsiteX78" fmla="*/ 1681480 w 4249311"/>
                      <a:gd name="connsiteY78" fmla="*/ 2768600 h 3815548"/>
                      <a:gd name="connsiteX79" fmla="*/ 1681480 w 4249311"/>
                      <a:gd name="connsiteY79" fmla="*/ 2834640 h 3815548"/>
                      <a:gd name="connsiteX80" fmla="*/ 1711960 w 4249311"/>
                      <a:gd name="connsiteY80" fmla="*/ 2834640 h 3815548"/>
                      <a:gd name="connsiteX81" fmla="*/ 1711960 w 4249311"/>
                      <a:gd name="connsiteY81" fmla="*/ 2880360 h 3815548"/>
                      <a:gd name="connsiteX82" fmla="*/ 1788160 w 4249311"/>
                      <a:gd name="connsiteY82" fmla="*/ 2880360 h 3815548"/>
                      <a:gd name="connsiteX83" fmla="*/ 1788160 w 4249311"/>
                      <a:gd name="connsiteY83" fmla="*/ 2910840 h 3815548"/>
                      <a:gd name="connsiteX84" fmla="*/ 1823720 w 4249311"/>
                      <a:gd name="connsiteY84" fmla="*/ 2910840 h 3815548"/>
                      <a:gd name="connsiteX85" fmla="*/ 1823720 w 4249311"/>
                      <a:gd name="connsiteY85" fmla="*/ 2961640 h 3815548"/>
                      <a:gd name="connsiteX86" fmla="*/ 1879600 w 4249311"/>
                      <a:gd name="connsiteY86" fmla="*/ 2961640 h 3815548"/>
                      <a:gd name="connsiteX87" fmla="*/ 1879600 w 4249311"/>
                      <a:gd name="connsiteY87" fmla="*/ 2997200 h 3815548"/>
                      <a:gd name="connsiteX88" fmla="*/ 1940560 w 4249311"/>
                      <a:gd name="connsiteY88" fmla="*/ 2997200 h 3815548"/>
                      <a:gd name="connsiteX89" fmla="*/ 1940560 w 4249311"/>
                      <a:gd name="connsiteY89" fmla="*/ 3068320 h 3815548"/>
                      <a:gd name="connsiteX90" fmla="*/ 2108200 w 4249311"/>
                      <a:gd name="connsiteY90" fmla="*/ 3068320 h 3815548"/>
                      <a:gd name="connsiteX91" fmla="*/ 2108200 w 4249311"/>
                      <a:gd name="connsiteY91" fmla="*/ 3068320 h 3815548"/>
                      <a:gd name="connsiteX92" fmla="*/ 2119508 w 4249311"/>
                      <a:gd name="connsiteY92" fmla="*/ 3094916 h 3815548"/>
                      <a:gd name="connsiteX93" fmla="*/ 2336800 w 4249311"/>
                      <a:gd name="connsiteY93" fmla="*/ 3094990 h 3815548"/>
                      <a:gd name="connsiteX94" fmla="*/ 2336800 w 4249311"/>
                      <a:gd name="connsiteY94" fmla="*/ 3134360 h 3815548"/>
                      <a:gd name="connsiteX95" fmla="*/ 2468880 w 4249311"/>
                      <a:gd name="connsiteY95" fmla="*/ 3134360 h 3815548"/>
                      <a:gd name="connsiteX96" fmla="*/ 2468880 w 4249311"/>
                      <a:gd name="connsiteY96" fmla="*/ 3180080 h 3815548"/>
                      <a:gd name="connsiteX97" fmla="*/ 2697480 w 4249311"/>
                      <a:gd name="connsiteY97" fmla="*/ 3180080 h 3815548"/>
                      <a:gd name="connsiteX98" fmla="*/ 2697480 w 4249311"/>
                      <a:gd name="connsiteY98" fmla="*/ 3230880 h 3815548"/>
                      <a:gd name="connsiteX99" fmla="*/ 2768600 w 4249311"/>
                      <a:gd name="connsiteY99" fmla="*/ 3230880 h 3815548"/>
                      <a:gd name="connsiteX100" fmla="*/ 2768600 w 4249311"/>
                      <a:gd name="connsiteY100" fmla="*/ 3251200 h 3815548"/>
                      <a:gd name="connsiteX101" fmla="*/ 3007360 w 4249311"/>
                      <a:gd name="connsiteY101" fmla="*/ 3251200 h 3815548"/>
                      <a:gd name="connsiteX102" fmla="*/ 3007360 w 4249311"/>
                      <a:gd name="connsiteY102" fmla="*/ 3296920 h 3815548"/>
                      <a:gd name="connsiteX103" fmla="*/ 3053080 w 4249311"/>
                      <a:gd name="connsiteY103" fmla="*/ 3296920 h 3815548"/>
                      <a:gd name="connsiteX104" fmla="*/ 3053080 w 4249311"/>
                      <a:gd name="connsiteY104" fmla="*/ 3347720 h 3815548"/>
                      <a:gd name="connsiteX105" fmla="*/ 3078480 w 4249311"/>
                      <a:gd name="connsiteY105" fmla="*/ 3347720 h 3815548"/>
                      <a:gd name="connsiteX106" fmla="*/ 3078480 w 4249311"/>
                      <a:gd name="connsiteY106" fmla="*/ 3393440 h 3815548"/>
                      <a:gd name="connsiteX107" fmla="*/ 3256280 w 4249311"/>
                      <a:gd name="connsiteY107" fmla="*/ 3393440 h 3815548"/>
                      <a:gd name="connsiteX108" fmla="*/ 3256280 w 4249311"/>
                      <a:gd name="connsiteY108" fmla="*/ 3439160 h 3815548"/>
                      <a:gd name="connsiteX109" fmla="*/ 3700780 w 4249311"/>
                      <a:gd name="connsiteY109" fmla="*/ 3436620 h 3815548"/>
                      <a:gd name="connsiteX110" fmla="*/ 3705740 w 4249311"/>
                      <a:gd name="connsiteY110" fmla="*/ 3524177 h 3815548"/>
                      <a:gd name="connsiteX111" fmla="*/ 3969900 w 4249311"/>
                      <a:gd name="connsiteY111" fmla="*/ 3521637 h 3815548"/>
                      <a:gd name="connsiteX112" fmla="*/ 3969899 w 4249311"/>
                      <a:gd name="connsiteY112" fmla="*/ 3610537 h 3815548"/>
                      <a:gd name="connsiteX113" fmla="*/ 4028319 w 4249311"/>
                      <a:gd name="connsiteY113" fmla="*/ 3613077 h 3815548"/>
                      <a:gd name="connsiteX114" fmla="*/ 4030859 w 4249311"/>
                      <a:gd name="connsiteY114" fmla="*/ 3701976 h 3815548"/>
                      <a:gd name="connsiteX115" fmla="*/ 4185799 w 4249311"/>
                      <a:gd name="connsiteY115" fmla="*/ 3709596 h 3815548"/>
                      <a:gd name="connsiteX116" fmla="*/ 4188339 w 4249311"/>
                      <a:gd name="connsiteY116" fmla="*/ 3808656 h 3815548"/>
                      <a:gd name="connsiteX117" fmla="*/ 4249298 w 4249311"/>
                      <a:gd name="connsiteY117" fmla="*/ 3808656 h 3815548"/>
                      <a:gd name="connsiteX0" fmla="*/ 0 w 5156078"/>
                      <a:gd name="connsiteY0" fmla="*/ 0 h 3819857"/>
                      <a:gd name="connsiteX1" fmla="*/ 0 w 5156078"/>
                      <a:gd name="connsiteY1" fmla="*/ 116840 h 3819857"/>
                      <a:gd name="connsiteX2" fmla="*/ 66040 w 5156078"/>
                      <a:gd name="connsiteY2" fmla="*/ 116840 h 3819857"/>
                      <a:gd name="connsiteX3" fmla="*/ 66040 w 5156078"/>
                      <a:gd name="connsiteY3" fmla="*/ 218440 h 3819857"/>
                      <a:gd name="connsiteX4" fmla="*/ 137160 w 5156078"/>
                      <a:gd name="connsiteY4" fmla="*/ 218440 h 3819857"/>
                      <a:gd name="connsiteX5" fmla="*/ 137160 w 5156078"/>
                      <a:gd name="connsiteY5" fmla="*/ 294640 h 3819857"/>
                      <a:gd name="connsiteX6" fmla="*/ 147320 w 5156078"/>
                      <a:gd name="connsiteY6" fmla="*/ 294640 h 3819857"/>
                      <a:gd name="connsiteX7" fmla="*/ 147320 w 5156078"/>
                      <a:gd name="connsiteY7" fmla="*/ 421640 h 3819857"/>
                      <a:gd name="connsiteX8" fmla="*/ 198120 w 5156078"/>
                      <a:gd name="connsiteY8" fmla="*/ 421640 h 3819857"/>
                      <a:gd name="connsiteX9" fmla="*/ 198120 w 5156078"/>
                      <a:gd name="connsiteY9" fmla="*/ 543560 h 3819857"/>
                      <a:gd name="connsiteX10" fmla="*/ 198120 w 5156078"/>
                      <a:gd name="connsiteY10" fmla="*/ 543560 h 3819857"/>
                      <a:gd name="connsiteX11" fmla="*/ 243840 w 5156078"/>
                      <a:gd name="connsiteY11" fmla="*/ 589280 h 3819857"/>
                      <a:gd name="connsiteX12" fmla="*/ 259080 w 5156078"/>
                      <a:gd name="connsiteY12" fmla="*/ 604520 h 3819857"/>
                      <a:gd name="connsiteX13" fmla="*/ 259080 w 5156078"/>
                      <a:gd name="connsiteY13" fmla="*/ 665480 h 3819857"/>
                      <a:gd name="connsiteX14" fmla="*/ 294640 w 5156078"/>
                      <a:gd name="connsiteY14" fmla="*/ 665480 h 3819857"/>
                      <a:gd name="connsiteX15" fmla="*/ 294640 w 5156078"/>
                      <a:gd name="connsiteY15" fmla="*/ 716280 h 3819857"/>
                      <a:gd name="connsiteX16" fmla="*/ 320040 w 5156078"/>
                      <a:gd name="connsiteY16" fmla="*/ 716280 h 3819857"/>
                      <a:gd name="connsiteX17" fmla="*/ 320040 w 5156078"/>
                      <a:gd name="connsiteY17" fmla="*/ 792480 h 3819857"/>
                      <a:gd name="connsiteX18" fmla="*/ 335280 w 5156078"/>
                      <a:gd name="connsiteY18" fmla="*/ 792480 h 3819857"/>
                      <a:gd name="connsiteX19" fmla="*/ 335280 w 5156078"/>
                      <a:gd name="connsiteY19" fmla="*/ 889000 h 3819857"/>
                      <a:gd name="connsiteX20" fmla="*/ 375920 w 5156078"/>
                      <a:gd name="connsiteY20" fmla="*/ 889000 h 3819857"/>
                      <a:gd name="connsiteX21" fmla="*/ 375920 w 5156078"/>
                      <a:gd name="connsiteY21" fmla="*/ 949960 h 3819857"/>
                      <a:gd name="connsiteX22" fmla="*/ 375920 w 5156078"/>
                      <a:gd name="connsiteY22" fmla="*/ 949960 h 3819857"/>
                      <a:gd name="connsiteX23" fmla="*/ 416560 w 5156078"/>
                      <a:gd name="connsiteY23" fmla="*/ 949960 h 3819857"/>
                      <a:gd name="connsiteX24" fmla="*/ 416560 w 5156078"/>
                      <a:gd name="connsiteY24" fmla="*/ 1026160 h 3819857"/>
                      <a:gd name="connsiteX25" fmla="*/ 441960 w 5156078"/>
                      <a:gd name="connsiteY25" fmla="*/ 1026160 h 3819857"/>
                      <a:gd name="connsiteX26" fmla="*/ 441960 w 5156078"/>
                      <a:gd name="connsiteY26" fmla="*/ 1092200 h 3819857"/>
                      <a:gd name="connsiteX27" fmla="*/ 472440 w 5156078"/>
                      <a:gd name="connsiteY27" fmla="*/ 1092200 h 3819857"/>
                      <a:gd name="connsiteX28" fmla="*/ 472440 w 5156078"/>
                      <a:gd name="connsiteY28" fmla="*/ 1214120 h 3819857"/>
                      <a:gd name="connsiteX29" fmla="*/ 492760 w 5156078"/>
                      <a:gd name="connsiteY29" fmla="*/ 1234440 h 3819857"/>
                      <a:gd name="connsiteX30" fmla="*/ 492760 w 5156078"/>
                      <a:gd name="connsiteY30" fmla="*/ 1285240 h 3819857"/>
                      <a:gd name="connsiteX31" fmla="*/ 553720 w 5156078"/>
                      <a:gd name="connsiteY31" fmla="*/ 1285240 h 3819857"/>
                      <a:gd name="connsiteX32" fmla="*/ 553720 w 5156078"/>
                      <a:gd name="connsiteY32" fmla="*/ 1386840 h 3819857"/>
                      <a:gd name="connsiteX33" fmla="*/ 553720 w 5156078"/>
                      <a:gd name="connsiteY33" fmla="*/ 1427480 h 3819857"/>
                      <a:gd name="connsiteX34" fmla="*/ 599440 w 5156078"/>
                      <a:gd name="connsiteY34" fmla="*/ 1427480 h 3819857"/>
                      <a:gd name="connsiteX35" fmla="*/ 599440 w 5156078"/>
                      <a:gd name="connsiteY35" fmla="*/ 1493520 h 3819857"/>
                      <a:gd name="connsiteX36" fmla="*/ 650240 w 5156078"/>
                      <a:gd name="connsiteY36" fmla="*/ 1493520 h 3819857"/>
                      <a:gd name="connsiteX37" fmla="*/ 650240 w 5156078"/>
                      <a:gd name="connsiteY37" fmla="*/ 1539240 h 3819857"/>
                      <a:gd name="connsiteX38" fmla="*/ 695960 w 5156078"/>
                      <a:gd name="connsiteY38" fmla="*/ 1539240 h 3819857"/>
                      <a:gd name="connsiteX39" fmla="*/ 695960 w 5156078"/>
                      <a:gd name="connsiteY39" fmla="*/ 1635760 h 3819857"/>
                      <a:gd name="connsiteX40" fmla="*/ 731520 w 5156078"/>
                      <a:gd name="connsiteY40" fmla="*/ 1635760 h 3819857"/>
                      <a:gd name="connsiteX41" fmla="*/ 731520 w 5156078"/>
                      <a:gd name="connsiteY41" fmla="*/ 1706880 h 3819857"/>
                      <a:gd name="connsiteX42" fmla="*/ 762000 w 5156078"/>
                      <a:gd name="connsiteY42" fmla="*/ 1706880 h 3819857"/>
                      <a:gd name="connsiteX43" fmla="*/ 762000 w 5156078"/>
                      <a:gd name="connsiteY43" fmla="*/ 1803400 h 3819857"/>
                      <a:gd name="connsiteX44" fmla="*/ 797560 w 5156078"/>
                      <a:gd name="connsiteY44" fmla="*/ 1803400 h 3819857"/>
                      <a:gd name="connsiteX45" fmla="*/ 797560 w 5156078"/>
                      <a:gd name="connsiteY45" fmla="*/ 1854200 h 3819857"/>
                      <a:gd name="connsiteX46" fmla="*/ 853440 w 5156078"/>
                      <a:gd name="connsiteY46" fmla="*/ 1854200 h 3819857"/>
                      <a:gd name="connsiteX47" fmla="*/ 853440 w 5156078"/>
                      <a:gd name="connsiteY47" fmla="*/ 1940560 h 3819857"/>
                      <a:gd name="connsiteX48" fmla="*/ 894080 w 5156078"/>
                      <a:gd name="connsiteY48" fmla="*/ 1940560 h 3819857"/>
                      <a:gd name="connsiteX49" fmla="*/ 894080 w 5156078"/>
                      <a:gd name="connsiteY49" fmla="*/ 2011680 h 3819857"/>
                      <a:gd name="connsiteX50" fmla="*/ 939800 w 5156078"/>
                      <a:gd name="connsiteY50" fmla="*/ 2011680 h 3819857"/>
                      <a:gd name="connsiteX51" fmla="*/ 939800 w 5156078"/>
                      <a:gd name="connsiteY51" fmla="*/ 2062480 h 3819857"/>
                      <a:gd name="connsiteX52" fmla="*/ 1000760 w 5156078"/>
                      <a:gd name="connsiteY52" fmla="*/ 2062480 h 3819857"/>
                      <a:gd name="connsiteX53" fmla="*/ 1000760 w 5156078"/>
                      <a:gd name="connsiteY53" fmla="*/ 2128520 h 3819857"/>
                      <a:gd name="connsiteX54" fmla="*/ 1000760 w 5156078"/>
                      <a:gd name="connsiteY54" fmla="*/ 2128520 h 3819857"/>
                      <a:gd name="connsiteX55" fmla="*/ 1000760 w 5156078"/>
                      <a:gd name="connsiteY55" fmla="*/ 2214880 h 3819857"/>
                      <a:gd name="connsiteX56" fmla="*/ 1051560 w 5156078"/>
                      <a:gd name="connsiteY56" fmla="*/ 2214880 h 3819857"/>
                      <a:gd name="connsiteX57" fmla="*/ 1051560 w 5156078"/>
                      <a:gd name="connsiteY57" fmla="*/ 2235200 h 3819857"/>
                      <a:gd name="connsiteX58" fmla="*/ 1097280 w 5156078"/>
                      <a:gd name="connsiteY58" fmla="*/ 2235200 h 3819857"/>
                      <a:gd name="connsiteX59" fmla="*/ 1097280 w 5156078"/>
                      <a:gd name="connsiteY59" fmla="*/ 2235200 h 3819857"/>
                      <a:gd name="connsiteX60" fmla="*/ 1132840 w 5156078"/>
                      <a:gd name="connsiteY60" fmla="*/ 2270760 h 3819857"/>
                      <a:gd name="connsiteX61" fmla="*/ 1132840 w 5156078"/>
                      <a:gd name="connsiteY61" fmla="*/ 2341880 h 3819857"/>
                      <a:gd name="connsiteX62" fmla="*/ 1188720 w 5156078"/>
                      <a:gd name="connsiteY62" fmla="*/ 2341880 h 3819857"/>
                      <a:gd name="connsiteX63" fmla="*/ 1188720 w 5156078"/>
                      <a:gd name="connsiteY63" fmla="*/ 2377440 h 3819857"/>
                      <a:gd name="connsiteX64" fmla="*/ 1244600 w 5156078"/>
                      <a:gd name="connsiteY64" fmla="*/ 2377440 h 3819857"/>
                      <a:gd name="connsiteX65" fmla="*/ 1244600 w 5156078"/>
                      <a:gd name="connsiteY65" fmla="*/ 2377440 h 3819857"/>
                      <a:gd name="connsiteX66" fmla="*/ 1290320 w 5156078"/>
                      <a:gd name="connsiteY66" fmla="*/ 2377440 h 3819857"/>
                      <a:gd name="connsiteX67" fmla="*/ 1290320 w 5156078"/>
                      <a:gd name="connsiteY67" fmla="*/ 2479040 h 3819857"/>
                      <a:gd name="connsiteX68" fmla="*/ 1351280 w 5156078"/>
                      <a:gd name="connsiteY68" fmla="*/ 2479040 h 3819857"/>
                      <a:gd name="connsiteX69" fmla="*/ 1351280 w 5156078"/>
                      <a:gd name="connsiteY69" fmla="*/ 2540000 h 3819857"/>
                      <a:gd name="connsiteX70" fmla="*/ 1422400 w 5156078"/>
                      <a:gd name="connsiteY70" fmla="*/ 2540000 h 3819857"/>
                      <a:gd name="connsiteX71" fmla="*/ 1422400 w 5156078"/>
                      <a:gd name="connsiteY71" fmla="*/ 2600960 h 3819857"/>
                      <a:gd name="connsiteX72" fmla="*/ 1549400 w 5156078"/>
                      <a:gd name="connsiteY72" fmla="*/ 2600960 h 3819857"/>
                      <a:gd name="connsiteX73" fmla="*/ 1549400 w 5156078"/>
                      <a:gd name="connsiteY73" fmla="*/ 2651760 h 3819857"/>
                      <a:gd name="connsiteX74" fmla="*/ 1615440 w 5156078"/>
                      <a:gd name="connsiteY74" fmla="*/ 2651760 h 3819857"/>
                      <a:gd name="connsiteX75" fmla="*/ 1615440 w 5156078"/>
                      <a:gd name="connsiteY75" fmla="*/ 2687320 h 3819857"/>
                      <a:gd name="connsiteX76" fmla="*/ 1661160 w 5156078"/>
                      <a:gd name="connsiteY76" fmla="*/ 2687320 h 3819857"/>
                      <a:gd name="connsiteX77" fmla="*/ 1661160 w 5156078"/>
                      <a:gd name="connsiteY77" fmla="*/ 2748280 h 3819857"/>
                      <a:gd name="connsiteX78" fmla="*/ 1681480 w 5156078"/>
                      <a:gd name="connsiteY78" fmla="*/ 2768600 h 3819857"/>
                      <a:gd name="connsiteX79" fmla="*/ 1681480 w 5156078"/>
                      <a:gd name="connsiteY79" fmla="*/ 2834640 h 3819857"/>
                      <a:gd name="connsiteX80" fmla="*/ 1711960 w 5156078"/>
                      <a:gd name="connsiteY80" fmla="*/ 2834640 h 3819857"/>
                      <a:gd name="connsiteX81" fmla="*/ 1711960 w 5156078"/>
                      <a:gd name="connsiteY81" fmla="*/ 2880360 h 3819857"/>
                      <a:gd name="connsiteX82" fmla="*/ 1788160 w 5156078"/>
                      <a:gd name="connsiteY82" fmla="*/ 2880360 h 3819857"/>
                      <a:gd name="connsiteX83" fmla="*/ 1788160 w 5156078"/>
                      <a:gd name="connsiteY83" fmla="*/ 2910840 h 3819857"/>
                      <a:gd name="connsiteX84" fmla="*/ 1823720 w 5156078"/>
                      <a:gd name="connsiteY84" fmla="*/ 2910840 h 3819857"/>
                      <a:gd name="connsiteX85" fmla="*/ 1823720 w 5156078"/>
                      <a:gd name="connsiteY85" fmla="*/ 2961640 h 3819857"/>
                      <a:gd name="connsiteX86" fmla="*/ 1879600 w 5156078"/>
                      <a:gd name="connsiteY86" fmla="*/ 2961640 h 3819857"/>
                      <a:gd name="connsiteX87" fmla="*/ 1879600 w 5156078"/>
                      <a:gd name="connsiteY87" fmla="*/ 2997200 h 3819857"/>
                      <a:gd name="connsiteX88" fmla="*/ 1940560 w 5156078"/>
                      <a:gd name="connsiteY88" fmla="*/ 2997200 h 3819857"/>
                      <a:gd name="connsiteX89" fmla="*/ 1940560 w 5156078"/>
                      <a:gd name="connsiteY89" fmla="*/ 3068320 h 3819857"/>
                      <a:gd name="connsiteX90" fmla="*/ 2108200 w 5156078"/>
                      <a:gd name="connsiteY90" fmla="*/ 3068320 h 3819857"/>
                      <a:gd name="connsiteX91" fmla="*/ 2108200 w 5156078"/>
                      <a:gd name="connsiteY91" fmla="*/ 3068320 h 3819857"/>
                      <a:gd name="connsiteX92" fmla="*/ 2119508 w 5156078"/>
                      <a:gd name="connsiteY92" fmla="*/ 3094916 h 3819857"/>
                      <a:gd name="connsiteX93" fmla="*/ 2336800 w 5156078"/>
                      <a:gd name="connsiteY93" fmla="*/ 3094990 h 3819857"/>
                      <a:gd name="connsiteX94" fmla="*/ 2336800 w 5156078"/>
                      <a:gd name="connsiteY94" fmla="*/ 3134360 h 3819857"/>
                      <a:gd name="connsiteX95" fmla="*/ 2468880 w 5156078"/>
                      <a:gd name="connsiteY95" fmla="*/ 3134360 h 3819857"/>
                      <a:gd name="connsiteX96" fmla="*/ 2468880 w 5156078"/>
                      <a:gd name="connsiteY96" fmla="*/ 3180080 h 3819857"/>
                      <a:gd name="connsiteX97" fmla="*/ 2697480 w 5156078"/>
                      <a:gd name="connsiteY97" fmla="*/ 3180080 h 3819857"/>
                      <a:gd name="connsiteX98" fmla="*/ 2697480 w 5156078"/>
                      <a:gd name="connsiteY98" fmla="*/ 3230880 h 3819857"/>
                      <a:gd name="connsiteX99" fmla="*/ 2768600 w 5156078"/>
                      <a:gd name="connsiteY99" fmla="*/ 3230880 h 3819857"/>
                      <a:gd name="connsiteX100" fmla="*/ 2768600 w 5156078"/>
                      <a:gd name="connsiteY100" fmla="*/ 3251200 h 3819857"/>
                      <a:gd name="connsiteX101" fmla="*/ 3007360 w 5156078"/>
                      <a:gd name="connsiteY101" fmla="*/ 3251200 h 3819857"/>
                      <a:gd name="connsiteX102" fmla="*/ 3007360 w 5156078"/>
                      <a:gd name="connsiteY102" fmla="*/ 3296920 h 3819857"/>
                      <a:gd name="connsiteX103" fmla="*/ 3053080 w 5156078"/>
                      <a:gd name="connsiteY103" fmla="*/ 3296920 h 3819857"/>
                      <a:gd name="connsiteX104" fmla="*/ 3053080 w 5156078"/>
                      <a:gd name="connsiteY104" fmla="*/ 3347720 h 3819857"/>
                      <a:gd name="connsiteX105" fmla="*/ 3078480 w 5156078"/>
                      <a:gd name="connsiteY105" fmla="*/ 3347720 h 3819857"/>
                      <a:gd name="connsiteX106" fmla="*/ 3078480 w 5156078"/>
                      <a:gd name="connsiteY106" fmla="*/ 3393440 h 3819857"/>
                      <a:gd name="connsiteX107" fmla="*/ 3256280 w 5156078"/>
                      <a:gd name="connsiteY107" fmla="*/ 3393440 h 3819857"/>
                      <a:gd name="connsiteX108" fmla="*/ 3256280 w 5156078"/>
                      <a:gd name="connsiteY108" fmla="*/ 3439160 h 3819857"/>
                      <a:gd name="connsiteX109" fmla="*/ 3700780 w 5156078"/>
                      <a:gd name="connsiteY109" fmla="*/ 3436620 h 3819857"/>
                      <a:gd name="connsiteX110" fmla="*/ 3705740 w 5156078"/>
                      <a:gd name="connsiteY110" fmla="*/ 3524177 h 3819857"/>
                      <a:gd name="connsiteX111" fmla="*/ 3969900 w 5156078"/>
                      <a:gd name="connsiteY111" fmla="*/ 3521637 h 3819857"/>
                      <a:gd name="connsiteX112" fmla="*/ 3969899 w 5156078"/>
                      <a:gd name="connsiteY112" fmla="*/ 3610537 h 3819857"/>
                      <a:gd name="connsiteX113" fmla="*/ 4028319 w 5156078"/>
                      <a:gd name="connsiteY113" fmla="*/ 3613077 h 3819857"/>
                      <a:gd name="connsiteX114" fmla="*/ 4030859 w 5156078"/>
                      <a:gd name="connsiteY114" fmla="*/ 3701976 h 3819857"/>
                      <a:gd name="connsiteX115" fmla="*/ 4185799 w 5156078"/>
                      <a:gd name="connsiteY115" fmla="*/ 3709596 h 3819857"/>
                      <a:gd name="connsiteX116" fmla="*/ 4188339 w 5156078"/>
                      <a:gd name="connsiteY116" fmla="*/ 3808656 h 3819857"/>
                      <a:gd name="connsiteX117" fmla="*/ 5156078 w 5156078"/>
                      <a:gd name="connsiteY117" fmla="*/ 3818816 h 381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156078" h="3819857">
                        <a:moveTo>
                          <a:pt x="0" y="0"/>
                        </a:moveTo>
                        <a:lnTo>
                          <a:pt x="0" y="116840"/>
                        </a:lnTo>
                        <a:lnTo>
                          <a:pt x="66040" y="116840"/>
                        </a:lnTo>
                        <a:lnTo>
                          <a:pt x="66040" y="218440"/>
                        </a:lnTo>
                        <a:lnTo>
                          <a:pt x="137160" y="218440"/>
                        </a:lnTo>
                        <a:lnTo>
                          <a:pt x="137160" y="294640"/>
                        </a:lnTo>
                        <a:lnTo>
                          <a:pt x="147320" y="294640"/>
                        </a:lnTo>
                        <a:lnTo>
                          <a:pt x="147320" y="421640"/>
                        </a:lnTo>
                        <a:lnTo>
                          <a:pt x="198120" y="421640"/>
                        </a:lnTo>
                        <a:lnTo>
                          <a:pt x="198120" y="543560"/>
                        </a:lnTo>
                        <a:lnTo>
                          <a:pt x="198120" y="543560"/>
                        </a:lnTo>
                        <a:lnTo>
                          <a:pt x="243840" y="589280"/>
                        </a:lnTo>
                        <a:lnTo>
                          <a:pt x="259080" y="604520"/>
                        </a:lnTo>
                        <a:lnTo>
                          <a:pt x="259080" y="665480"/>
                        </a:lnTo>
                        <a:lnTo>
                          <a:pt x="294640" y="665480"/>
                        </a:lnTo>
                        <a:lnTo>
                          <a:pt x="294640" y="716280"/>
                        </a:lnTo>
                        <a:lnTo>
                          <a:pt x="320040" y="716280"/>
                        </a:lnTo>
                        <a:lnTo>
                          <a:pt x="320040" y="792480"/>
                        </a:lnTo>
                        <a:lnTo>
                          <a:pt x="335280" y="792480"/>
                        </a:lnTo>
                        <a:lnTo>
                          <a:pt x="335280" y="889000"/>
                        </a:lnTo>
                        <a:lnTo>
                          <a:pt x="375920" y="889000"/>
                        </a:lnTo>
                        <a:lnTo>
                          <a:pt x="375920" y="949960"/>
                        </a:lnTo>
                        <a:lnTo>
                          <a:pt x="375920" y="949960"/>
                        </a:lnTo>
                        <a:lnTo>
                          <a:pt x="416560" y="949960"/>
                        </a:lnTo>
                        <a:lnTo>
                          <a:pt x="416560" y="1026160"/>
                        </a:lnTo>
                        <a:lnTo>
                          <a:pt x="441960" y="1026160"/>
                        </a:lnTo>
                        <a:lnTo>
                          <a:pt x="441960" y="1092200"/>
                        </a:lnTo>
                        <a:lnTo>
                          <a:pt x="472440" y="1092200"/>
                        </a:lnTo>
                        <a:lnTo>
                          <a:pt x="472440" y="1214120"/>
                        </a:lnTo>
                        <a:lnTo>
                          <a:pt x="492760" y="1234440"/>
                        </a:lnTo>
                        <a:lnTo>
                          <a:pt x="492760" y="1285240"/>
                        </a:lnTo>
                        <a:lnTo>
                          <a:pt x="553720" y="1285240"/>
                        </a:lnTo>
                        <a:lnTo>
                          <a:pt x="553720" y="1386840"/>
                        </a:lnTo>
                        <a:lnTo>
                          <a:pt x="553720" y="1427480"/>
                        </a:lnTo>
                        <a:lnTo>
                          <a:pt x="599440" y="1427480"/>
                        </a:lnTo>
                        <a:lnTo>
                          <a:pt x="599440" y="1493520"/>
                        </a:lnTo>
                        <a:lnTo>
                          <a:pt x="650240" y="1493520"/>
                        </a:lnTo>
                        <a:lnTo>
                          <a:pt x="650240" y="1539240"/>
                        </a:lnTo>
                        <a:lnTo>
                          <a:pt x="695960" y="1539240"/>
                        </a:lnTo>
                        <a:lnTo>
                          <a:pt x="695960" y="1635760"/>
                        </a:lnTo>
                        <a:lnTo>
                          <a:pt x="731520" y="1635760"/>
                        </a:lnTo>
                        <a:lnTo>
                          <a:pt x="731520" y="1706880"/>
                        </a:lnTo>
                        <a:lnTo>
                          <a:pt x="762000" y="1706880"/>
                        </a:lnTo>
                        <a:lnTo>
                          <a:pt x="762000" y="1803400"/>
                        </a:lnTo>
                        <a:lnTo>
                          <a:pt x="797560" y="1803400"/>
                        </a:lnTo>
                        <a:lnTo>
                          <a:pt x="797560" y="1854200"/>
                        </a:lnTo>
                        <a:lnTo>
                          <a:pt x="853440" y="1854200"/>
                        </a:lnTo>
                        <a:lnTo>
                          <a:pt x="853440" y="1940560"/>
                        </a:lnTo>
                        <a:lnTo>
                          <a:pt x="894080" y="1940560"/>
                        </a:lnTo>
                        <a:lnTo>
                          <a:pt x="894080" y="2011680"/>
                        </a:lnTo>
                        <a:lnTo>
                          <a:pt x="939800" y="2011680"/>
                        </a:lnTo>
                        <a:lnTo>
                          <a:pt x="939800" y="2062480"/>
                        </a:lnTo>
                        <a:lnTo>
                          <a:pt x="1000760" y="2062480"/>
                        </a:lnTo>
                        <a:lnTo>
                          <a:pt x="1000760" y="2128520"/>
                        </a:lnTo>
                        <a:lnTo>
                          <a:pt x="1000760" y="2128520"/>
                        </a:lnTo>
                        <a:lnTo>
                          <a:pt x="1000760" y="2214880"/>
                        </a:lnTo>
                        <a:lnTo>
                          <a:pt x="1051560" y="2214880"/>
                        </a:lnTo>
                        <a:lnTo>
                          <a:pt x="1051560" y="2235200"/>
                        </a:lnTo>
                        <a:lnTo>
                          <a:pt x="1097280" y="2235200"/>
                        </a:lnTo>
                        <a:lnTo>
                          <a:pt x="1097280" y="2235200"/>
                        </a:lnTo>
                        <a:lnTo>
                          <a:pt x="1132840" y="2270760"/>
                        </a:lnTo>
                        <a:lnTo>
                          <a:pt x="1132840" y="2341880"/>
                        </a:lnTo>
                        <a:lnTo>
                          <a:pt x="1188720" y="2341880"/>
                        </a:lnTo>
                        <a:lnTo>
                          <a:pt x="1188720" y="2377440"/>
                        </a:lnTo>
                        <a:lnTo>
                          <a:pt x="1244600" y="2377440"/>
                        </a:lnTo>
                        <a:lnTo>
                          <a:pt x="1244600" y="2377440"/>
                        </a:lnTo>
                        <a:lnTo>
                          <a:pt x="1290320" y="2377440"/>
                        </a:lnTo>
                        <a:lnTo>
                          <a:pt x="1290320" y="2479040"/>
                        </a:lnTo>
                        <a:lnTo>
                          <a:pt x="1351280" y="2479040"/>
                        </a:lnTo>
                        <a:lnTo>
                          <a:pt x="1351280" y="2540000"/>
                        </a:lnTo>
                        <a:lnTo>
                          <a:pt x="1422400" y="2540000"/>
                        </a:lnTo>
                        <a:lnTo>
                          <a:pt x="1422400" y="2600960"/>
                        </a:lnTo>
                        <a:lnTo>
                          <a:pt x="1549400" y="2600960"/>
                        </a:lnTo>
                        <a:lnTo>
                          <a:pt x="1549400" y="2651760"/>
                        </a:lnTo>
                        <a:lnTo>
                          <a:pt x="1615440" y="2651760"/>
                        </a:lnTo>
                        <a:lnTo>
                          <a:pt x="1615440" y="2687320"/>
                        </a:lnTo>
                        <a:lnTo>
                          <a:pt x="1661160" y="2687320"/>
                        </a:lnTo>
                        <a:lnTo>
                          <a:pt x="1661160" y="2748280"/>
                        </a:lnTo>
                        <a:lnTo>
                          <a:pt x="1681480" y="2768600"/>
                        </a:lnTo>
                        <a:lnTo>
                          <a:pt x="1681480" y="2834640"/>
                        </a:lnTo>
                        <a:lnTo>
                          <a:pt x="1711960" y="2834640"/>
                        </a:lnTo>
                        <a:lnTo>
                          <a:pt x="1711960" y="2880360"/>
                        </a:lnTo>
                        <a:lnTo>
                          <a:pt x="1788160" y="2880360"/>
                        </a:lnTo>
                        <a:lnTo>
                          <a:pt x="1788160" y="2910840"/>
                        </a:lnTo>
                        <a:lnTo>
                          <a:pt x="1823720" y="2910840"/>
                        </a:lnTo>
                        <a:lnTo>
                          <a:pt x="1823720" y="2961640"/>
                        </a:lnTo>
                        <a:lnTo>
                          <a:pt x="1879600" y="2961640"/>
                        </a:lnTo>
                        <a:lnTo>
                          <a:pt x="1879600" y="2997200"/>
                        </a:lnTo>
                        <a:lnTo>
                          <a:pt x="1940560" y="2997200"/>
                        </a:lnTo>
                        <a:lnTo>
                          <a:pt x="1940560" y="3068320"/>
                        </a:lnTo>
                        <a:lnTo>
                          <a:pt x="2108200" y="3068320"/>
                        </a:lnTo>
                        <a:lnTo>
                          <a:pt x="2108200" y="3068320"/>
                        </a:lnTo>
                        <a:lnTo>
                          <a:pt x="2119508" y="3094916"/>
                        </a:lnTo>
                        <a:lnTo>
                          <a:pt x="2336800" y="3094990"/>
                        </a:lnTo>
                        <a:lnTo>
                          <a:pt x="2336800" y="3134360"/>
                        </a:lnTo>
                        <a:lnTo>
                          <a:pt x="2468880" y="3134360"/>
                        </a:lnTo>
                        <a:lnTo>
                          <a:pt x="2468880" y="3180080"/>
                        </a:lnTo>
                        <a:lnTo>
                          <a:pt x="2697480" y="3180080"/>
                        </a:lnTo>
                        <a:lnTo>
                          <a:pt x="2697480" y="3230880"/>
                        </a:lnTo>
                        <a:lnTo>
                          <a:pt x="2768600" y="3230880"/>
                        </a:lnTo>
                        <a:lnTo>
                          <a:pt x="2768600" y="3251200"/>
                        </a:lnTo>
                        <a:lnTo>
                          <a:pt x="3007360" y="3251200"/>
                        </a:lnTo>
                        <a:lnTo>
                          <a:pt x="3007360" y="3296920"/>
                        </a:lnTo>
                        <a:lnTo>
                          <a:pt x="3053080" y="3296920"/>
                        </a:lnTo>
                        <a:lnTo>
                          <a:pt x="3053080" y="3347720"/>
                        </a:lnTo>
                        <a:lnTo>
                          <a:pt x="3078480" y="3347720"/>
                        </a:lnTo>
                        <a:lnTo>
                          <a:pt x="3078480" y="3393440"/>
                        </a:lnTo>
                        <a:lnTo>
                          <a:pt x="3256280" y="3393440"/>
                        </a:lnTo>
                        <a:lnTo>
                          <a:pt x="3256280" y="3439160"/>
                        </a:lnTo>
                        <a:lnTo>
                          <a:pt x="3700780" y="3436620"/>
                        </a:lnTo>
                        <a:cubicBezTo>
                          <a:pt x="3711343" y="3439359"/>
                          <a:pt x="3706294" y="3523928"/>
                          <a:pt x="3705740" y="3524177"/>
                        </a:cubicBezTo>
                        <a:lnTo>
                          <a:pt x="3969900" y="3521637"/>
                        </a:lnTo>
                        <a:cubicBezTo>
                          <a:pt x="3969053" y="3523330"/>
                          <a:pt x="3968841" y="3611066"/>
                          <a:pt x="3969899" y="3610537"/>
                        </a:cubicBezTo>
                        <a:cubicBezTo>
                          <a:pt x="3969476" y="3625354"/>
                          <a:pt x="4027896" y="3614771"/>
                          <a:pt x="4028319" y="3613077"/>
                        </a:cubicBezTo>
                        <a:cubicBezTo>
                          <a:pt x="4028742" y="3611383"/>
                          <a:pt x="4029801" y="3701447"/>
                          <a:pt x="4030859" y="3701976"/>
                        </a:cubicBezTo>
                        <a:cubicBezTo>
                          <a:pt x="4031282" y="3718062"/>
                          <a:pt x="4184952" y="3707056"/>
                          <a:pt x="4185799" y="3709596"/>
                        </a:cubicBezTo>
                        <a:cubicBezTo>
                          <a:pt x="4186646" y="3712136"/>
                          <a:pt x="4185693" y="3808127"/>
                          <a:pt x="4188339" y="3808656"/>
                        </a:cubicBezTo>
                        <a:cubicBezTo>
                          <a:pt x="4189609" y="3823896"/>
                          <a:pt x="5157137" y="3819345"/>
                          <a:pt x="5156078" y="3818816"/>
                        </a:cubicBezTo>
                      </a:path>
                    </a:pathLst>
                  </a:custGeom>
                  <a:noFill/>
                  <a:ln w="28575" cap="flat" cmpd="sng" algn="ctr">
                    <a:solidFill>
                      <a:srgbClr val="C4D600"/>
                    </a:solidFill>
                    <a:prstDash val="solid"/>
                  </a:ln>
                  <a:effectLst/>
                </p:spPr>
                <p:txBody>
                  <a:bodyPr rtlCol="0" anchor="ctr"/>
                  <a:lstStyle/>
                  <a:p>
                    <a:pPr algn="ctr" defTabSz="685800">
                      <a:defRPr/>
                    </a:pPr>
                    <a:endParaRPr lang="en-US" sz="1350" kern="0" dirty="0">
                      <a:solidFill>
                        <a:srgbClr val="FFFFFF"/>
                      </a:solidFill>
                    </a:endParaRPr>
                  </a:p>
                </p:txBody>
              </p:sp>
            </p:grpSp>
          </p:grpSp>
          <p:grpSp>
            <p:nvGrpSpPr>
              <p:cNvPr id="7" name="Group 252">
                <a:extLst>
                  <a:ext uri="{FF2B5EF4-FFF2-40B4-BE49-F238E27FC236}">
                    <a16:creationId xmlns:a16="http://schemas.microsoft.com/office/drawing/2014/main" xmlns="" id="{1114FA98-A0C8-3D32-AFCC-9705CFB83644}"/>
                  </a:ext>
                </a:extLst>
              </p:cNvPr>
              <p:cNvGrpSpPr/>
              <p:nvPr/>
            </p:nvGrpSpPr>
            <p:grpSpPr>
              <a:xfrm>
                <a:off x="8218170" y="1404363"/>
                <a:ext cx="1148324" cy="1450918"/>
                <a:chOff x="8218170" y="1404363"/>
                <a:chExt cx="1148324" cy="1450918"/>
              </a:xfrm>
            </p:grpSpPr>
            <p:sp>
              <p:nvSpPr>
                <p:cNvPr id="8" name="Freeform 5">
                  <a:extLst>
                    <a:ext uri="{FF2B5EF4-FFF2-40B4-BE49-F238E27FC236}">
                      <a16:creationId xmlns:a16="http://schemas.microsoft.com/office/drawing/2014/main" xmlns="" id="{2D4E242A-14C3-87C0-F08A-B9553B1AA9A5}"/>
                    </a:ext>
                  </a:extLst>
                </p:cNvPr>
                <p:cNvSpPr/>
                <p:nvPr/>
              </p:nvSpPr>
              <p:spPr>
                <a:xfrm>
                  <a:off x="8218170" y="1440180"/>
                  <a:ext cx="1131570" cy="1383030"/>
                </a:xfrm>
                <a:custGeom>
                  <a:avLst/>
                  <a:gdLst>
                    <a:gd name="connsiteX0" fmla="*/ 0 w 1131570"/>
                    <a:gd name="connsiteY0" fmla="*/ 0 h 1383030"/>
                    <a:gd name="connsiteX1" fmla="*/ 213360 w 1131570"/>
                    <a:gd name="connsiteY1" fmla="*/ 0 h 1383030"/>
                    <a:gd name="connsiteX2" fmla="*/ 213360 w 1131570"/>
                    <a:gd name="connsiteY2" fmla="*/ 240030 h 1383030"/>
                    <a:gd name="connsiteX3" fmla="*/ 270510 w 1131570"/>
                    <a:gd name="connsiteY3" fmla="*/ 240030 h 1383030"/>
                    <a:gd name="connsiteX4" fmla="*/ 270510 w 1131570"/>
                    <a:gd name="connsiteY4" fmla="*/ 480060 h 1383030"/>
                    <a:gd name="connsiteX5" fmla="*/ 281940 w 1131570"/>
                    <a:gd name="connsiteY5" fmla="*/ 480060 h 1383030"/>
                    <a:gd name="connsiteX6" fmla="*/ 281940 w 1131570"/>
                    <a:gd name="connsiteY6" fmla="*/ 720090 h 1383030"/>
                    <a:gd name="connsiteX7" fmla="*/ 365760 w 1131570"/>
                    <a:gd name="connsiteY7" fmla="*/ 720090 h 1383030"/>
                    <a:gd name="connsiteX8" fmla="*/ 365760 w 1131570"/>
                    <a:gd name="connsiteY8" fmla="*/ 1002030 h 1383030"/>
                    <a:gd name="connsiteX9" fmla="*/ 419100 w 1131570"/>
                    <a:gd name="connsiteY9" fmla="*/ 1002030 h 1383030"/>
                    <a:gd name="connsiteX10" fmla="*/ 419100 w 1131570"/>
                    <a:gd name="connsiteY10" fmla="*/ 1383030 h 1383030"/>
                    <a:gd name="connsiteX11" fmla="*/ 1131570 w 1131570"/>
                    <a:gd name="connsiteY11" fmla="*/ 1383030 h 138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1570" h="1383030">
                      <a:moveTo>
                        <a:pt x="0" y="0"/>
                      </a:moveTo>
                      <a:lnTo>
                        <a:pt x="213360" y="0"/>
                      </a:lnTo>
                      <a:lnTo>
                        <a:pt x="213360" y="240030"/>
                      </a:lnTo>
                      <a:lnTo>
                        <a:pt x="270510" y="240030"/>
                      </a:lnTo>
                      <a:lnTo>
                        <a:pt x="270510" y="480060"/>
                      </a:lnTo>
                      <a:lnTo>
                        <a:pt x="281940" y="480060"/>
                      </a:lnTo>
                      <a:lnTo>
                        <a:pt x="281940" y="720090"/>
                      </a:lnTo>
                      <a:lnTo>
                        <a:pt x="365760" y="720090"/>
                      </a:lnTo>
                      <a:lnTo>
                        <a:pt x="365760" y="1002030"/>
                      </a:lnTo>
                      <a:lnTo>
                        <a:pt x="419100" y="1002030"/>
                      </a:lnTo>
                      <a:lnTo>
                        <a:pt x="419100" y="1383030"/>
                      </a:lnTo>
                      <a:lnTo>
                        <a:pt x="1131570" y="1383030"/>
                      </a:lnTo>
                    </a:path>
                  </a:pathLst>
                </a:custGeom>
                <a:noFill/>
                <a:ln w="19050" cap="flat" cmpd="sng" algn="ctr">
                  <a:solidFill>
                    <a:srgbClr val="FAE044"/>
                  </a:solidFill>
                  <a:prstDash val="solid"/>
                </a:ln>
                <a:effectLst/>
              </p:spPr>
              <p:txBody>
                <a:bodyPr rtlCol="0" anchor="ctr"/>
                <a:lstStyle/>
                <a:p>
                  <a:pPr algn="ctr" defTabSz="685800">
                    <a:defRPr/>
                  </a:pPr>
                  <a:endParaRPr lang="en-US" sz="1350" kern="0" dirty="0">
                    <a:solidFill>
                      <a:srgbClr val="FFFFFF"/>
                    </a:solidFill>
                  </a:endParaRPr>
                </a:p>
              </p:txBody>
            </p:sp>
            <p:grpSp>
              <p:nvGrpSpPr>
                <p:cNvPr id="9" name="Group 254">
                  <a:extLst>
                    <a:ext uri="{FF2B5EF4-FFF2-40B4-BE49-F238E27FC236}">
                      <a16:creationId xmlns:a16="http://schemas.microsoft.com/office/drawing/2014/main" xmlns="" id="{46B81061-0AA3-1AEC-541A-3B3C3EF8EA14}"/>
                    </a:ext>
                  </a:extLst>
                </p:cNvPr>
                <p:cNvGrpSpPr/>
                <p:nvPr/>
              </p:nvGrpSpPr>
              <p:grpSpPr>
                <a:xfrm>
                  <a:off x="8397598" y="1404363"/>
                  <a:ext cx="64008" cy="64008"/>
                  <a:chOff x="7371080" y="1506504"/>
                  <a:chExt cx="64008" cy="64008"/>
                </a:xfrm>
              </p:grpSpPr>
              <p:cxnSp>
                <p:nvCxnSpPr>
                  <p:cNvPr id="22" name="Straight Connector 267">
                    <a:extLst>
                      <a:ext uri="{FF2B5EF4-FFF2-40B4-BE49-F238E27FC236}">
                        <a16:creationId xmlns:a16="http://schemas.microsoft.com/office/drawing/2014/main" xmlns="" id="{D02EE527-D5D4-C227-1E69-B367888FEAFF}"/>
                      </a:ext>
                    </a:extLst>
                  </p:cNvPr>
                  <p:cNvCxnSpPr/>
                  <p:nvPr/>
                </p:nvCxnSpPr>
                <p:spPr>
                  <a:xfrm>
                    <a:off x="7371080" y="1538508"/>
                    <a:ext cx="64008" cy="0"/>
                  </a:xfrm>
                  <a:prstGeom prst="line">
                    <a:avLst/>
                  </a:prstGeom>
                  <a:noFill/>
                  <a:ln w="19050" cap="flat" cmpd="sng" algn="ctr">
                    <a:solidFill>
                      <a:srgbClr val="FAE044"/>
                    </a:solidFill>
                    <a:prstDash val="solid"/>
                    <a:headEnd type="none" w="med" len="med"/>
                    <a:tailEnd type="none" w="med" len="med"/>
                  </a:ln>
                  <a:effectLst/>
                </p:spPr>
              </p:cxnSp>
              <p:cxnSp>
                <p:nvCxnSpPr>
                  <p:cNvPr id="23" name="Straight Connector 268">
                    <a:extLst>
                      <a:ext uri="{FF2B5EF4-FFF2-40B4-BE49-F238E27FC236}">
                        <a16:creationId xmlns:a16="http://schemas.microsoft.com/office/drawing/2014/main" xmlns="" id="{7882E20E-0FB5-EF29-7005-909B23DF05DC}"/>
                      </a:ext>
                    </a:extLst>
                  </p:cNvPr>
                  <p:cNvCxnSpPr/>
                  <p:nvPr/>
                </p:nvCxnSpPr>
                <p:spPr>
                  <a:xfrm rot="16200000" flipV="1">
                    <a:off x="7371080" y="1538508"/>
                    <a:ext cx="64008" cy="0"/>
                  </a:xfrm>
                  <a:prstGeom prst="line">
                    <a:avLst/>
                  </a:prstGeom>
                  <a:noFill/>
                  <a:ln w="19050" cap="flat" cmpd="sng" algn="ctr">
                    <a:solidFill>
                      <a:srgbClr val="FAE044"/>
                    </a:solidFill>
                    <a:prstDash val="solid"/>
                    <a:headEnd type="none" w="med" len="med"/>
                    <a:tailEnd type="none" w="med" len="med"/>
                  </a:ln>
                  <a:effectLst/>
                </p:spPr>
              </p:cxnSp>
            </p:grpSp>
            <p:grpSp>
              <p:nvGrpSpPr>
                <p:cNvPr id="10" name="Group 255">
                  <a:extLst>
                    <a:ext uri="{FF2B5EF4-FFF2-40B4-BE49-F238E27FC236}">
                      <a16:creationId xmlns:a16="http://schemas.microsoft.com/office/drawing/2014/main" xmlns="" id="{28977E95-74F6-DE7F-D86F-719234CDDED6}"/>
                    </a:ext>
                  </a:extLst>
                </p:cNvPr>
                <p:cNvGrpSpPr/>
                <p:nvPr/>
              </p:nvGrpSpPr>
              <p:grpSpPr>
                <a:xfrm>
                  <a:off x="8334733" y="1404363"/>
                  <a:ext cx="64008" cy="64008"/>
                  <a:chOff x="7371080" y="1506504"/>
                  <a:chExt cx="64008" cy="64008"/>
                </a:xfrm>
              </p:grpSpPr>
              <p:cxnSp>
                <p:nvCxnSpPr>
                  <p:cNvPr id="20" name="Straight Connector 265">
                    <a:extLst>
                      <a:ext uri="{FF2B5EF4-FFF2-40B4-BE49-F238E27FC236}">
                        <a16:creationId xmlns:a16="http://schemas.microsoft.com/office/drawing/2014/main" xmlns="" id="{05066000-D7F7-4DB3-B13B-B701EABF59F2}"/>
                      </a:ext>
                    </a:extLst>
                  </p:cNvPr>
                  <p:cNvCxnSpPr/>
                  <p:nvPr/>
                </p:nvCxnSpPr>
                <p:spPr>
                  <a:xfrm>
                    <a:off x="7371080" y="1538508"/>
                    <a:ext cx="64008" cy="0"/>
                  </a:xfrm>
                  <a:prstGeom prst="line">
                    <a:avLst/>
                  </a:prstGeom>
                  <a:noFill/>
                  <a:ln w="19050" cap="flat" cmpd="sng" algn="ctr">
                    <a:solidFill>
                      <a:srgbClr val="FAE044"/>
                    </a:solidFill>
                    <a:prstDash val="solid"/>
                    <a:headEnd type="none" w="med" len="med"/>
                    <a:tailEnd type="none" w="med" len="med"/>
                  </a:ln>
                  <a:effectLst/>
                </p:spPr>
              </p:cxnSp>
              <p:cxnSp>
                <p:nvCxnSpPr>
                  <p:cNvPr id="21" name="Straight Connector 266">
                    <a:extLst>
                      <a:ext uri="{FF2B5EF4-FFF2-40B4-BE49-F238E27FC236}">
                        <a16:creationId xmlns:a16="http://schemas.microsoft.com/office/drawing/2014/main" xmlns="" id="{89C2F62B-6444-CF36-5FB3-5353279748B5}"/>
                      </a:ext>
                    </a:extLst>
                  </p:cNvPr>
                  <p:cNvCxnSpPr/>
                  <p:nvPr/>
                </p:nvCxnSpPr>
                <p:spPr>
                  <a:xfrm rot="16200000" flipV="1">
                    <a:off x="7371080" y="1538508"/>
                    <a:ext cx="64008" cy="0"/>
                  </a:xfrm>
                  <a:prstGeom prst="line">
                    <a:avLst/>
                  </a:prstGeom>
                  <a:noFill/>
                  <a:ln w="19050" cap="flat" cmpd="sng" algn="ctr">
                    <a:solidFill>
                      <a:srgbClr val="FAE044"/>
                    </a:solidFill>
                    <a:prstDash val="solid"/>
                    <a:headEnd type="none" w="med" len="med"/>
                    <a:tailEnd type="none" w="med" len="med"/>
                  </a:ln>
                  <a:effectLst/>
                </p:spPr>
              </p:cxnSp>
            </p:grpSp>
            <p:grpSp>
              <p:nvGrpSpPr>
                <p:cNvPr id="11" name="Group 256">
                  <a:extLst>
                    <a:ext uri="{FF2B5EF4-FFF2-40B4-BE49-F238E27FC236}">
                      <a16:creationId xmlns:a16="http://schemas.microsoft.com/office/drawing/2014/main" xmlns="" id="{9B7E4823-8B5A-AE58-6566-2C9FF646A356}"/>
                    </a:ext>
                  </a:extLst>
                </p:cNvPr>
                <p:cNvGrpSpPr/>
                <p:nvPr/>
              </p:nvGrpSpPr>
              <p:grpSpPr>
                <a:xfrm>
                  <a:off x="8563791" y="2410898"/>
                  <a:ext cx="64008" cy="64008"/>
                  <a:chOff x="7371080" y="1508409"/>
                  <a:chExt cx="64008" cy="64008"/>
                </a:xfrm>
              </p:grpSpPr>
              <p:cxnSp>
                <p:nvCxnSpPr>
                  <p:cNvPr id="18" name="Straight Connector 263">
                    <a:extLst>
                      <a:ext uri="{FF2B5EF4-FFF2-40B4-BE49-F238E27FC236}">
                        <a16:creationId xmlns:a16="http://schemas.microsoft.com/office/drawing/2014/main" xmlns="" id="{8795DE7C-EFE9-5B9F-6101-30BD9F1BC77C}"/>
                      </a:ext>
                    </a:extLst>
                  </p:cNvPr>
                  <p:cNvCxnSpPr/>
                  <p:nvPr/>
                </p:nvCxnSpPr>
                <p:spPr>
                  <a:xfrm>
                    <a:off x="7371080" y="1540413"/>
                    <a:ext cx="64008" cy="0"/>
                  </a:xfrm>
                  <a:prstGeom prst="line">
                    <a:avLst/>
                  </a:prstGeom>
                  <a:noFill/>
                  <a:ln w="19050" cap="flat" cmpd="sng" algn="ctr">
                    <a:solidFill>
                      <a:srgbClr val="FAE044"/>
                    </a:solidFill>
                    <a:prstDash val="solid"/>
                    <a:headEnd type="none" w="med" len="med"/>
                    <a:tailEnd type="none" w="med" len="med"/>
                  </a:ln>
                  <a:effectLst/>
                </p:spPr>
              </p:cxnSp>
              <p:cxnSp>
                <p:nvCxnSpPr>
                  <p:cNvPr id="19" name="Straight Connector 264">
                    <a:extLst>
                      <a:ext uri="{FF2B5EF4-FFF2-40B4-BE49-F238E27FC236}">
                        <a16:creationId xmlns:a16="http://schemas.microsoft.com/office/drawing/2014/main" xmlns="" id="{03E88ECC-313F-9F7C-B371-A5BBE70668D7}"/>
                      </a:ext>
                    </a:extLst>
                  </p:cNvPr>
                  <p:cNvCxnSpPr/>
                  <p:nvPr/>
                </p:nvCxnSpPr>
                <p:spPr>
                  <a:xfrm rot="16200000" flipV="1">
                    <a:off x="7371080" y="1540413"/>
                    <a:ext cx="64008" cy="0"/>
                  </a:xfrm>
                  <a:prstGeom prst="line">
                    <a:avLst/>
                  </a:prstGeom>
                  <a:noFill/>
                  <a:ln w="19050" cap="flat" cmpd="sng" algn="ctr">
                    <a:solidFill>
                      <a:srgbClr val="FAE044"/>
                    </a:solidFill>
                    <a:prstDash val="solid"/>
                    <a:headEnd type="none" w="med" len="med"/>
                    <a:tailEnd type="none" w="med" len="med"/>
                  </a:ln>
                  <a:effectLst/>
                </p:spPr>
              </p:cxnSp>
            </p:grpSp>
            <p:grpSp>
              <p:nvGrpSpPr>
                <p:cNvPr id="12" name="Group 257">
                  <a:extLst>
                    <a:ext uri="{FF2B5EF4-FFF2-40B4-BE49-F238E27FC236}">
                      <a16:creationId xmlns:a16="http://schemas.microsoft.com/office/drawing/2014/main" xmlns="" id="{ECE62217-AA30-CEE1-778A-8C151BBABB79}"/>
                    </a:ext>
                  </a:extLst>
                </p:cNvPr>
                <p:cNvGrpSpPr/>
                <p:nvPr/>
              </p:nvGrpSpPr>
              <p:grpSpPr>
                <a:xfrm>
                  <a:off x="8675741" y="2791273"/>
                  <a:ext cx="64008" cy="64008"/>
                  <a:chOff x="7371080" y="1506504"/>
                  <a:chExt cx="64008" cy="64008"/>
                </a:xfrm>
              </p:grpSpPr>
              <p:cxnSp>
                <p:nvCxnSpPr>
                  <p:cNvPr id="16" name="Straight Connector 261">
                    <a:extLst>
                      <a:ext uri="{FF2B5EF4-FFF2-40B4-BE49-F238E27FC236}">
                        <a16:creationId xmlns:a16="http://schemas.microsoft.com/office/drawing/2014/main" xmlns="" id="{58DB38F5-B912-2200-4218-AA3266554A52}"/>
                      </a:ext>
                    </a:extLst>
                  </p:cNvPr>
                  <p:cNvCxnSpPr/>
                  <p:nvPr/>
                </p:nvCxnSpPr>
                <p:spPr>
                  <a:xfrm>
                    <a:off x="7371080" y="1538508"/>
                    <a:ext cx="64008" cy="0"/>
                  </a:xfrm>
                  <a:prstGeom prst="line">
                    <a:avLst/>
                  </a:prstGeom>
                  <a:noFill/>
                  <a:ln w="19050" cap="flat" cmpd="sng" algn="ctr">
                    <a:solidFill>
                      <a:srgbClr val="FAE044"/>
                    </a:solidFill>
                    <a:prstDash val="solid"/>
                    <a:headEnd type="none" w="med" len="med"/>
                    <a:tailEnd type="none" w="med" len="med"/>
                  </a:ln>
                  <a:effectLst/>
                </p:spPr>
              </p:cxnSp>
              <p:cxnSp>
                <p:nvCxnSpPr>
                  <p:cNvPr id="17" name="Straight Connector 262">
                    <a:extLst>
                      <a:ext uri="{FF2B5EF4-FFF2-40B4-BE49-F238E27FC236}">
                        <a16:creationId xmlns:a16="http://schemas.microsoft.com/office/drawing/2014/main" xmlns="" id="{A5E87F96-F3F8-AAE3-7764-D7771FBCA4E6}"/>
                      </a:ext>
                    </a:extLst>
                  </p:cNvPr>
                  <p:cNvCxnSpPr/>
                  <p:nvPr/>
                </p:nvCxnSpPr>
                <p:spPr>
                  <a:xfrm rot="16200000" flipV="1">
                    <a:off x="7371080" y="1538508"/>
                    <a:ext cx="64008" cy="0"/>
                  </a:xfrm>
                  <a:prstGeom prst="line">
                    <a:avLst/>
                  </a:prstGeom>
                  <a:noFill/>
                  <a:ln w="19050" cap="flat" cmpd="sng" algn="ctr">
                    <a:solidFill>
                      <a:srgbClr val="FAE044"/>
                    </a:solidFill>
                    <a:prstDash val="solid"/>
                    <a:headEnd type="none" w="med" len="med"/>
                    <a:tailEnd type="none" w="med" len="med"/>
                  </a:ln>
                  <a:effectLst/>
                </p:spPr>
              </p:cxnSp>
            </p:grpSp>
            <p:grpSp>
              <p:nvGrpSpPr>
                <p:cNvPr id="13" name="Group 258">
                  <a:extLst>
                    <a:ext uri="{FF2B5EF4-FFF2-40B4-BE49-F238E27FC236}">
                      <a16:creationId xmlns:a16="http://schemas.microsoft.com/office/drawing/2014/main" xmlns="" id="{0F32A46B-80DA-2D7D-965E-32E39F871C2D}"/>
                    </a:ext>
                  </a:extLst>
                </p:cNvPr>
                <p:cNvGrpSpPr/>
                <p:nvPr/>
              </p:nvGrpSpPr>
              <p:grpSpPr>
                <a:xfrm>
                  <a:off x="9302486" y="2791273"/>
                  <a:ext cx="64008" cy="64008"/>
                  <a:chOff x="7371080" y="1506504"/>
                  <a:chExt cx="64008" cy="64008"/>
                </a:xfrm>
              </p:grpSpPr>
              <p:cxnSp>
                <p:nvCxnSpPr>
                  <p:cNvPr id="14" name="Straight Connector 259">
                    <a:extLst>
                      <a:ext uri="{FF2B5EF4-FFF2-40B4-BE49-F238E27FC236}">
                        <a16:creationId xmlns:a16="http://schemas.microsoft.com/office/drawing/2014/main" xmlns="" id="{502798AF-8161-7DA6-398A-E3594556531F}"/>
                      </a:ext>
                    </a:extLst>
                  </p:cNvPr>
                  <p:cNvCxnSpPr/>
                  <p:nvPr/>
                </p:nvCxnSpPr>
                <p:spPr>
                  <a:xfrm>
                    <a:off x="7371080" y="1538508"/>
                    <a:ext cx="64008" cy="0"/>
                  </a:xfrm>
                  <a:prstGeom prst="line">
                    <a:avLst/>
                  </a:prstGeom>
                  <a:noFill/>
                  <a:ln w="19050" cap="flat" cmpd="sng" algn="ctr">
                    <a:solidFill>
                      <a:srgbClr val="FAE044"/>
                    </a:solidFill>
                    <a:prstDash val="solid"/>
                    <a:headEnd type="none" w="med" len="med"/>
                    <a:tailEnd type="none" w="med" len="med"/>
                  </a:ln>
                  <a:effectLst/>
                </p:spPr>
              </p:cxnSp>
              <p:cxnSp>
                <p:nvCxnSpPr>
                  <p:cNvPr id="15" name="Straight Connector 260">
                    <a:extLst>
                      <a:ext uri="{FF2B5EF4-FFF2-40B4-BE49-F238E27FC236}">
                        <a16:creationId xmlns:a16="http://schemas.microsoft.com/office/drawing/2014/main" xmlns="" id="{60D21911-CAD1-A63C-3D8F-0E9C158A5386}"/>
                      </a:ext>
                    </a:extLst>
                  </p:cNvPr>
                  <p:cNvCxnSpPr/>
                  <p:nvPr/>
                </p:nvCxnSpPr>
                <p:spPr>
                  <a:xfrm rot="16200000" flipV="1">
                    <a:off x="7371080" y="1538508"/>
                    <a:ext cx="64008" cy="0"/>
                  </a:xfrm>
                  <a:prstGeom prst="line">
                    <a:avLst/>
                  </a:prstGeom>
                  <a:noFill/>
                  <a:ln w="19050" cap="flat" cmpd="sng" algn="ctr">
                    <a:solidFill>
                      <a:srgbClr val="FAE044"/>
                    </a:solidFill>
                    <a:prstDash val="solid"/>
                    <a:headEnd type="none" w="med" len="med"/>
                    <a:tailEnd type="none" w="med" len="med"/>
                  </a:ln>
                  <a:effectLst/>
                </p:spPr>
              </p:cxnSp>
            </p:grpSp>
          </p:grpSp>
        </p:grpSp>
        <p:grpSp>
          <p:nvGrpSpPr>
            <p:cNvPr id="61" name="Group 306">
              <a:extLst>
                <a:ext uri="{FF2B5EF4-FFF2-40B4-BE49-F238E27FC236}">
                  <a16:creationId xmlns:a16="http://schemas.microsoft.com/office/drawing/2014/main" xmlns="" id="{999D6C47-32CF-95E1-C2DC-C35D39587C3C}"/>
                </a:ext>
              </a:extLst>
            </p:cNvPr>
            <p:cNvGrpSpPr/>
            <p:nvPr/>
          </p:nvGrpSpPr>
          <p:grpSpPr>
            <a:xfrm>
              <a:off x="3535970" y="1775834"/>
              <a:ext cx="4965093" cy="2383060"/>
              <a:chOff x="4904760" y="2072521"/>
              <a:chExt cx="4100619" cy="1968145"/>
            </a:xfrm>
          </p:grpSpPr>
          <p:grpSp>
            <p:nvGrpSpPr>
              <p:cNvPr id="62" name="Content Placeholder 12">
                <a:extLst>
                  <a:ext uri="{FF2B5EF4-FFF2-40B4-BE49-F238E27FC236}">
                    <a16:creationId xmlns:a16="http://schemas.microsoft.com/office/drawing/2014/main" xmlns="" id="{D3A347A1-DFE3-98C2-22DF-5CFC8DB2F245}"/>
                  </a:ext>
                </a:extLst>
              </p:cNvPr>
              <p:cNvGrpSpPr/>
              <p:nvPr/>
            </p:nvGrpSpPr>
            <p:grpSpPr>
              <a:xfrm>
                <a:off x="5305415" y="2141340"/>
                <a:ext cx="2287124" cy="1541945"/>
                <a:chOff x="1861808" y="1647534"/>
                <a:chExt cx="3995119" cy="2693450"/>
              </a:xfrm>
              <a:noFill/>
            </p:grpSpPr>
            <p:sp>
              <p:nvSpPr>
                <p:cNvPr id="90" name="Freeform 97">
                  <a:extLst>
                    <a:ext uri="{FF2B5EF4-FFF2-40B4-BE49-F238E27FC236}">
                      <a16:creationId xmlns:a16="http://schemas.microsoft.com/office/drawing/2014/main" xmlns="" id="{6EDAEBE0-C750-A234-B56A-6FECBE73642D}"/>
                    </a:ext>
                  </a:extLst>
                </p:cNvPr>
                <p:cNvSpPr/>
                <p:nvPr/>
              </p:nvSpPr>
              <p:spPr>
                <a:xfrm>
                  <a:off x="1939710" y="1647534"/>
                  <a:ext cx="3917217" cy="2615439"/>
                </a:xfrm>
                <a:custGeom>
                  <a:avLst/>
                  <a:gdLst>
                    <a:gd name="connsiteX0" fmla="*/ 0 w 3917217"/>
                    <a:gd name="connsiteY0" fmla="*/ 0 h 2615439"/>
                    <a:gd name="connsiteX1" fmla="*/ 0 w 3917217"/>
                    <a:gd name="connsiteY1" fmla="*/ 2615439 h 2615439"/>
                    <a:gd name="connsiteX2" fmla="*/ 3917218 w 3917217"/>
                    <a:gd name="connsiteY2" fmla="*/ 2615439 h 2615439"/>
                  </a:gdLst>
                  <a:ahLst/>
                  <a:cxnLst>
                    <a:cxn ang="0">
                      <a:pos x="connsiteX0" y="connsiteY0"/>
                    </a:cxn>
                    <a:cxn ang="0">
                      <a:pos x="connsiteX1" y="connsiteY1"/>
                    </a:cxn>
                    <a:cxn ang="0">
                      <a:pos x="connsiteX2" y="connsiteY2"/>
                    </a:cxn>
                  </a:cxnLst>
                  <a:rect l="l" t="t" r="r" b="b"/>
                  <a:pathLst>
                    <a:path w="3917217" h="2615439">
                      <a:moveTo>
                        <a:pt x="0" y="0"/>
                      </a:moveTo>
                      <a:lnTo>
                        <a:pt x="0" y="2615439"/>
                      </a:lnTo>
                      <a:lnTo>
                        <a:pt x="3917218" y="2615439"/>
                      </a:lnTo>
                    </a:path>
                  </a:pathLst>
                </a:custGeom>
                <a:noFill/>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1" name="Freeform 98">
                  <a:extLst>
                    <a:ext uri="{FF2B5EF4-FFF2-40B4-BE49-F238E27FC236}">
                      <a16:creationId xmlns:a16="http://schemas.microsoft.com/office/drawing/2014/main" xmlns="" id="{59536C23-6B17-E305-2695-60B4CEB054F2}"/>
                    </a:ext>
                  </a:extLst>
                </p:cNvPr>
                <p:cNvSpPr/>
                <p:nvPr/>
              </p:nvSpPr>
              <p:spPr>
                <a:xfrm>
                  <a:off x="1861808" y="1659946"/>
                  <a:ext cx="77902" cy="5616"/>
                </a:xfrm>
                <a:custGeom>
                  <a:avLst/>
                  <a:gdLst>
                    <a:gd name="connsiteX0" fmla="*/ 0 w 77902"/>
                    <a:gd name="connsiteY0" fmla="*/ 0 h 5616"/>
                    <a:gd name="connsiteX1" fmla="*/ 77902 w 77902"/>
                    <a:gd name="connsiteY1" fmla="*/ 0 h 5616"/>
                  </a:gdLst>
                  <a:ahLst/>
                  <a:cxnLst>
                    <a:cxn ang="0">
                      <a:pos x="connsiteX0" y="connsiteY0"/>
                    </a:cxn>
                    <a:cxn ang="0">
                      <a:pos x="connsiteX1" y="connsiteY1"/>
                    </a:cxn>
                  </a:cxnLst>
                  <a:rect l="l" t="t" r="r" b="b"/>
                  <a:pathLst>
                    <a:path w="77902" h="5616">
                      <a:moveTo>
                        <a:pt x="0" y="0"/>
                      </a:moveTo>
                      <a:lnTo>
                        <a:pt x="77902"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2" name="Freeform 99">
                  <a:extLst>
                    <a:ext uri="{FF2B5EF4-FFF2-40B4-BE49-F238E27FC236}">
                      <a16:creationId xmlns:a16="http://schemas.microsoft.com/office/drawing/2014/main" xmlns="" id="{9662D91F-4520-6C80-A6B7-C7F5F36FEB78}"/>
                    </a:ext>
                  </a:extLst>
                </p:cNvPr>
                <p:cNvSpPr/>
                <p:nvPr/>
              </p:nvSpPr>
              <p:spPr>
                <a:xfrm>
                  <a:off x="1861808" y="2183000"/>
                  <a:ext cx="77902" cy="5616"/>
                </a:xfrm>
                <a:custGeom>
                  <a:avLst/>
                  <a:gdLst>
                    <a:gd name="connsiteX0" fmla="*/ 0 w 77902"/>
                    <a:gd name="connsiteY0" fmla="*/ 0 h 5616"/>
                    <a:gd name="connsiteX1" fmla="*/ 77902 w 77902"/>
                    <a:gd name="connsiteY1" fmla="*/ 0 h 5616"/>
                  </a:gdLst>
                  <a:ahLst/>
                  <a:cxnLst>
                    <a:cxn ang="0">
                      <a:pos x="connsiteX0" y="connsiteY0"/>
                    </a:cxn>
                    <a:cxn ang="0">
                      <a:pos x="connsiteX1" y="connsiteY1"/>
                    </a:cxn>
                  </a:cxnLst>
                  <a:rect l="l" t="t" r="r" b="b"/>
                  <a:pathLst>
                    <a:path w="77902" h="5616">
                      <a:moveTo>
                        <a:pt x="0" y="0"/>
                      </a:moveTo>
                      <a:lnTo>
                        <a:pt x="77902"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3" name="Freeform 100">
                  <a:extLst>
                    <a:ext uri="{FF2B5EF4-FFF2-40B4-BE49-F238E27FC236}">
                      <a16:creationId xmlns:a16="http://schemas.microsoft.com/office/drawing/2014/main" xmlns="" id="{59DD4626-CE23-5D03-210C-857E184F0863}"/>
                    </a:ext>
                  </a:extLst>
                </p:cNvPr>
                <p:cNvSpPr/>
                <p:nvPr/>
              </p:nvSpPr>
              <p:spPr>
                <a:xfrm>
                  <a:off x="1861808" y="2693305"/>
                  <a:ext cx="77902" cy="5616"/>
                </a:xfrm>
                <a:custGeom>
                  <a:avLst/>
                  <a:gdLst>
                    <a:gd name="connsiteX0" fmla="*/ 0 w 77902"/>
                    <a:gd name="connsiteY0" fmla="*/ 0 h 5616"/>
                    <a:gd name="connsiteX1" fmla="*/ 77902 w 77902"/>
                    <a:gd name="connsiteY1" fmla="*/ 0 h 5616"/>
                  </a:gdLst>
                  <a:ahLst/>
                  <a:cxnLst>
                    <a:cxn ang="0">
                      <a:pos x="connsiteX0" y="connsiteY0"/>
                    </a:cxn>
                    <a:cxn ang="0">
                      <a:pos x="connsiteX1" y="connsiteY1"/>
                    </a:cxn>
                  </a:cxnLst>
                  <a:rect l="l" t="t" r="r" b="b"/>
                  <a:pathLst>
                    <a:path w="77902" h="5616">
                      <a:moveTo>
                        <a:pt x="0" y="0"/>
                      </a:moveTo>
                      <a:lnTo>
                        <a:pt x="77902"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4" name="Freeform 101">
                  <a:extLst>
                    <a:ext uri="{FF2B5EF4-FFF2-40B4-BE49-F238E27FC236}">
                      <a16:creationId xmlns:a16="http://schemas.microsoft.com/office/drawing/2014/main" xmlns="" id="{D9E4F3BC-7D94-440B-3FD4-C03561532058}"/>
                    </a:ext>
                  </a:extLst>
                </p:cNvPr>
                <p:cNvSpPr/>
                <p:nvPr/>
              </p:nvSpPr>
              <p:spPr>
                <a:xfrm>
                  <a:off x="1861808" y="3225514"/>
                  <a:ext cx="77902" cy="5616"/>
                </a:xfrm>
                <a:custGeom>
                  <a:avLst/>
                  <a:gdLst>
                    <a:gd name="connsiteX0" fmla="*/ 0 w 77902"/>
                    <a:gd name="connsiteY0" fmla="*/ 0 h 5616"/>
                    <a:gd name="connsiteX1" fmla="*/ 77902 w 77902"/>
                    <a:gd name="connsiteY1" fmla="*/ 0 h 5616"/>
                  </a:gdLst>
                  <a:ahLst/>
                  <a:cxnLst>
                    <a:cxn ang="0">
                      <a:pos x="connsiteX0" y="connsiteY0"/>
                    </a:cxn>
                    <a:cxn ang="0">
                      <a:pos x="connsiteX1" y="connsiteY1"/>
                    </a:cxn>
                  </a:cxnLst>
                  <a:rect l="l" t="t" r="r" b="b"/>
                  <a:pathLst>
                    <a:path w="77902" h="5616">
                      <a:moveTo>
                        <a:pt x="0" y="0"/>
                      </a:moveTo>
                      <a:lnTo>
                        <a:pt x="77902"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5" name="Freeform 102">
                  <a:extLst>
                    <a:ext uri="{FF2B5EF4-FFF2-40B4-BE49-F238E27FC236}">
                      <a16:creationId xmlns:a16="http://schemas.microsoft.com/office/drawing/2014/main" xmlns="" id="{4899AFD7-98D7-0D68-1D43-178FC363CF92}"/>
                    </a:ext>
                  </a:extLst>
                </p:cNvPr>
                <p:cNvSpPr/>
                <p:nvPr/>
              </p:nvSpPr>
              <p:spPr>
                <a:xfrm>
                  <a:off x="1861808" y="3745535"/>
                  <a:ext cx="77902" cy="5616"/>
                </a:xfrm>
                <a:custGeom>
                  <a:avLst/>
                  <a:gdLst>
                    <a:gd name="connsiteX0" fmla="*/ 0 w 77902"/>
                    <a:gd name="connsiteY0" fmla="*/ 0 h 5616"/>
                    <a:gd name="connsiteX1" fmla="*/ 77902 w 77902"/>
                    <a:gd name="connsiteY1" fmla="*/ 0 h 5616"/>
                  </a:gdLst>
                  <a:ahLst/>
                  <a:cxnLst>
                    <a:cxn ang="0">
                      <a:pos x="connsiteX0" y="connsiteY0"/>
                    </a:cxn>
                    <a:cxn ang="0">
                      <a:pos x="connsiteX1" y="connsiteY1"/>
                    </a:cxn>
                  </a:cxnLst>
                  <a:rect l="l" t="t" r="r" b="b"/>
                  <a:pathLst>
                    <a:path w="77902" h="5616">
                      <a:moveTo>
                        <a:pt x="0" y="0"/>
                      </a:moveTo>
                      <a:lnTo>
                        <a:pt x="77902"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6" name="Freeform 103">
                  <a:extLst>
                    <a:ext uri="{FF2B5EF4-FFF2-40B4-BE49-F238E27FC236}">
                      <a16:creationId xmlns:a16="http://schemas.microsoft.com/office/drawing/2014/main" xmlns="" id="{55B1E77A-41DF-CBAB-4D83-19EA7BB98987}"/>
                    </a:ext>
                  </a:extLst>
                </p:cNvPr>
                <p:cNvSpPr/>
                <p:nvPr/>
              </p:nvSpPr>
              <p:spPr>
                <a:xfrm>
                  <a:off x="1869099" y="4262973"/>
                  <a:ext cx="77902" cy="5616"/>
                </a:xfrm>
                <a:custGeom>
                  <a:avLst/>
                  <a:gdLst>
                    <a:gd name="connsiteX0" fmla="*/ 0 w 77902"/>
                    <a:gd name="connsiteY0" fmla="*/ 0 h 5616"/>
                    <a:gd name="connsiteX1" fmla="*/ 77902 w 77902"/>
                    <a:gd name="connsiteY1" fmla="*/ 0 h 5616"/>
                  </a:gdLst>
                  <a:ahLst/>
                  <a:cxnLst>
                    <a:cxn ang="0">
                      <a:pos x="connsiteX0" y="connsiteY0"/>
                    </a:cxn>
                    <a:cxn ang="0">
                      <a:pos x="connsiteX1" y="connsiteY1"/>
                    </a:cxn>
                  </a:cxnLst>
                  <a:rect l="l" t="t" r="r" b="b"/>
                  <a:pathLst>
                    <a:path w="77902" h="5616">
                      <a:moveTo>
                        <a:pt x="0" y="0"/>
                      </a:moveTo>
                      <a:lnTo>
                        <a:pt x="77902"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7" name="Freeform 104">
                  <a:extLst>
                    <a:ext uri="{FF2B5EF4-FFF2-40B4-BE49-F238E27FC236}">
                      <a16:creationId xmlns:a16="http://schemas.microsoft.com/office/drawing/2014/main" xmlns="" id="{668AF87E-30B8-149B-4B7C-9B21F98DD8FD}"/>
                    </a:ext>
                  </a:extLst>
                </p:cNvPr>
                <p:cNvSpPr/>
                <p:nvPr/>
              </p:nvSpPr>
              <p:spPr>
                <a:xfrm>
                  <a:off x="1939710"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8" name="Freeform 105">
                  <a:extLst>
                    <a:ext uri="{FF2B5EF4-FFF2-40B4-BE49-F238E27FC236}">
                      <a16:creationId xmlns:a16="http://schemas.microsoft.com/office/drawing/2014/main" xmlns="" id="{EF8E09E1-B985-7A95-9587-9EF8C8711D43}"/>
                    </a:ext>
                  </a:extLst>
                </p:cNvPr>
                <p:cNvSpPr/>
                <p:nvPr/>
              </p:nvSpPr>
              <p:spPr>
                <a:xfrm>
                  <a:off x="2182391"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99" name="Freeform 106">
                  <a:extLst>
                    <a:ext uri="{FF2B5EF4-FFF2-40B4-BE49-F238E27FC236}">
                      <a16:creationId xmlns:a16="http://schemas.microsoft.com/office/drawing/2014/main" xmlns="" id="{A5357149-41BD-ED08-35DB-C73C8E9437D1}"/>
                    </a:ext>
                  </a:extLst>
                </p:cNvPr>
                <p:cNvSpPr/>
                <p:nvPr/>
              </p:nvSpPr>
              <p:spPr>
                <a:xfrm>
                  <a:off x="2413967"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0" name="Freeform 107">
                  <a:extLst>
                    <a:ext uri="{FF2B5EF4-FFF2-40B4-BE49-F238E27FC236}">
                      <a16:creationId xmlns:a16="http://schemas.microsoft.com/office/drawing/2014/main" xmlns="" id="{C3011D15-7201-80A5-43C7-D6F1894AD7C4}"/>
                    </a:ext>
                  </a:extLst>
                </p:cNvPr>
                <p:cNvSpPr/>
                <p:nvPr/>
              </p:nvSpPr>
              <p:spPr>
                <a:xfrm>
                  <a:off x="2649917"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1" name="Freeform 108">
                  <a:extLst>
                    <a:ext uri="{FF2B5EF4-FFF2-40B4-BE49-F238E27FC236}">
                      <a16:creationId xmlns:a16="http://schemas.microsoft.com/office/drawing/2014/main" xmlns="" id="{B1FE65A8-2752-CDDF-D1D4-173518EBD3AB}"/>
                    </a:ext>
                  </a:extLst>
                </p:cNvPr>
                <p:cNvSpPr/>
                <p:nvPr/>
              </p:nvSpPr>
              <p:spPr>
                <a:xfrm>
                  <a:off x="2888784"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2" name="Freeform 109">
                  <a:extLst>
                    <a:ext uri="{FF2B5EF4-FFF2-40B4-BE49-F238E27FC236}">
                      <a16:creationId xmlns:a16="http://schemas.microsoft.com/office/drawing/2014/main" xmlns="" id="{DF5219CE-CBA4-7952-764A-354776B827EE}"/>
                    </a:ext>
                  </a:extLst>
                </p:cNvPr>
                <p:cNvSpPr/>
                <p:nvPr/>
              </p:nvSpPr>
              <p:spPr>
                <a:xfrm>
                  <a:off x="3120360"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3" name="Freeform 110">
                  <a:extLst>
                    <a:ext uri="{FF2B5EF4-FFF2-40B4-BE49-F238E27FC236}">
                      <a16:creationId xmlns:a16="http://schemas.microsoft.com/office/drawing/2014/main" xmlns="" id="{366F9125-8C02-4449-2A7B-9878EFDD44D5}"/>
                    </a:ext>
                  </a:extLst>
                </p:cNvPr>
                <p:cNvSpPr/>
                <p:nvPr/>
              </p:nvSpPr>
              <p:spPr>
                <a:xfrm>
                  <a:off x="3353395"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4" name="Freeform 111">
                  <a:extLst>
                    <a:ext uri="{FF2B5EF4-FFF2-40B4-BE49-F238E27FC236}">
                      <a16:creationId xmlns:a16="http://schemas.microsoft.com/office/drawing/2014/main" xmlns="" id="{C4F49102-A661-0D98-A18D-37E7A113C289}"/>
                    </a:ext>
                  </a:extLst>
                </p:cNvPr>
                <p:cNvSpPr/>
                <p:nvPr/>
              </p:nvSpPr>
              <p:spPr>
                <a:xfrm>
                  <a:off x="3587887"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5" name="Freeform 112">
                  <a:extLst>
                    <a:ext uri="{FF2B5EF4-FFF2-40B4-BE49-F238E27FC236}">
                      <a16:creationId xmlns:a16="http://schemas.microsoft.com/office/drawing/2014/main" xmlns="" id="{6D3B4E94-933B-05B0-76C6-0E49620CBF55}"/>
                    </a:ext>
                  </a:extLst>
                </p:cNvPr>
                <p:cNvSpPr/>
                <p:nvPr/>
              </p:nvSpPr>
              <p:spPr>
                <a:xfrm>
                  <a:off x="3819463"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6" name="Freeform 113">
                  <a:extLst>
                    <a:ext uri="{FF2B5EF4-FFF2-40B4-BE49-F238E27FC236}">
                      <a16:creationId xmlns:a16="http://schemas.microsoft.com/office/drawing/2014/main" xmlns="" id="{D252FA07-3409-A723-2A4B-A5DF25EBC739}"/>
                    </a:ext>
                  </a:extLst>
                </p:cNvPr>
                <p:cNvSpPr/>
                <p:nvPr/>
              </p:nvSpPr>
              <p:spPr>
                <a:xfrm>
                  <a:off x="4059788"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7" name="Freeform 114">
                  <a:extLst>
                    <a:ext uri="{FF2B5EF4-FFF2-40B4-BE49-F238E27FC236}">
                      <a16:creationId xmlns:a16="http://schemas.microsoft.com/office/drawing/2014/main" xmlns="" id="{0F1B0B31-A052-3385-3FD4-C652E2D42275}"/>
                    </a:ext>
                  </a:extLst>
                </p:cNvPr>
                <p:cNvSpPr/>
                <p:nvPr/>
              </p:nvSpPr>
              <p:spPr>
                <a:xfrm>
                  <a:off x="4295739"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8" name="Freeform 115">
                  <a:extLst>
                    <a:ext uri="{FF2B5EF4-FFF2-40B4-BE49-F238E27FC236}">
                      <a16:creationId xmlns:a16="http://schemas.microsoft.com/office/drawing/2014/main" xmlns="" id="{7137EE98-8519-A7BE-BD95-615AB101F95F}"/>
                    </a:ext>
                  </a:extLst>
                </p:cNvPr>
                <p:cNvSpPr/>
                <p:nvPr/>
              </p:nvSpPr>
              <p:spPr>
                <a:xfrm>
                  <a:off x="4530231"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09" name="Freeform 116">
                  <a:extLst>
                    <a:ext uri="{FF2B5EF4-FFF2-40B4-BE49-F238E27FC236}">
                      <a16:creationId xmlns:a16="http://schemas.microsoft.com/office/drawing/2014/main" xmlns="" id="{984067A4-EF3A-1C3C-1EE3-338FA53C15E2}"/>
                    </a:ext>
                  </a:extLst>
                </p:cNvPr>
                <p:cNvSpPr/>
                <p:nvPr/>
              </p:nvSpPr>
              <p:spPr>
                <a:xfrm>
                  <a:off x="4761863"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10" name="Freeform 117">
                  <a:extLst>
                    <a:ext uri="{FF2B5EF4-FFF2-40B4-BE49-F238E27FC236}">
                      <a16:creationId xmlns:a16="http://schemas.microsoft.com/office/drawing/2014/main" xmlns="" id="{5F0B12D8-7CC5-0FBF-BA5F-70ECEFD6F098}"/>
                    </a:ext>
                  </a:extLst>
                </p:cNvPr>
                <p:cNvSpPr/>
                <p:nvPr/>
              </p:nvSpPr>
              <p:spPr>
                <a:xfrm>
                  <a:off x="4994898"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11" name="Freeform 118">
                  <a:extLst>
                    <a:ext uri="{FF2B5EF4-FFF2-40B4-BE49-F238E27FC236}">
                      <a16:creationId xmlns:a16="http://schemas.microsoft.com/office/drawing/2014/main" xmlns="" id="{44EFFE67-95BC-AEB7-55A8-25C5DE3FC69D}"/>
                    </a:ext>
                  </a:extLst>
                </p:cNvPr>
                <p:cNvSpPr/>
                <p:nvPr/>
              </p:nvSpPr>
              <p:spPr>
                <a:xfrm>
                  <a:off x="5229390"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12" name="Freeform 119">
                  <a:extLst>
                    <a:ext uri="{FF2B5EF4-FFF2-40B4-BE49-F238E27FC236}">
                      <a16:creationId xmlns:a16="http://schemas.microsoft.com/office/drawing/2014/main" xmlns="" id="{DCC586D1-FF9A-6BE0-2879-BE9D1E74CEED}"/>
                    </a:ext>
                  </a:extLst>
                </p:cNvPr>
                <p:cNvSpPr/>
                <p:nvPr/>
              </p:nvSpPr>
              <p:spPr>
                <a:xfrm>
                  <a:off x="5465341"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13" name="Freeform 120">
                  <a:extLst>
                    <a:ext uri="{FF2B5EF4-FFF2-40B4-BE49-F238E27FC236}">
                      <a16:creationId xmlns:a16="http://schemas.microsoft.com/office/drawing/2014/main" xmlns="" id="{C5D62EBB-AAA0-F180-EB15-049CB60AC968}"/>
                    </a:ext>
                  </a:extLst>
                </p:cNvPr>
                <p:cNvSpPr/>
                <p:nvPr/>
              </p:nvSpPr>
              <p:spPr>
                <a:xfrm>
                  <a:off x="5701291" y="4262973"/>
                  <a:ext cx="5608" cy="78011"/>
                </a:xfrm>
                <a:custGeom>
                  <a:avLst/>
                  <a:gdLst>
                    <a:gd name="connsiteX0" fmla="*/ 0 w 5608"/>
                    <a:gd name="connsiteY0" fmla="*/ 78012 h 78011"/>
                    <a:gd name="connsiteX1" fmla="*/ 0 w 5608"/>
                    <a:gd name="connsiteY1" fmla="*/ 0 h 78011"/>
                  </a:gdLst>
                  <a:ahLst/>
                  <a:cxnLst>
                    <a:cxn ang="0">
                      <a:pos x="connsiteX0" y="connsiteY0"/>
                    </a:cxn>
                    <a:cxn ang="0">
                      <a:pos x="connsiteX1" y="connsiteY1"/>
                    </a:cxn>
                  </a:cxnLst>
                  <a:rect l="l" t="t" r="r" b="b"/>
                  <a:pathLst>
                    <a:path w="5608" h="78011">
                      <a:moveTo>
                        <a:pt x="0" y="78012"/>
                      </a:moveTo>
                      <a:lnTo>
                        <a:pt x="0" y="0"/>
                      </a:lnTo>
                    </a:path>
                  </a:pathLst>
                </a:custGeom>
                <a:ln w="12700" cap="flat">
                  <a:solidFill>
                    <a:srgbClr val="000000"/>
                  </a:solidFill>
                  <a:prstDash val="solid"/>
                  <a:miter/>
                </a:ln>
              </p:spPr>
              <p:txBody>
                <a:bodyPr rtlCol="0" anchor="ctr"/>
                <a:lstStyle/>
                <a:p>
                  <a:pPr defTabSz="457189">
                    <a:defRPr/>
                  </a:pPr>
                  <a:endParaRPr lang="en-US" kern="0" dirty="0">
                    <a:solidFill>
                      <a:srgbClr val="000000"/>
                    </a:solidFill>
                  </a:endParaRPr>
                </a:p>
              </p:txBody>
            </p:sp>
            <p:sp>
              <p:nvSpPr>
                <p:cNvPr id="114" name="Freeform 121">
                  <a:extLst>
                    <a:ext uri="{FF2B5EF4-FFF2-40B4-BE49-F238E27FC236}">
                      <a16:creationId xmlns:a16="http://schemas.microsoft.com/office/drawing/2014/main" xmlns="" id="{1679342D-6FE9-1BF0-0475-5E457131CFA4}"/>
                    </a:ext>
                  </a:extLst>
                </p:cNvPr>
                <p:cNvSpPr/>
                <p:nvPr/>
              </p:nvSpPr>
              <p:spPr>
                <a:xfrm>
                  <a:off x="2037186" y="1666854"/>
                  <a:ext cx="1391811" cy="1980001"/>
                </a:xfrm>
                <a:custGeom>
                  <a:avLst/>
                  <a:gdLst>
                    <a:gd name="connsiteX0" fmla="*/ 0 w 1391811"/>
                    <a:gd name="connsiteY0" fmla="*/ 0 h 1980001"/>
                    <a:gd name="connsiteX1" fmla="*/ 61077 w 1391811"/>
                    <a:gd name="connsiteY1" fmla="*/ 0 h 1980001"/>
                    <a:gd name="connsiteX2" fmla="*/ 61077 w 1391811"/>
                    <a:gd name="connsiteY2" fmla="*/ 253973 h 1980001"/>
                    <a:gd name="connsiteX3" fmla="*/ 139148 w 1391811"/>
                    <a:gd name="connsiteY3" fmla="*/ 253973 h 1980001"/>
                    <a:gd name="connsiteX4" fmla="*/ 139148 w 1391811"/>
                    <a:gd name="connsiteY4" fmla="*/ 516146 h 1980001"/>
                    <a:gd name="connsiteX5" fmla="*/ 279361 w 1391811"/>
                    <a:gd name="connsiteY5" fmla="*/ 516146 h 1980001"/>
                    <a:gd name="connsiteX6" fmla="*/ 279361 w 1391811"/>
                    <a:gd name="connsiteY6" fmla="*/ 774612 h 1980001"/>
                    <a:gd name="connsiteX7" fmla="*/ 416938 w 1391811"/>
                    <a:gd name="connsiteY7" fmla="*/ 774612 h 1980001"/>
                    <a:gd name="connsiteX8" fmla="*/ 416938 w 1391811"/>
                    <a:gd name="connsiteY8" fmla="*/ 1026451 h 1980001"/>
                    <a:gd name="connsiteX9" fmla="*/ 661638 w 1391811"/>
                    <a:gd name="connsiteY9" fmla="*/ 1026451 h 1980001"/>
                    <a:gd name="connsiteX10" fmla="*/ 661638 w 1391811"/>
                    <a:gd name="connsiteY10" fmla="*/ 1670033 h 1980001"/>
                    <a:gd name="connsiteX11" fmla="*/ 893101 w 1391811"/>
                    <a:gd name="connsiteY11" fmla="*/ 1670033 h 1980001"/>
                    <a:gd name="connsiteX12" fmla="*/ 893101 w 1391811"/>
                    <a:gd name="connsiteY12" fmla="*/ 1980001 h 1980001"/>
                    <a:gd name="connsiteX13" fmla="*/ 1391811 w 1391811"/>
                    <a:gd name="connsiteY13" fmla="*/ 1980001 h 198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1811" h="1980001">
                      <a:moveTo>
                        <a:pt x="0" y="0"/>
                      </a:moveTo>
                      <a:lnTo>
                        <a:pt x="61077" y="0"/>
                      </a:lnTo>
                      <a:lnTo>
                        <a:pt x="61077" y="253973"/>
                      </a:lnTo>
                      <a:lnTo>
                        <a:pt x="139148" y="253973"/>
                      </a:lnTo>
                      <a:lnTo>
                        <a:pt x="139148" y="516146"/>
                      </a:lnTo>
                      <a:lnTo>
                        <a:pt x="279361" y="516146"/>
                      </a:lnTo>
                      <a:lnTo>
                        <a:pt x="279361" y="774612"/>
                      </a:lnTo>
                      <a:lnTo>
                        <a:pt x="416938" y="774612"/>
                      </a:lnTo>
                      <a:lnTo>
                        <a:pt x="416938" y="1026451"/>
                      </a:lnTo>
                      <a:lnTo>
                        <a:pt x="661638" y="1026451"/>
                      </a:lnTo>
                      <a:lnTo>
                        <a:pt x="661638" y="1670033"/>
                      </a:lnTo>
                      <a:lnTo>
                        <a:pt x="893101" y="1670033"/>
                      </a:lnTo>
                      <a:lnTo>
                        <a:pt x="893101" y="1980001"/>
                      </a:lnTo>
                      <a:lnTo>
                        <a:pt x="1391811" y="1980001"/>
                      </a:lnTo>
                    </a:path>
                  </a:pathLst>
                </a:custGeom>
                <a:noFill/>
                <a:ln w="12700" cap="flat">
                  <a:solidFill>
                    <a:srgbClr val="810851"/>
                  </a:solidFill>
                  <a:prstDash val="solid"/>
                  <a:miter/>
                </a:ln>
              </p:spPr>
              <p:txBody>
                <a:bodyPr rtlCol="0" anchor="ctr"/>
                <a:lstStyle/>
                <a:p>
                  <a:pPr defTabSz="457189">
                    <a:defRPr/>
                  </a:pPr>
                  <a:endParaRPr lang="en-US" kern="0" dirty="0">
                    <a:solidFill>
                      <a:srgbClr val="000000"/>
                    </a:solidFill>
                  </a:endParaRPr>
                </a:p>
              </p:txBody>
            </p:sp>
            <p:sp>
              <p:nvSpPr>
                <p:cNvPr id="115" name="Freeform 122">
                  <a:extLst>
                    <a:ext uri="{FF2B5EF4-FFF2-40B4-BE49-F238E27FC236}">
                      <a16:creationId xmlns:a16="http://schemas.microsoft.com/office/drawing/2014/main" xmlns="" id="{D43A3160-EBFB-0D2C-3129-19B85DFB91B7}"/>
                    </a:ext>
                  </a:extLst>
                </p:cNvPr>
                <p:cNvSpPr/>
                <p:nvPr/>
              </p:nvSpPr>
              <p:spPr>
                <a:xfrm>
                  <a:off x="2219463" y="1666854"/>
                  <a:ext cx="3077621" cy="2596118"/>
                </a:xfrm>
                <a:custGeom>
                  <a:avLst/>
                  <a:gdLst>
                    <a:gd name="connsiteX0" fmla="*/ 0 w 3077621"/>
                    <a:gd name="connsiteY0" fmla="*/ 0 h 2596118"/>
                    <a:gd name="connsiteX1" fmla="*/ 0 w 3077621"/>
                    <a:gd name="connsiteY1" fmla="*/ 566750 h 2596118"/>
                    <a:gd name="connsiteX2" fmla="*/ 438138 w 3077621"/>
                    <a:gd name="connsiteY2" fmla="*/ 566750 h 2596118"/>
                    <a:gd name="connsiteX3" fmla="*/ 438138 w 3077621"/>
                    <a:gd name="connsiteY3" fmla="*/ 973713 h 2596118"/>
                    <a:gd name="connsiteX4" fmla="*/ 473472 w 3077621"/>
                    <a:gd name="connsiteY4" fmla="*/ 973713 h 2596118"/>
                    <a:gd name="connsiteX5" fmla="*/ 473472 w 3077621"/>
                    <a:gd name="connsiteY5" fmla="*/ 1381294 h 2596118"/>
                    <a:gd name="connsiteX6" fmla="*/ 1840606 w 3077621"/>
                    <a:gd name="connsiteY6" fmla="*/ 1381294 h 2596118"/>
                    <a:gd name="connsiteX7" fmla="*/ 1840606 w 3077621"/>
                    <a:gd name="connsiteY7" fmla="*/ 1993705 h 2596118"/>
                    <a:gd name="connsiteX8" fmla="*/ 3077622 w 3077621"/>
                    <a:gd name="connsiteY8" fmla="*/ 1993705 h 2596118"/>
                    <a:gd name="connsiteX9" fmla="*/ 3077622 w 3077621"/>
                    <a:gd name="connsiteY9" fmla="*/ 2596119 h 259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7621" h="2596118">
                      <a:moveTo>
                        <a:pt x="0" y="0"/>
                      </a:moveTo>
                      <a:lnTo>
                        <a:pt x="0" y="566750"/>
                      </a:lnTo>
                      <a:lnTo>
                        <a:pt x="438138" y="566750"/>
                      </a:lnTo>
                      <a:lnTo>
                        <a:pt x="438138" y="973713"/>
                      </a:lnTo>
                      <a:lnTo>
                        <a:pt x="473472" y="973713"/>
                      </a:lnTo>
                      <a:lnTo>
                        <a:pt x="473472" y="1381294"/>
                      </a:lnTo>
                      <a:lnTo>
                        <a:pt x="1840606" y="1381294"/>
                      </a:lnTo>
                      <a:lnTo>
                        <a:pt x="1840606" y="1993705"/>
                      </a:lnTo>
                      <a:lnTo>
                        <a:pt x="3077622" y="1993705"/>
                      </a:lnTo>
                      <a:lnTo>
                        <a:pt x="3077622" y="2596119"/>
                      </a:lnTo>
                    </a:path>
                  </a:pathLst>
                </a:custGeom>
                <a:noFill/>
                <a:ln w="12700" cap="flat">
                  <a:solidFill>
                    <a:srgbClr val="09508C"/>
                  </a:solidFill>
                  <a:prstDash val="solid"/>
                  <a:miter/>
                </a:ln>
              </p:spPr>
              <p:txBody>
                <a:bodyPr rtlCol="0" anchor="ctr"/>
                <a:lstStyle/>
                <a:p>
                  <a:pPr defTabSz="457189">
                    <a:defRPr/>
                  </a:pPr>
                  <a:endParaRPr lang="en-US" kern="0" dirty="0">
                    <a:solidFill>
                      <a:srgbClr val="000000"/>
                    </a:solidFill>
                  </a:endParaRPr>
                </a:p>
              </p:txBody>
            </p:sp>
            <p:sp>
              <p:nvSpPr>
                <p:cNvPr id="116" name="Freeform 123">
                  <a:extLst>
                    <a:ext uri="{FF2B5EF4-FFF2-40B4-BE49-F238E27FC236}">
                      <a16:creationId xmlns:a16="http://schemas.microsoft.com/office/drawing/2014/main" xmlns="" id="{F64D0C2D-6471-1219-2F89-CCEFCEE47EB1}"/>
                    </a:ext>
                  </a:extLst>
                </p:cNvPr>
                <p:cNvSpPr/>
                <p:nvPr/>
              </p:nvSpPr>
              <p:spPr>
                <a:xfrm>
                  <a:off x="2024455" y="1666854"/>
                  <a:ext cx="3153423" cy="2253799"/>
                </a:xfrm>
                <a:custGeom>
                  <a:avLst/>
                  <a:gdLst>
                    <a:gd name="connsiteX0" fmla="*/ 0 w 3371115"/>
                    <a:gd name="connsiteY0" fmla="*/ 0 h 1525803"/>
                    <a:gd name="connsiteX1" fmla="*/ 222266 w 3371115"/>
                    <a:gd name="connsiteY1" fmla="*/ 0 h 1525803"/>
                    <a:gd name="connsiteX2" fmla="*/ 222266 w 3371115"/>
                    <a:gd name="connsiteY2" fmla="*/ 63128 h 1525803"/>
                    <a:gd name="connsiteX3" fmla="*/ 251430 w 3371115"/>
                    <a:gd name="connsiteY3" fmla="*/ 63128 h 1525803"/>
                    <a:gd name="connsiteX4" fmla="*/ 251430 w 3371115"/>
                    <a:gd name="connsiteY4" fmla="*/ 131929 h 1525803"/>
                    <a:gd name="connsiteX5" fmla="*/ 272799 w 3371115"/>
                    <a:gd name="connsiteY5" fmla="*/ 131929 h 1525803"/>
                    <a:gd name="connsiteX6" fmla="*/ 272799 w 3371115"/>
                    <a:gd name="connsiteY6" fmla="*/ 202021 h 1525803"/>
                    <a:gd name="connsiteX7" fmla="*/ 570892 w 3371115"/>
                    <a:gd name="connsiteY7" fmla="*/ 202021 h 1525803"/>
                    <a:gd name="connsiteX8" fmla="*/ 570892 w 3371115"/>
                    <a:gd name="connsiteY8" fmla="*/ 280539 h 1525803"/>
                    <a:gd name="connsiteX9" fmla="*/ 609759 w 3371115"/>
                    <a:gd name="connsiteY9" fmla="*/ 280539 h 1525803"/>
                    <a:gd name="connsiteX10" fmla="*/ 609759 w 3371115"/>
                    <a:gd name="connsiteY10" fmla="*/ 364223 h 1525803"/>
                    <a:gd name="connsiteX11" fmla="*/ 641503 w 3371115"/>
                    <a:gd name="connsiteY11" fmla="*/ 364223 h 1525803"/>
                    <a:gd name="connsiteX12" fmla="*/ 641503 w 3371115"/>
                    <a:gd name="connsiteY12" fmla="*/ 454422 h 1525803"/>
                    <a:gd name="connsiteX13" fmla="*/ 723836 w 3371115"/>
                    <a:gd name="connsiteY13" fmla="*/ 454422 h 1525803"/>
                    <a:gd name="connsiteX14" fmla="*/ 723836 w 3371115"/>
                    <a:gd name="connsiteY14" fmla="*/ 560179 h 1525803"/>
                    <a:gd name="connsiteX15" fmla="*/ 838531 w 3371115"/>
                    <a:gd name="connsiteY15" fmla="*/ 560179 h 1525803"/>
                    <a:gd name="connsiteX16" fmla="*/ 838531 w 3371115"/>
                    <a:gd name="connsiteY16" fmla="*/ 692557 h 1525803"/>
                    <a:gd name="connsiteX17" fmla="*/ 1328435 w 3371115"/>
                    <a:gd name="connsiteY17" fmla="*/ 692557 h 1525803"/>
                    <a:gd name="connsiteX18" fmla="*/ 1328435 w 3371115"/>
                    <a:gd name="connsiteY18" fmla="*/ 928782 h 1525803"/>
                    <a:gd name="connsiteX19" fmla="*/ 1664105 w 3371115"/>
                    <a:gd name="connsiteY19" fmla="*/ 928782 h 1525803"/>
                    <a:gd name="connsiteX20" fmla="*/ 1664105 w 3371115"/>
                    <a:gd name="connsiteY20" fmla="*/ 1166973 h 1525803"/>
                    <a:gd name="connsiteX21" fmla="*/ 2421649 w 3371115"/>
                    <a:gd name="connsiteY21" fmla="*/ 1166973 h 1525803"/>
                    <a:gd name="connsiteX22" fmla="*/ 2421649 w 3371115"/>
                    <a:gd name="connsiteY22" fmla="*/ 1525804 h 1525803"/>
                    <a:gd name="connsiteX23" fmla="*/ 3371116 w 3371115"/>
                    <a:gd name="connsiteY23" fmla="*/ 1525804 h 1525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71115" h="1525803">
                      <a:moveTo>
                        <a:pt x="0" y="0"/>
                      </a:moveTo>
                      <a:lnTo>
                        <a:pt x="222266" y="0"/>
                      </a:lnTo>
                      <a:lnTo>
                        <a:pt x="222266" y="63128"/>
                      </a:lnTo>
                      <a:lnTo>
                        <a:pt x="251430" y="63128"/>
                      </a:lnTo>
                      <a:lnTo>
                        <a:pt x="251430" y="131929"/>
                      </a:lnTo>
                      <a:lnTo>
                        <a:pt x="272799" y="131929"/>
                      </a:lnTo>
                      <a:lnTo>
                        <a:pt x="272799" y="202021"/>
                      </a:lnTo>
                      <a:lnTo>
                        <a:pt x="570892" y="202021"/>
                      </a:lnTo>
                      <a:lnTo>
                        <a:pt x="570892" y="280539"/>
                      </a:lnTo>
                      <a:lnTo>
                        <a:pt x="609759" y="280539"/>
                      </a:lnTo>
                      <a:lnTo>
                        <a:pt x="609759" y="364223"/>
                      </a:lnTo>
                      <a:lnTo>
                        <a:pt x="641503" y="364223"/>
                      </a:lnTo>
                      <a:lnTo>
                        <a:pt x="641503" y="454422"/>
                      </a:lnTo>
                      <a:lnTo>
                        <a:pt x="723836" y="454422"/>
                      </a:lnTo>
                      <a:lnTo>
                        <a:pt x="723836" y="560179"/>
                      </a:lnTo>
                      <a:lnTo>
                        <a:pt x="838531" y="560179"/>
                      </a:lnTo>
                      <a:lnTo>
                        <a:pt x="838531" y="692557"/>
                      </a:lnTo>
                      <a:lnTo>
                        <a:pt x="1328435" y="692557"/>
                      </a:lnTo>
                      <a:lnTo>
                        <a:pt x="1328435" y="928782"/>
                      </a:lnTo>
                      <a:lnTo>
                        <a:pt x="1664105" y="928782"/>
                      </a:lnTo>
                      <a:lnTo>
                        <a:pt x="1664105" y="1166973"/>
                      </a:lnTo>
                      <a:lnTo>
                        <a:pt x="2421649" y="1166973"/>
                      </a:lnTo>
                      <a:lnTo>
                        <a:pt x="2421649" y="1525804"/>
                      </a:lnTo>
                      <a:lnTo>
                        <a:pt x="3371116" y="1525804"/>
                      </a:lnTo>
                    </a:path>
                  </a:pathLst>
                </a:custGeom>
                <a:noFill/>
                <a:ln w="12700" cap="flat">
                  <a:solidFill>
                    <a:srgbClr val="C4D600">
                      <a:lumMod val="75000"/>
                      <a:lumOff val="25000"/>
                    </a:srgbClr>
                  </a:solidFill>
                  <a:prstDash val="solid"/>
                  <a:miter/>
                </a:ln>
              </p:spPr>
              <p:txBody>
                <a:bodyPr rtlCol="0" anchor="ctr"/>
                <a:lstStyle/>
                <a:p>
                  <a:pPr defTabSz="457189">
                    <a:defRPr/>
                  </a:pPr>
                  <a:endParaRPr lang="en-US" kern="0" dirty="0">
                    <a:solidFill>
                      <a:srgbClr val="000000"/>
                    </a:solidFill>
                  </a:endParaRPr>
                </a:p>
              </p:txBody>
            </p:sp>
            <p:sp>
              <p:nvSpPr>
                <p:cNvPr id="117" name="Freeform 124">
                  <a:extLst>
                    <a:ext uri="{FF2B5EF4-FFF2-40B4-BE49-F238E27FC236}">
                      <a16:creationId xmlns:a16="http://schemas.microsoft.com/office/drawing/2014/main" xmlns="" id="{19834434-F3AD-6DDC-AD2C-10C5BA8511EA}"/>
                    </a:ext>
                  </a:extLst>
                </p:cNvPr>
                <p:cNvSpPr/>
                <p:nvPr/>
              </p:nvSpPr>
              <p:spPr>
                <a:xfrm>
                  <a:off x="1997309" y="1697182"/>
                  <a:ext cx="3859618" cy="2565790"/>
                </a:xfrm>
                <a:custGeom>
                  <a:avLst/>
                  <a:gdLst>
                    <a:gd name="connsiteX0" fmla="*/ 0 w 3859618"/>
                    <a:gd name="connsiteY0" fmla="*/ 0 h 2565790"/>
                    <a:gd name="connsiteX1" fmla="*/ 77005 w 3859618"/>
                    <a:gd name="connsiteY1" fmla="*/ 0 h 2565790"/>
                    <a:gd name="connsiteX2" fmla="*/ 77005 w 3859618"/>
                    <a:gd name="connsiteY2" fmla="*/ 53917 h 2565790"/>
                    <a:gd name="connsiteX3" fmla="*/ 100953 w 3859618"/>
                    <a:gd name="connsiteY3" fmla="*/ 53917 h 2565790"/>
                    <a:gd name="connsiteX4" fmla="*/ 100953 w 3859618"/>
                    <a:gd name="connsiteY4" fmla="*/ 77787 h 2565790"/>
                    <a:gd name="connsiteX5" fmla="*/ 149523 w 3859618"/>
                    <a:gd name="connsiteY5" fmla="*/ 77787 h 2565790"/>
                    <a:gd name="connsiteX6" fmla="*/ 149523 w 3859618"/>
                    <a:gd name="connsiteY6" fmla="*/ 153496 h 2565790"/>
                    <a:gd name="connsiteX7" fmla="*/ 222154 w 3859618"/>
                    <a:gd name="connsiteY7" fmla="*/ 153496 h 2565790"/>
                    <a:gd name="connsiteX8" fmla="*/ 222154 w 3859618"/>
                    <a:gd name="connsiteY8" fmla="*/ 177871 h 2565790"/>
                    <a:gd name="connsiteX9" fmla="*/ 235222 w 3859618"/>
                    <a:gd name="connsiteY9" fmla="*/ 177871 h 2565790"/>
                    <a:gd name="connsiteX10" fmla="*/ 235222 w 3859618"/>
                    <a:gd name="connsiteY10" fmla="*/ 203763 h 2565790"/>
                    <a:gd name="connsiteX11" fmla="*/ 283343 w 3859618"/>
                    <a:gd name="connsiteY11" fmla="*/ 203763 h 2565790"/>
                    <a:gd name="connsiteX12" fmla="*/ 283343 w 3859618"/>
                    <a:gd name="connsiteY12" fmla="*/ 236113 h 2565790"/>
                    <a:gd name="connsiteX13" fmla="*/ 305609 w 3859618"/>
                    <a:gd name="connsiteY13" fmla="*/ 236113 h 2565790"/>
                    <a:gd name="connsiteX14" fmla="*/ 305609 w 3859618"/>
                    <a:gd name="connsiteY14" fmla="*/ 292221 h 2565790"/>
                    <a:gd name="connsiteX15" fmla="*/ 336455 w 3859618"/>
                    <a:gd name="connsiteY15" fmla="*/ 292221 h 2565790"/>
                    <a:gd name="connsiteX16" fmla="*/ 336455 w 3859618"/>
                    <a:gd name="connsiteY16" fmla="*/ 317382 h 2565790"/>
                    <a:gd name="connsiteX17" fmla="*/ 405384 w 3859618"/>
                    <a:gd name="connsiteY17" fmla="*/ 317382 h 2565790"/>
                    <a:gd name="connsiteX18" fmla="*/ 405384 w 3859618"/>
                    <a:gd name="connsiteY18" fmla="*/ 345408 h 2565790"/>
                    <a:gd name="connsiteX19" fmla="*/ 457095 w 3859618"/>
                    <a:gd name="connsiteY19" fmla="*/ 345408 h 2565790"/>
                    <a:gd name="connsiteX20" fmla="*/ 457095 w 3859618"/>
                    <a:gd name="connsiteY20" fmla="*/ 382813 h 2565790"/>
                    <a:gd name="connsiteX21" fmla="*/ 467134 w 3859618"/>
                    <a:gd name="connsiteY21" fmla="*/ 382813 h 2565790"/>
                    <a:gd name="connsiteX22" fmla="*/ 467134 w 3859618"/>
                    <a:gd name="connsiteY22" fmla="*/ 413703 h 2565790"/>
                    <a:gd name="connsiteX23" fmla="*/ 487269 w 3859618"/>
                    <a:gd name="connsiteY23" fmla="*/ 413703 h 2565790"/>
                    <a:gd name="connsiteX24" fmla="*/ 487269 w 3859618"/>
                    <a:gd name="connsiteY24" fmla="*/ 438134 h 2565790"/>
                    <a:gd name="connsiteX25" fmla="*/ 498037 w 3859618"/>
                    <a:gd name="connsiteY25" fmla="*/ 438134 h 2565790"/>
                    <a:gd name="connsiteX26" fmla="*/ 498037 w 3859618"/>
                    <a:gd name="connsiteY26" fmla="*/ 508620 h 2565790"/>
                    <a:gd name="connsiteX27" fmla="*/ 551879 w 3859618"/>
                    <a:gd name="connsiteY27" fmla="*/ 508620 h 2565790"/>
                    <a:gd name="connsiteX28" fmla="*/ 551879 w 3859618"/>
                    <a:gd name="connsiteY28" fmla="*/ 546025 h 2565790"/>
                    <a:gd name="connsiteX29" fmla="*/ 568087 w 3859618"/>
                    <a:gd name="connsiteY29" fmla="*/ 546025 h 2565790"/>
                    <a:gd name="connsiteX30" fmla="*/ 568087 w 3859618"/>
                    <a:gd name="connsiteY30" fmla="*/ 573714 h 2565790"/>
                    <a:gd name="connsiteX31" fmla="*/ 581941 w 3859618"/>
                    <a:gd name="connsiteY31" fmla="*/ 573714 h 2565790"/>
                    <a:gd name="connsiteX32" fmla="*/ 581941 w 3859618"/>
                    <a:gd name="connsiteY32" fmla="*/ 608592 h 2565790"/>
                    <a:gd name="connsiteX33" fmla="*/ 627762 w 3859618"/>
                    <a:gd name="connsiteY33" fmla="*/ 608592 h 2565790"/>
                    <a:gd name="connsiteX34" fmla="*/ 627762 w 3859618"/>
                    <a:gd name="connsiteY34" fmla="*/ 651108 h 2565790"/>
                    <a:gd name="connsiteX35" fmla="*/ 682614 w 3859618"/>
                    <a:gd name="connsiteY35" fmla="*/ 651108 h 2565790"/>
                    <a:gd name="connsiteX36" fmla="*/ 682614 w 3859618"/>
                    <a:gd name="connsiteY36" fmla="*/ 738274 h 2565790"/>
                    <a:gd name="connsiteX37" fmla="*/ 697757 w 3859618"/>
                    <a:gd name="connsiteY37" fmla="*/ 738274 h 2565790"/>
                    <a:gd name="connsiteX38" fmla="*/ 697757 w 3859618"/>
                    <a:gd name="connsiteY38" fmla="*/ 776971 h 2565790"/>
                    <a:gd name="connsiteX39" fmla="*/ 713853 w 3859618"/>
                    <a:gd name="connsiteY39" fmla="*/ 776971 h 2565790"/>
                    <a:gd name="connsiteX40" fmla="*/ 713853 w 3859618"/>
                    <a:gd name="connsiteY40" fmla="*/ 814264 h 2565790"/>
                    <a:gd name="connsiteX41" fmla="*/ 788334 w 3859618"/>
                    <a:gd name="connsiteY41" fmla="*/ 814264 h 2565790"/>
                    <a:gd name="connsiteX42" fmla="*/ 788334 w 3859618"/>
                    <a:gd name="connsiteY42" fmla="*/ 868125 h 2565790"/>
                    <a:gd name="connsiteX43" fmla="*/ 872911 w 3859618"/>
                    <a:gd name="connsiteY43" fmla="*/ 868125 h 2565790"/>
                    <a:gd name="connsiteX44" fmla="*/ 872911 w 3859618"/>
                    <a:gd name="connsiteY44" fmla="*/ 927940 h 2565790"/>
                    <a:gd name="connsiteX45" fmla="*/ 897252 w 3859618"/>
                    <a:gd name="connsiteY45" fmla="*/ 927940 h 2565790"/>
                    <a:gd name="connsiteX46" fmla="*/ 897252 w 3859618"/>
                    <a:gd name="connsiteY46" fmla="*/ 994213 h 2565790"/>
                    <a:gd name="connsiteX47" fmla="*/ 936343 w 3859618"/>
                    <a:gd name="connsiteY47" fmla="*/ 994213 h 2565790"/>
                    <a:gd name="connsiteX48" fmla="*/ 936343 w 3859618"/>
                    <a:gd name="connsiteY48" fmla="*/ 1067451 h 2565790"/>
                    <a:gd name="connsiteX49" fmla="*/ 1004823 w 3859618"/>
                    <a:gd name="connsiteY49" fmla="*/ 1067451 h 2565790"/>
                    <a:gd name="connsiteX50" fmla="*/ 1004823 w 3859618"/>
                    <a:gd name="connsiteY50" fmla="*/ 1142935 h 2565790"/>
                    <a:gd name="connsiteX51" fmla="*/ 1110993 w 3859618"/>
                    <a:gd name="connsiteY51" fmla="*/ 1142935 h 2565790"/>
                    <a:gd name="connsiteX52" fmla="*/ 1110993 w 3859618"/>
                    <a:gd name="connsiteY52" fmla="*/ 1237740 h 2565790"/>
                    <a:gd name="connsiteX53" fmla="*/ 1143634 w 3859618"/>
                    <a:gd name="connsiteY53" fmla="*/ 1237740 h 2565790"/>
                    <a:gd name="connsiteX54" fmla="*/ 1143634 w 3859618"/>
                    <a:gd name="connsiteY54" fmla="*/ 1335352 h 2565790"/>
                    <a:gd name="connsiteX55" fmla="*/ 1377173 w 3859618"/>
                    <a:gd name="connsiteY55" fmla="*/ 1335352 h 2565790"/>
                    <a:gd name="connsiteX56" fmla="*/ 1377173 w 3859618"/>
                    <a:gd name="connsiteY56" fmla="*/ 1442120 h 2565790"/>
                    <a:gd name="connsiteX57" fmla="*/ 1404318 w 3859618"/>
                    <a:gd name="connsiteY57" fmla="*/ 1442120 h 2565790"/>
                    <a:gd name="connsiteX58" fmla="*/ 1404318 w 3859618"/>
                    <a:gd name="connsiteY58" fmla="*/ 1557200 h 2565790"/>
                    <a:gd name="connsiteX59" fmla="*/ 2161974 w 3859618"/>
                    <a:gd name="connsiteY59" fmla="*/ 1557200 h 2565790"/>
                    <a:gd name="connsiteX60" fmla="*/ 2161974 w 3859618"/>
                    <a:gd name="connsiteY60" fmla="*/ 1732431 h 2565790"/>
                    <a:gd name="connsiteX61" fmla="*/ 2751374 w 3859618"/>
                    <a:gd name="connsiteY61" fmla="*/ 1732431 h 2565790"/>
                    <a:gd name="connsiteX62" fmla="*/ 2751374 w 3859618"/>
                    <a:gd name="connsiteY62" fmla="*/ 1943270 h 2565790"/>
                    <a:gd name="connsiteX63" fmla="*/ 3859619 w 3859618"/>
                    <a:gd name="connsiteY63" fmla="*/ 1943270 h 2565790"/>
                    <a:gd name="connsiteX64" fmla="*/ 3859619 w 3859618"/>
                    <a:gd name="connsiteY64" fmla="*/ 2565791 h 256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859618" h="2565790">
                      <a:moveTo>
                        <a:pt x="0" y="0"/>
                      </a:moveTo>
                      <a:lnTo>
                        <a:pt x="77005" y="0"/>
                      </a:lnTo>
                      <a:lnTo>
                        <a:pt x="77005" y="53917"/>
                      </a:lnTo>
                      <a:lnTo>
                        <a:pt x="100953" y="53917"/>
                      </a:lnTo>
                      <a:lnTo>
                        <a:pt x="100953" y="77787"/>
                      </a:lnTo>
                      <a:lnTo>
                        <a:pt x="149523" y="77787"/>
                      </a:lnTo>
                      <a:lnTo>
                        <a:pt x="149523" y="153496"/>
                      </a:lnTo>
                      <a:lnTo>
                        <a:pt x="222154" y="153496"/>
                      </a:lnTo>
                      <a:lnTo>
                        <a:pt x="222154" y="177871"/>
                      </a:lnTo>
                      <a:lnTo>
                        <a:pt x="235222" y="177871"/>
                      </a:lnTo>
                      <a:lnTo>
                        <a:pt x="235222" y="203763"/>
                      </a:lnTo>
                      <a:lnTo>
                        <a:pt x="283343" y="203763"/>
                      </a:lnTo>
                      <a:lnTo>
                        <a:pt x="283343" y="236113"/>
                      </a:lnTo>
                      <a:lnTo>
                        <a:pt x="305609" y="236113"/>
                      </a:lnTo>
                      <a:lnTo>
                        <a:pt x="305609" y="292221"/>
                      </a:lnTo>
                      <a:lnTo>
                        <a:pt x="336455" y="292221"/>
                      </a:lnTo>
                      <a:lnTo>
                        <a:pt x="336455" y="317382"/>
                      </a:lnTo>
                      <a:lnTo>
                        <a:pt x="405384" y="317382"/>
                      </a:lnTo>
                      <a:lnTo>
                        <a:pt x="405384" y="345408"/>
                      </a:lnTo>
                      <a:lnTo>
                        <a:pt x="457095" y="345408"/>
                      </a:lnTo>
                      <a:lnTo>
                        <a:pt x="457095" y="382813"/>
                      </a:lnTo>
                      <a:lnTo>
                        <a:pt x="467134" y="382813"/>
                      </a:lnTo>
                      <a:lnTo>
                        <a:pt x="467134" y="413703"/>
                      </a:lnTo>
                      <a:lnTo>
                        <a:pt x="487269" y="413703"/>
                      </a:lnTo>
                      <a:lnTo>
                        <a:pt x="487269" y="438134"/>
                      </a:lnTo>
                      <a:lnTo>
                        <a:pt x="498037" y="438134"/>
                      </a:lnTo>
                      <a:lnTo>
                        <a:pt x="498037" y="508620"/>
                      </a:lnTo>
                      <a:lnTo>
                        <a:pt x="551879" y="508620"/>
                      </a:lnTo>
                      <a:lnTo>
                        <a:pt x="551879" y="546025"/>
                      </a:lnTo>
                      <a:lnTo>
                        <a:pt x="568087" y="546025"/>
                      </a:lnTo>
                      <a:lnTo>
                        <a:pt x="568087" y="573714"/>
                      </a:lnTo>
                      <a:lnTo>
                        <a:pt x="581941" y="573714"/>
                      </a:lnTo>
                      <a:lnTo>
                        <a:pt x="581941" y="608592"/>
                      </a:lnTo>
                      <a:lnTo>
                        <a:pt x="627762" y="608592"/>
                      </a:lnTo>
                      <a:lnTo>
                        <a:pt x="627762" y="651108"/>
                      </a:lnTo>
                      <a:lnTo>
                        <a:pt x="682614" y="651108"/>
                      </a:lnTo>
                      <a:lnTo>
                        <a:pt x="682614" y="738274"/>
                      </a:lnTo>
                      <a:lnTo>
                        <a:pt x="697757" y="738274"/>
                      </a:lnTo>
                      <a:lnTo>
                        <a:pt x="697757" y="776971"/>
                      </a:lnTo>
                      <a:lnTo>
                        <a:pt x="713853" y="776971"/>
                      </a:lnTo>
                      <a:lnTo>
                        <a:pt x="713853" y="814264"/>
                      </a:lnTo>
                      <a:lnTo>
                        <a:pt x="788334" y="814264"/>
                      </a:lnTo>
                      <a:lnTo>
                        <a:pt x="788334" y="868125"/>
                      </a:lnTo>
                      <a:lnTo>
                        <a:pt x="872911" y="868125"/>
                      </a:lnTo>
                      <a:lnTo>
                        <a:pt x="872911" y="927940"/>
                      </a:lnTo>
                      <a:lnTo>
                        <a:pt x="897252" y="927940"/>
                      </a:lnTo>
                      <a:lnTo>
                        <a:pt x="897252" y="994213"/>
                      </a:lnTo>
                      <a:lnTo>
                        <a:pt x="936343" y="994213"/>
                      </a:lnTo>
                      <a:lnTo>
                        <a:pt x="936343" y="1067451"/>
                      </a:lnTo>
                      <a:lnTo>
                        <a:pt x="1004823" y="1067451"/>
                      </a:lnTo>
                      <a:lnTo>
                        <a:pt x="1004823" y="1142935"/>
                      </a:lnTo>
                      <a:lnTo>
                        <a:pt x="1110993" y="1142935"/>
                      </a:lnTo>
                      <a:lnTo>
                        <a:pt x="1110993" y="1237740"/>
                      </a:lnTo>
                      <a:lnTo>
                        <a:pt x="1143634" y="1237740"/>
                      </a:lnTo>
                      <a:lnTo>
                        <a:pt x="1143634" y="1335352"/>
                      </a:lnTo>
                      <a:lnTo>
                        <a:pt x="1377173" y="1335352"/>
                      </a:lnTo>
                      <a:lnTo>
                        <a:pt x="1377173" y="1442120"/>
                      </a:lnTo>
                      <a:lnTo>
                        <a:pt x="1404318" y="1442120"/>
                      </a:lnTo>
                      <a:lnTo>
                        <a:pt x="1404318" y="1557200"/>
                      </a:lnTo>
                      <a:lnTo>
                        <a:pt x="2161974" y="1557200"/>
                      </a:lnTo>
                      <a:lnTo>
                        <a:pt x="2161974" y="1732431"/>
                      </a:lnTo>
                      <a:lnTo>
                        <a:pt x="2751374" y="1732431"/>
                      </a:lnTo>
                      <a:lnTo>
                        <a:pt x="2751374" y="1943270"/>
                      </a:lnTo>
                      <a:lnTo>
                        <a:pt x="3859619" y="1943270"/>
                      </a:lnTo>
                      <a:lnTo>
                        <a:pt x="3859619" y="2565791"/>
                      </a:lnTo>
                    </a:path>
                  </a:pathLst>
                </a:custGeom>
                <a:noFill/>
                <a:ln w="12700" cap="flat">
                  <a:solidFill>
                    <a:srgbClr val="35B8C9"/>
                  </a:solidFill>
                  <a:prstDash val="solid"/>
                  <a:miter/>
                </a:ln>
              </p:spPr>
              <p:txBody>
                <a:bodyPr rtlCol="0" anchor="ctr"/>
                <a:lstStyle/>
                <a:p>
                  <a:pPr defTabSz="457189">
                    <a:defRPr/>
                  </a:pPr>
                  <a:endParaRPr lang="en-US" kern="0" dirty="0">
                    <a:solidFill>
                      <a:srgbClr val="000000"/>
                    </a:solidFill>
                  </a:endParaRPr>
                </a:p>
              </p:txBody>
            </p:sp>
            <p:sp>
              <p:nvSpPr>
                <p:cNvPr id="118" name="Freeform 125">
                  <a:extLst>
                    <a:ext uri="{FF2B5EF4-FFF2-40B4-BE49-F238E27FC236}">
                      <a16:creationId xmlns:a16="http://schemas.microsoft.com/office/drawing/2014/main" xmlns="" id="{CE35C458-1AF6-2877-F07D-DE5757975BD4}"/>
                    </a:ext>
                  </a:extLst>
                </p:cNvPr>
                <p:cNvSpPr/>
                <p:nvPr/>
              </p:nvSpPr>
              <p:spPr>
                <a:xfrm>
                  <a:off x="1997366" y="1666854"/>
                  <a:ext cx="3802074" cy="2375956"/>
                </a:xfrm>
                <a:custGeom>
                  <a:avLst/>
                  <a:gdLst>
                    <a:gd name="connsiteX0" fmla="*/ 3802075 w 3802074"/>
                    <a:gd name="connsiteY0" fmla="*/ 2375957 h 2375956"/>
                    <a:gd name="connsiteX1" fmla="*/ 1787829 w 3802074"/>
                    <a:gd name="connsiteY1" fmla="*/ 2375957 h 2375956"/>
                    <a:gd name="connsiteX2" fmla="*/ 1787829 w 3802074"/>
                    <a:gd name="connsiteY2" fmla="*/ 2302326 h 2375956"/>
                    <a:gd name="connsiteX3" fmla="*/ 1459506 w 3802074"/>
                    <a:gd name="connsiteY3" fmla="*/ 2302326 h 2375956"/>
                    <a:gd name="connsiteX4" fmla="*/ 1459506 w 3802074"/>
                    <a:gd name="connsiteY4" fmla="*/ 2226392 h 2375956"/>
                    <a:gd name="connsiteX5" fmla="*/ 1300224 w 3802074"/>
                    <a:gd name="connsiteY5" fmla="*/ 2226392 h 2375956"/>
                    <a:gd name="connsiteX6" fmla="*/ 1300224 w 3802074"/>
                    <a:gd name="connsiteY6" fmla="*/ 2163320 h 2375956"/>
                    <a:gd name="connsiteX7" fmla="*/ 1280034 w 3802074"/>
                    <a:gd name="connsiteY7" fmla="*/ 2163320 h 2375956"/>
                    <a:gd name="connsiteX8" fmla="*/ 1280034 w 3802074"/>
                    <a:gd name="connsiteY8" fmla="*/ 2102944 h 2375956"/>
                    <a:gd name="connsiteX9" fmla="*/ 1106786 w 3802074"/>
                    <a:gd name="connsiteY9" fmla="*/ 2102944 h 2375956"/>
                    <a:gd name="connsiteX10" fmla="*/ 1106786 w 3802074"/>
                    <a:gd name="connsiteY10" fmla="*/ 2038299 h 2375956"/>
                    <a:gd name="connsiteX11" fmla="*/ 1042232 w 3802074"/>
                    <a:gd name="connsiteY11" fmla="*/ 2038299 h 2375956"/>
                    <a:gd name="connsiteX12" fmla="*/ 1042232 w 3802074"/>
                    <a:gd name="connsiteY12" fmla="*/ 1980114 h 2375956"/>
                    <a:gd name="connsiteX13" fmla="*/ 851542 w 3802074"/>
                    <a:gd name="connsiteY13" fmla="*/ 1980114 h 2375956"/>
                    <a:gd name="connsiteX14" fmla="*/ 851542 w 3802074"/>
                    <a:gd name="connsiteY14" fmla="*/ 1924848 h 2375956"/>
                    <a:gd name="connsiteX15" fmla="*/ 831296 w 3802074"/>
                    <a:gd name="connsiteY15" fmla="*/ 1924848 h 2375956"/>
                    <a:gd name="connsiteX16" fmla="*/ 831296 w 3802074"/>
                    <a:gd name="connsiteY16" fmla="*/ 1879019 h 2375956"/>
                    <a:gd name="connsiteX17" fmla="*/ 768536 w 3802074"/>
                    <a:gd name="connsiteY17" fmla="*/ 1879019 h 2375956"/>
                    <a:gd name="connsiteX18" fmla="*/ 768536 w 3802074"/>
                    <a:gd name="connsiteY18" fmla="*/ 1832908 h 2375956"/>
                    <a:gd name="connsiteX19" fmla="*/ 743354 w 3802074"/>
                    <a:gd name="connsiteY19" fmla="*/ 1832908 h 2375956"/>
                    <a:gd name="connsiteX20" fmla="*/ 743354 w 3802074"/>
                    <a:gd name="connsiteY20" fmla="*/ 1795054 h 2375956"/>
                    <a:gd name="connsiteX21" fmla="*/ 722546 w 3802074"/>
                    <a:gd name="connsiteY21" fmla="*/ 1795054 h 2375956"/>
                    <a:gd name="connsiteX22" fmla="*/ 722546 w 3802074"/>
                    <a:gd name="connsiteY22" fmla="*/ 1754223 h 2375956"/>
                    <a:gd name="connsiteX23" fmla="*/ 667190 w 3802074"/>
                    <a:gd name="connsiteY23" fmla="*/ 1754223 h 2375956"/>
                    <a:gd name="connsiteX24" fmla="*/ 667190 w 3802074"/>
                    <a:gd name="connsiteY24" fmla="*/ 1717267 h 2375956"/>
                    <a:gd name="connsiteX25" fmla="*/ 655973 w 3802074"/>
                    <a:gd name="connsiteY25" fmla="*/ 1717267 h 2375956"/>
                    <a:gd name="connsiteX26" fmla="*/ 655973 w 3802074"/>
                    <a:gd name="connsiteY26" fmla="*/ 1674470 h 2375956"/>
                    <a:gd name="connsiteX27" fmla="*/ 636119 w 3802074"/>
                    <a:gd name="connsiteY27" fmla="*/ 1674470 h 2375956"/>
                    <a:gd name="connsiteX28" fmla="*/ 636119 w 3802074"/>
                    <a:gd name="connsiteY28" fmla="*/ 1638637 h 2375956"/>
                    <a:gd name="connsiteX29" fmla="*/ 612058 w 3802074"/>
                    <a:gd name="connsiteY29" fmla="*/ 1638637 h 2375956"/>
                    <a:gd name="connsiteX30" fmla="*/ 612058 w 3802074"/>
                    <a:gd name="connsiteY30" fmla="*/ 1597469 h 2375956"/>
                    <a:gd name="connsiteX31" fmla="*/ 593550 w 3802074"/>
                    <a:gd name="connsiteY31" fmla="*/ 1597469 h 2375956"/>
                    <a:gd name="connsiteX32" fmla="*/ 593550 w 3802074"/>
                    <a:gd name="connsiteY32" fmla="*/ 1563771 h 2375956"/>
                    <a:gd name="connsiteX33" fmla="*/ 572013 w 3802074"/>
                    <a:gd name="connsiteY33" fmla="*/ 1563771 h 2375956"/>
                    <a:gd name="connsiteX34" fmla="*/ 572013 w 3802074"/>
                    <a:gd name="connsiteY34" fmla="*/ 1465709 h 2375956"/>
                    <a:gd name="connsiteX35" fmla="*/ 548121 w 3802074"/>
                    <a:gd name="connsiteY35" fmla="*/ 1465709 h 2375956"/>
                    <a:gd name="connsiteX36" fmla="*/ 548121 w 3802074"/>
                    <a:gd name="connsiteY36" fmla="*/ 1435830 h 2375956"/>
                    <a:gd name="connsiteX37" fmla="*/ 528211 w 3802074"/>
                    <a:gd name="connsiteY37" fmla="*/ 1435830 h 2375956"/>
                    <a:gd name="connsiteX38" fmla="*/ 528211 w 3802074"/>
                    <a:gd name="connsiteY38" fmla="*/ 1405950 h 2375956"/>
                    <a:gd name="connsiteX39" fmla="*/ 508020 w 3802074"/>
                    <a:gd name="connsiteY39" fmla="*/ 1405950 h 2375956"/>
                    <a:gd name="connsiteX40" fmla="*/ 508020 w 3802074"/>
                    <a:gd name="connsiteY40" fmla="*/ 1375116 h 2375956"/>
                    <a:gd name="connsiteX41" fmla="*/ 495794 w 3802074"/>
                    <a:gd name="connsiteY41" fmla="*/ 1375116 h 2375956"/>
                    <a:gd name="connsiteX42" fmla="*/ 495794 w 3802074"/>
                    <a:gd name="connsiteY42" fmla="*/ 1349899 h 2375956"/>
                    <a:gd name="connsiteX43" fmla="*/ 481380 w 3802074"/>
                    <a:gd name="connsiteY43" fmla="*/ 1349899 h 2375956"/>
                    <a:gd name="connsiteX44" fmla="*/ 481380 w 3802074"/>
                    <a:gd name="connsiteY44" fmla="*/ 1292668 h 2375956"/>
                    <a:gd name="connsiteX45" fmla="*/ 467358 w 3802074"/>
                    <a:gd name="connsiteY45" fmla="*/ 1292668 h 2375956"/>
                    <a:gd name="connsiteX46" fmla="*/ 467358 w 3802074"/>
                    <a:gd name="connsiteY46" fmla="*/ 1260374 h 2375956"/>
                    <a:gd name="connsiteX47" fmla="*/ 461750 w 3802074"/>
                    <a:gd name="connsiteY47" fmla="*/ 1260374 h 2375956"/>
                    <a:gd name="connsiteX48" fmla="*/ 461750 w 3802074"/>
                    <a:gd name="connsiteY48" fmla="*/ 1228472 h 2375956"/>
                    <a:gd name="connsiteX49" fmla="*/ 454851 w 3802074"/>
                    <a:gd name="connsiteY49" fmla="*/ 1228472 h 2375956"/>
                    <a:gd name="connsiteX50" fmla="*/ 454851 w 3802074"/>
                    <a:gd name="connsiteY50" fmla="*/ 1164670 h 2375956"/>
                    <a:gd name="connsiteX51" fmla="*/ 448289 w 3802074"/>
                    <a:gd name="connsiteY51" fmla="*/ 1164670 h 2375956"/>
                    <a:gd name="connsiteX52" fmla="*/ 448289 w 3802074"/>
                    <a:gd name="connsiteY52" fmla="*/ 1103564 h 2375956"/>
                    <a:gd name="connsiteX53" fmla="*/ 438306 w 3802074"/>
                    <a:gd name="connsiteY53" fmla="*/ 1103564 h 2375956"/>
                    <a:gd name="connsiteX54" fmla="*/ 438306 w 3802074"/>
                    <a:gd name="connsiteY54" fmla="*/ 1069866 h 2375956"/>
                    <a:gd name="connsiteX55" fmla="*/ 415592 w 3802074"/>
                    <a:gd name="connsiteY55" fmla="*/ 1069866 h 2375956"/>
                    <a:gd name="connsiteX56" fmla="*/ 415592 w 3802074"/>
                    <a:gd name="connsiteY56" fmla="*/ 1044423 h 2375956"/>
                    <a:gd name="connsiteX57" fmla="*/ 397925 w 3802074"/>
                    <a:gd name="connsiteY57" fmla="*/ 1044423 h 2375956"/>
                    <a:gd name="connsiteX58" fmla="*/ 397925 w 3802074"/>
                    <a:gd name="connsiteY58" fmla="*/ 1011961 h 2375956"/>
                    <a:gd name="connsiteX59" fmla="*/ 372406 w 3802074"/>
                    <a:gd name="connsiteY59" fmla="*/ 1011961 h 2375956"/>
                    <a:gd name="connsiteX60" fmla="*/ 372406 w 3802074"/>
                    <a:gd name="connsiteY60" fmla="*/ 937263 h 2375956"/>
                    <a:gd name="connsiteX61" fmla="*/ 355580 w 3802074"/>
                    <a:gd name="connsiteY61" fmla="*/ 937263 h 2375956"/>
                    <a:gd name="connsiteX62" fmla="*/ 355580 w 3802074"/>
                    <a:gd name="connsiteY62" fmla="*/ 891040 h 2375956"/>
                    <a:gd name="connsiteX63" fmla="*/ 341167 w 3802074"/>
                    <a:gd name="connsiteY63" fmla="*/ 891040 h 2375956"/>
                    <a:gd name="connsiteX64" fmla="*/ 341167 w 3802074"/>
                    <a:gd name="connsiteY64" fmla="*/ 862452 h 2375956"/>
                    <a:gd name="connsiteX65" fmla="*/ 331183 w 3802074"/>
                    <a:gd name="connsiteY65" fmla="*/ 862452 h 2375956"/>
                    <a:gd name="connsiteX66" fmla="*/ 331183 w 3802074"/>
                    <a:gd name="connsiteY66" fmla="*/ 835887 h 2375956"/>
                    <a:gd name="connsiteX67" fmla="*/ 319181 w 3802074"/>
                    <a:gd name="connsiteY67" fmla="*/ 835887 h 2375956"/>
                    <a:gd name="connsiteX68" fmla="*/ 319181 w 3802074"/>
                    <a:gd name="connsiteY68" fmla="*/ 708114 h 2375956"/>
                    <a:gd name="connsiteX69" fmla="*/ 285979 w 3802074"/>
                    <a:gd name="connsiteY69" fmla="*/ 708114 h 2375956"/>
                    <a:gd name="connsiteX70" fmla="*/ 285979 w 3802074"/>
                    <a:gd name="connsiteY70" fmla="*/ 663857 h 2375956"/>
                    <a:gd name="connsiteX71" fmla="*/ 272238 w 3802074"/>
                    <a:gd name="connsiteY71" fmla="*/ 663857 h 2375956"/>
                    <a:gd name="connsiteX72" fmla="*/ 272238 w 3802074"/>
                    <a:gd name="connsiteY72" fmla="*/ 611737 h 2375956"/>
                    <a:gd name="connsiteX73" fmla="*/ 245822 w 3802074"/>
                    <a:gd name="connsiteY73" fmla="*/ 611737 h 2375956"/>
                    <a:gd name="connsiteX74" fmla="*/ 245822 w 3802074"/>
                    <a:gd name="connsiteY74" fmla="*/ 566806 h 2375956"/>
                    <a:gd name="connsiteX75" fmla="*/ 222098 w 3802074"/>
                    <a:gd name="connsiteY75" fmla="*/ 566806 h 2375956"/>
                    <a:gd name="connsiteX76" fmla="*/ 222098 w 3802074"/>
                    <a:gd name="connsiteY76" fmla="*/ 508620 h 2375956"/>
                    <a:gd name="connsiteX77" fmla="*/ 194448 w 3802074"/>
                    <a:gd name="connsiteY77" fmla="*/ 508620 h 2375956"/>
                    <a:gd name="connsiteX78" fmla="*/ 194448 w 3802074"/>
                    <a:gd name="connsiteY78" fmla="*/ 482616 h 2375956"/>
                    <a:gd name="connsiteX79" fmla="*/ 178968 w 3802074"/>
                    <a:gd name="connsiteY79" fmla="*/ 482616 h 2375956"/>
                    <a:gd name="connsiteX80" fmla="*/ 178968 w 3802074"/>
                    <a:gd name="connsiteY80" fmla="*/ 417915 h 2375956"/>
                    <a:gd name="connsiteX81" fmla="*/ 167302 w 3802074"/>
                    <a:gd name="connsiteY81" fmla="*/ 417915 h 2375956"/>
                    <a:gd name="connsiteX82" fmla="*/ 167302 w 3802074"/>
                    <a:gd name="connsiteY82" fmla="*/ 371524 h 2375956"/>
                    <a:gd name="connsiteX83" fmla="*/ 138755 w 3802074"/>
                    <a:gd name="connsiteY83" fmla="*/ 371524 h 2375956"/>
                    <a:gd name="connsiteX84" fmla="*/ 138755 w 3802074"/>
                    <a:gd name="connsiteY84" fmla="*/ 338163 h 2375956"/>
                    <a:gd name="connsiteX85" fmla="*/ 125799 w 3802074"/>
                    <a:gd name="connsiteY85" fmla="*/ 338163 h 2375956"/>
                    <a:gd name="connsiteX86" fmla="*/ 125799 w 3802074"/>
                    <a:gd name="connsiteY86" fmla="*/ 301993 h 2375956"/>
                    <a:gd name="connsiteX87" fmla="*/ 85979 w 3802074"/>
                    <a:gd name="connsiteY87" fmla="*/ 301993 h 2375956"/>
                    <a:gd name="connsiteX88" fmla="*/ 85979 w 3802074"/>
                    <a:gd name="connsiteY88" fmla="*/ 269643 h 2375956"/>
                    <a:gd name="connsiteX89" fmla="*/ 77566 w 3802074"/>
                    <a:gd name="connsiteY89" fmla="*/ 269643 h 2375956"/>
                    <a:gd name="connsiteX90" fmla="*/ 77566 w 3802074"/>
                    <a:gd name="connsiteY90" fmla="*/ 223757 h 2375956"/>
                    <a:gd name="connsiteX91" fmla="*/ 67919 w 3802074"/>
                    <a:gd name="connsiteY91" fmla="*/ 223757 h 2375956"/>
                    <a:gd name="connsiteX92" fmla="*/ 67919 w 3802074"/>
                    <a:gd name="connsiteY92" fmla="*/ 156866 h 2375956"/>
                    <a:gd name="connsiteX93" fmla="*/ 50813 w 3802074"/>
                    <a:gd name="connsiteY93" fmla="*/ 156866 h 2375956"/>
                    <a:gd name="connsiteX94" fmla="*/ 50813 w 3802074"/>
                    <a:gd name="connsiteY94" fmla="*/ 131423 h 2375956"/>
                    <a:gd name="connsiteX95" fmla="*/ 39596 w 3802074"/>
                    <a:gd name="connsiteY95" fmla="*/ 131423 h 2375956"/>
                    <a:gd name="connsiteX96" fmla="*/ 39596 w 3802074"/>
                    <a:gd name="connsiteY96" fmla="*/ 109857 h 2375956"/>
                    <a:gd name="connsiteX97" fmla="*/ 27089 w 3802074"/>
                    <a:gd name="connsiteY97" fmla="*/ 109857 h 2375956"/>
                    <a:gd name="connsiteX98" fmla="*/ 27089 w 3802074"/>
                    <a:gd name="connsiteY98" fmla="*/ 44257 h 2375956"/>
                    <a:gd name="connsiteX99" fmla="*/ 0 w 3802074"/>
                    <a:gd name="connsiteY99" fmla="*/ 44257 h 2375956"/>
                    <a:gd name="connsiteX100" fmla="*/ 0 w 3802074"/>
                    <a:gd name="connsiteY100" fmla="*/ 0 h 237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802074" h="2375956">
                      <a:moveTo>
                        <a:pt x="3802075" y="2375957"/>
                      </a:moveTo>
                      <a:lnTo>
                        <a:pt x="1787829" y="2375957"/>
                      </a:lnTo>
                      <a:lnTo>
                        <a:pt x="1787829" y="2302326"/>
                      </a:lnTo>
                      <a:lnTo>
                        <a:pt x="1459506" y="2302326"/>
                      </a:lnTo>
                      <a:lnTo>
                        <a:pt x="1459506" y="2226392"/>
                      </a:lnTo>
                      <a:lnTo>
                        <a:pt x="1300224" y="2226392"/>
                      </a:lnTo>
                      <a:lnTo>
                        <a:pt x="1300224" y="2163320"/>
                      </a:lnTo>
                      <a:lnTo>
                        <a:pt x="1280034" y="2163320"/>
                      </a:lnTo>
                      <a:lnTo>
                        <a:pt x="1280034" y="2102944"/>
                      </a:lnTo>
                      <a:lnTo>
                        <a:pt x="1106786" y="2102944"/>
                      </a:lnTo>
                      <a:lnTo>
                        <a:pt x="1106786" y="2038299"/>
                      </a:lnTo>
                      <a:lnTo>
                        <a:pt x="1042232" y="2038299"/>
                      </a:lnTo>
                      <a:lnTo>
                        <a:pt x="1042232" y="1980114"/>
                      </a:lnTo>
                      <a:lnTo>
                        <a:pt x="851542" y="1980114"/>
                      </a:lnTo>
                      <a:lnTo>
                        <a:pt x="851542" y="1924848"/>
                      </a:lnTo>
                      <a:lnTo>
                        <a:pt x="831296" y="1924848"/>
                      </a:lnTo>
                      <a:lnTo>
                        <a:pt x="831296" y="1879019"/>
                      </a:lnTo>
                      <a:lnTo>
                        <a:pt x="768536" y="1879019"/>
                      </a:lnTo>
                      <a:lnTo>
                        <a:pt x="768536" y="1832908"/>
                      </a:lnTo>
                      <a:lnTo>
                        <a:pt x="743354" y="1832908"/>
                      </a:lnTo>
                      <a:lnTo>
                        <a:pt x="743354" y="1795054"/>
                      </a:lnTo>
                      <a:lnTo>
                        <a:pt x="722546" y="1795054"/>
                      </a:lnTo>
                      <a:lnTo>
                        <a:pt x="722546" y="1754223"/>
                      </a:lnTo>
                      <a:lnTo>
                        <a:pt x="667190" y="1754223"/>
                      </a:lnTo>
                      <a:lnTo>
                        <a:pt x="667190" y="1717267"/>
                      </a:lnTo>
                      <a:lnTo>
                        <a:pt x="655973" y="1717267"/>
                      </a:lnTo>
                      <a:lnTo>
                        <a:pt x="655973" y="1674470"/>
                      </a:lnTo>
                      <a:lnTo>
                        <a:pt x="636119" y="1674470"/>
                      </a:lnTo>
                      <a:lnTo>
                        <a:pt x="636119" y="1638637"/>
                      </a:lnTo>
                      <a:lnTo>
                        <a:pt x="612058" y="1638637"/>
                      </a:lnTo>
                      <a:lnTo>
                        <a:pt x="612058" y="1597469"/>
                      </a:lnTo>
                      <a:lnTo>
                        <a:pt x="593550" y="1597469"/>
                      </a:lnTo>
                      <a:lnTo>
                        <a:pt x="593550" y="1563771"/>
                      </a:lnTo>
                      <a:lnTo>
                        <a:pt x="572013" y="1563771"/>
                      </a:lnTo>
                      <a:lnTo>
                        <a:pt x="572013" y="1465709"/>
                      </a:lnTo>
                      <a:lnTo>
                        <a:pt x="548121" y="1465709"/>
                      </a:lnTo>
                      <a:lnTo>
                        <a:pt x="548121" y="1435830"/>
                      </a:lnTo>
                      <a:lnTo>
                        <a:pt x="528211" y="1435830"/>
                      </a:lnTo>
                      <a:lnTo>
                        <a:pt x="528211" y="1405950"/>
                      </a:lnTo>
                      <a:lnTo>
                        <a:pt x="508020" y="1405950"/>
                      </a:lnTo>
                      <a:lnTo>
                        <a:pt x="508020" y="1375116"/>
                      </a:lnTo>
                      <a:lnTo>
                        <a:pt x="495794" y="1375116"/>
                      </a:lnTo>
                      <a:lnTo>
                        <a:pt x="495794" y="1349899"/>
                      </a:lnTo>
                      <a:lnTo>
                        <a:pt x="481380" y="1349899"/>
                      </a:lnTo>
                      <a:lnTo>
                        <a:pt x="481380" y="1292668"/>
                      </a:lnTo>
                      <a:lnTo>
                        <a:pt x="467358" y="1292668"/>
                      </a:lnTo>
                      <a:lnTo>
                        <a:pt x="467358" y="1260374"/>
                      </a:lnTo>
                      <a:lnTo>
                        <a:pt x="461750" y="1260374"/>
                      </a:lnTo>
                      <a:lnTo>
                        <a:pt x="461750" y="1228472"/>
                      </a:lnTo>
                      <a:lnTo>
                        <a:pt x="454851" y="1228472"/>
                      </a:lnTo>
                      <a:lnTo>
                        <a:pt x="454851" y="1164670"/>
                      </a:lnTo>
                      <a:lnTo>
                        <a:pt x="448289" y="1164670"/>
                      </a:lnTo>
                      <a:lnTo>
                        <a:pt x="448289" y="1103564"/>
                      </a:lnTo>
                      <a:lnTo>
                        <a:pt x="438306" y="1103564"/>
                      </a:lnTo>
                      <a:lnTo>
                        <a:pt x="438306" y="1069866"/>
                      </a:lnTo>
                      <a:lnTo>
                        <a:pt x="415592" y="1069866"/>
                      </a:lnTo>
                      <a:lnTo>
                        <a:pt x="415592" y="1044423"/>
                      </a:lnTo>
                      <a:lnTo>
                        <a:pt x="397925" y="1044423"/>
                      </a:lnTo>
                      <a:lnTo>
                        <a:pt x="397925" y="1011961"/>
                      </a:lnTo>
                      <a:lnTo>
                        <a:pt x="372406" y="1011961"/>
                      </a:lnTo>
                      <a:lnTo>
                        <a:pt x="372406" y="937263"/>
                      </a:lnTo>
                      <a:lnTo>
                        <a:pt x="355580" y="937263"/>
                      </a:lnTo>
                      <a:lnTo>
                        <a:pt x="355580" y="891040"/>
                      </a:lnTo>
                      <a:lnTo>
                        <a:pt x="341167" y="891040"/>
                      </a:lnTo>
                      <a:lnTo>
                        <a:pt x="341167" y="862452"/>
                      </a:lnTo>
                      <a:lnTo>
                        <a:pt x="331183" y="862452"/>
                      </a:lnTo>
                      <a:lnTo>
                        <a:pt x="331183" y="835887"/>
                      </a:lnTo>
                      <a:lnTo>
                        <a:pt x="319181" y="835887"/>
                      </a:lnTo>
                      <a:lnTo>
                        <a:pt x="319181" y="708114"/>
                      </a:lnTo>
                      <a:lnTo>
                        <a:pt x="285979" y="708114"/>
                      </a:lnTo>
                      <a:lnTo>
                        <a:pt x="285979" y="663857"/>
                      </a:lnTo>
                      <a:lnTo>
                        <a:pt x="272238" y="663857"/>
                      </a:lnTo>
                      <a:lnTo>
                        <a:pt x="272238" y="611737"/>
                      </a:lnTo>
                      <a:lnTo>
                        <a:pt x="245822" y="611737"/>
                      </a:lnTo>
                      <a:lnTo>
                        <a:pt x="245822" y="566806"/>
                      </a:lnTo>
                      <a:lnTo>
                        <a:pt x="222098" y="566806"/>
                      </a:lnTo>
                      <a:lnTo>
                        <a:pt x="222098" y="508620"/>
                      </a:lnTo>
                      <a:lnTo>
                        <a:pt x="194448" y="508620"/>
                      </a:lnTo>
                      <a:lnTo>
                        <a:pt x="194448" y="482616"/>
                      </a:lnTo>
                      <a:lnTo>
                        <a:pt x="178968" y="482616"/>
                      </a:lnTo>
                      <a:lnTo>
                        <a:pt x="178968" y="417915"/>
                      </a:lnTo>
                      <a:lnTo>
                        <a:pt x="167302" y="417915"/>
                      </a:lnTo>
                      <a:lnTo>
                        <a:pt x="167302" y="371524"/>
                      </a:lnTo>
                      <a:lnTo>
                        <a:pt x="138755" y="371524"/>
                      </a:lnTo>
                      <a:lnTo>
                        <a:pt x="138755" y="338163"/>
                      </a:lnTo>
                      <a:lnTo>
                        <a:pt x="125799" y="338163"/>
                      </a:lnTo>
                      <a:lnTo>
                        <a:pt x="125799" y="301993"/>
                      </a:lnTo>
                      <a:lnTo>
                        <a:pt x="85979" y="301993"/>
                      </a:lnTo>
                      <a:lnTo>
                        <a:pt x="85979" y="269643"/>
                      </a:lnTo>
                      <a:lnTo>
                        <a:pt x="77566" y="269643"/>
                      </a:lnTo>
                      <a:lnTo>
                        <a:pt x="77566" y="223757"/>
                      </a:lnTo>
                      <a:lnTo>
                        <a:pt x="67919" y="223757"/>
                      </a:lnTo>
                      <a:lnTo>
                        <a:pt x="67919" y="156866"/>
                      </a:lnTo>
                      <a:lnTo>
                        <a:pt x="50813" y="156866"/>
                      </a:lnTo>
                      <a:lnTo>
                        <a:pt x="50813" y="131423"/>
                      </a:lnTo>
                      <a:lnTo>
                        <a:pt x="39596" y="131423"/>
                      </a:lnTo>
                      <a:lnTo>
                        <a:pt x="39596" y="109857"/>
                      </a:lnTo>
                      <a:lnTo>
                        <a:pt x="27089" y="109857"/>
                      </a:lnTo>
                      <a:lnTo>
                        <a:pt x="27089" y="44257"/>
                      </a:lnTo>
                      <a:lnTo>
                        <a:pt x="0" y="44257"/>
                      </a:lnTo>
                      <a:lnTo>
                        <a:pt x="0" y="0"/>
                      </a:lnTo>
                    </a:path>
                  </a:pathLst>
                </a:custGeom>
                <a:noFill/>
                <a:ln w="12700" cap="flat">
                  <a:solidFill>
                    <a:srgbClr val="EEAA28"/>
                  </a:solidFill>
                  <a:prstDash val="solid"/>
                  <a:miter/>
                </a:ln>
              </p:spPr>
              <p:txBody>
                <a:bodyPr rtlCol="0" anchor="ctr"/>
                <a:lstStyle/>
                <a:p>
                  <a:pPr defTabSz="457189">
                    <a:defRPr/>
                  </a:pPr>
                  <a:endParaRPr lang="en-US" kern="0" dirty="0">
                    <a:solidFill>
                      <a:srgbClr val="000000"/>
                    </a:solidFill>
                  </a:endParaRPr>
                </a:p>
              </p:txBody>
            </p:sp>
            <p:sp>
              <p:nvSpPr>
                <p:cNvPr id="119" name="Freeform 126">
                  <a:extLst>
                    <a:ext uri="{FF2B5EF4-FFF2-40B4-BE49-F238E27FC236}">
                      <a16:creationId xmlns:a16="http://schemas.microsoft.com/office/drawing/2014/main" xmlns="" id="{C4326FF7-947B-D20C-FDEB-CF168999C3F8}"/>
                    </a:ext>
                  </a:extLst>
                </p:cNvPr>
                <p:cNvSpPr/>
                <p:nvPr/>
              </p:nvSpPr>
              <p:spPr>
                <a:xfrm>
                  <a:off x="1940776" y="1659946"/>
                  <a:ext cx="3792484" cy="2260708"/>
                </a:xfrm>
                <a:custGeom>
                  <a:avLst/>
                  <a:gdLst>
                    <a:gd name="connsiteX0" fmla="*/ 0 w 3792484"/>
                    <a:gd name="connsiteY0" fmla="*/ 0 h 2260708"/>
                    <a:gd name="connsiteX1" fmla="*/ 47560 w 3792484"/>
                    <a:gd name="connsiteY1" fmla="*/ 0 h 2260708"/>
                    <a:gd name="connsiteX2" fmla="*/ 47560 w 3792484"/>
                    <a:gd name="connsiteY2" fmla="*/ 6908 h 2260708"/>
                    <a:gd name="connsiteX3" fmla="*/ 96411 w 3792484"/>
                    <a:gd name="connsiteY3" fmla="*/ 6908 h 2260708"/>
                    <a:gd name="connsiteX4" fmla="*/ 96411 w 3792484"/>
                    <a:gd name="connsiteY4" fmla="*/ 41280 h 2260708"/>
                    <a:gd name="connsiteX5" fmla="*/ 131015 w 3792484"/>
                    <a:gd name="connsiteY5" fmla="*/ 41280 h 2260708"/>
                    <a:gd name="connsiteX6" fmla="*/ 131015 w 3792484"/>
                    <a:gd name="connsiteY6" fmla="*/ 86324 h 2260708"/>
                    <a:gd name="connsiteX7" fmla="*/ 151823 w 3792484"/>
                    <a:gd name="connsiteY7" fmla="*/ 86324 h 2260708"/>
                    <a:gd name="connsiteX8" fmla="*/ 151823 w 3792484"/>
                    <a:gd name="connsiteY8" fmla="*/ 120752 h 2260708"/>
                    <a:gd name="connsiteX9" fmla="*/ 174089 w 3792484"/>
                    <a:gd name="connsiteY9" fmla="*/ 120752 h 2260708"/>
                    <a:gd name="connsiteX10" fmla="*/ 174089 w 3792484"/>
                    <a:gd name="connsiteY10" fmla="*/ 127548 h 2260708"/>
                    <a:gd name="connsiteX11" fmla="*/ 199271 w 3792484"/>
                    <a:gd name="connsiteY11" fmla="*/ 127548 h 2260708"/>
                    <a:gd name="connsiteX12" fmla="*/ 199271 w 3792484"/>
                    <a:gd name="connsiteY12" fmla="*/ 184723 h 2260708"/>
                    <a:gd name="connsiteX13" fmla="*/ 220079 w 3792484"/>
                    <a:gd name="connsiteY13" fmla="*/ 184723 h 2260708"/>
                    <a:gd name="connsiteX14" fmla="*/ 220079 w 3792484"/>
                    <a:gd name="connsiteY14" fmla="*/ 203650 h 2260708"/>
                    <a:gd name="connsiteX15" fmla="*/ 234100 w 3792484"/>
                    <a:gd name="connsiteY15" fmla="*/ 203650 h 2260708"/>
                    <a:gd name="connsiteX16" fmla="*/ 234100 w 3792484"/>
                    <a:gd name="connsiteY16" fmla="*/ 243358 h 2260708"/>
                    <a:gd name="connsiteX17" fmla="*/ 254907 w 3792484"/>
                    <a:gd name="connsiteY17" fmla="*/ 243358 h 2260708"/>
                    <a:gd name="connsiteX18" fmla="*/ 254907 w 3792484"/>
                    <a:gd name="connsiteY18" fmla="*/ 252569 h 2260708"/>
                    <a:gd name="connsiteX19" fmla="*/ 276725 w 3792484"/>
                    <a:gd name="connsiteY19" fmla="*/ 252569 h 2260708"/>
                    <a:gd name="connsiteX20" fmla="*/ 276725 w 3792484"/>
                    <a:gd name="connsiteY20" fmla="*/ 300084 h 2260708"/>
                    <a:gd name="connsiteX21" fmla="*/ 301402 w 3792484"/>
                    <a:gd name="connsiteY21" fmla="*/ 300084 h 2260708"/>
                    <a:gd name="connsiteX22" fmla="*/ 301402 w 3792484"/>
                    <a:gd name="connsiteY22" fmla="*/ 332097 h 2260708"/>
                    <a:gd name="connsiteX23" fmla="*/ 316882 w 3792484"/>
                    <a:gd name="connsiteY23" fmla="*/ 332097 h 2260708"/>
                    <a:gd name="connsiteX24" fmla="*/ 316882 w 3792484"/>
                    <a:gd name="connsiteY24" fmla="*/ 366020 h 2260708"/>
                    <a:gd name="connsiteX25" fmla="*/ 331408 w 3792484"/>
                    <a:gd name="connsiteY25" fmla="*/ 366020 h 2260708"/>
                    <a:gd name="connsiteX26" fmla="*/ 331408 w 3792484"/>
                    <a:gd name="connsiteY26" fmla="*/ 381016 h 2260708"/>
                    <a:gd name="connsiteX27" fmla="*/ 348794 w 3792484"/>
                    <a:gd name="connsiteY27" fmla="*/ 381016 h 2260708"/>
                    <a:gd name="connsiteX28" fmla="*/ 348794 w 3792484"/>
                    <a:gd name="connsiteY28" fmla="*/ 394102 h 2260708"/>
                    <a:gd name="connsiteX29" fmla="*/ 386091 w 3792484"/>
                    <a:gd name="connsiteY29" fmla="*/ 394102 h 2260708"/>
                    <a:gd name="connsiteX30" fmla="*/ 386091 w 3792484"/>
                    <a:gd name="connsiteY30" fmla="*/ 417859 h 2260708"/>
                    <a:gd name="connsiteX31" fmla="*/ 398205 w 3792484"/>
                    <a:gd name="connsiteY31" fmla="*/ 417859 h 2260708"/>
                    <a:gd name="connsiteX32" fmla="*/ 398205 w 3792484"/>
                    <a:gd name="connsiteY32" fmla="*/ 455152 h 2260708"/>
                    <a:gd name="connsiteX33" fmla="*/ 414638 w 3792484"/>
                    <a:gd name="connsiteY33" fmla="*/ 455152 h 2260708"/>
                    <a:gd name="connsiteX34" fmla="*/ 414638 w 3792484"/>
                    <a:gd name="connsiteY34" fmla="*/ 496826 h 2260708"/>
                    <a:gd name="connsiteX35" fmla="*/ 429613 w 3792484"/>
                    <a:gd name="connsiteY35" fmla="*/ 496826 h 2260708"/>
                    <a:gd name="connsiteX36" fmla="*/ 429613 w 3792484"/>
                    <a:gd name="connsiteY36" fmla="*/ 510417 h 2260708"/>
                    <a:gd name="connsiteX37" fmla="*/ 440269 w 3792484"/>
                    <a:gd name="connsiteY37" fmla="*/ 510417 h 2260708"/>
                    <a:gd name="connsiteX38" fmla="*/ 440269 w 3792484"/>
                    <a:gd name="connsiteY38" fmla="*/ 533669 h 2260708"/>
                    <a:gd name="connsiteX39" fmla="*/ 451879 w 3792484"/>
                    <a:gd name="connsiteY39" fmla="*/ 533669 h 2260708"/>
                    <a:gd name="connsiteX40" fmla="*/ 451879 w 3792484"/>
                    <a:gd name="connsiteY40" fmla="*/ 573658 h 2260708"/>
                    <a:gd name="connsiteX41" fmla="*/ 476108 w 3792484"/>
                    <a:gd name="connsiteY41" fmla="*/ 573658 h 2260708"/>
                    <a:gd name="connsiteX42" fmla="*/ 476108 w 3792484"/>
                    <a:gd name="connsiteY42" fmla="*/ 630608 h 2260708"/>
                    <a:gd name="connsiteX43" fmla="*/ 483623 w 3792484"/>
                    <a:gd name="connsiteY43" fmla="*/ 630608 h 2260708"/>
                    <a:gd name="connsiteX44" fmla="*/ 483623 w 3792484"/>
                    <a:gd name="connsiteY44" fmla="*/ 675651 h 2260708"/>
                    <a:gd name="connsiteX45" fmla="*/ 498598 w 3792484"/>
                    <a:gd name="connsiteY45" fmla="*/ 675651 h 2260708"/>
                    <a:gd name="connsiteX46" fmla="*/ 498598 w 3792484"/>
                    <a:gd name="connsiteY46" fmla="*/ 689187 h 2260708"/>
                    <a:gd name="connsiteX47" fmla="*/ 515087 w 3792484"/>
                    <a:gd name="connsiteY47" fmla="*/ 689187 h 2260708"/>
                    <a:gd name="connsiteX48" fmla="*/ 515087 w 3792484"/>
                    <a:gd name="connsiteY48" fmla="*/ 732714 h 2260708"/>
                    <a:gd name="connsiteX49" fmla="*/ 527089 w 3792484"/>
                    <a:gd name="connsiteY49" fmla="*/ 732714 h 2260708"/>
                    <a:gd name="connsiteX50" fmla="*/ 527089 w 3792484"/>
                    <a:gd name="connsiteY50" fmla="*/ 779274 h 2260708"/>
                    <a:gd name="connsiteX51" fmla="*/ 541335 w 3792484"/>
                    <a:gd name="connsiteY51" fmla="*/ 779274 h 2260708"/>
                    <a:gd name="connsiteX52" fmla="*/ 541335 w 3792484"/>
                    <a:gd name="connsiteY52" fmla="*/ 856555 h 2260708"/>
                    <a:gd name="connsiteX53" fmla="*/ 569826 w 3792484"/>
                    <a:gd name="connsiteY53" fmla="*/ 856555 h 2260708"/>
                    <a:gd name="connsiteX54" fmla="*/ 569826 w 3792484"/>
                    <a:gd name="connsiteY54" fmla="*/ 907608 h 2260708"/>
                    <a:gd name="connsiteX55" fmla="*/ 580314 w 3792484"/>
                    <a:gd name="connsiteY55" fmla="*/ 907608 h 2260708"/>
                    <a:gd name="connsiteX56" fmla="*/ 580314 w 3792484"/>
                    <a:gd name="connsiteY56" fmla="*/ 948159 h 2260708"/>
                    <a:gd name="connsiteX57" fmla="*/ 592316 w 3792484"/>
                    <a:gd name="connsiteY57" fmla="*/ 948159 h 2260708"/>
                    <a:gd name="connsiteX58" fmla="*/ 592316 w 3792484"/>
                    <a:gd name="connsiteY58" fmla="*/ 971467 h 2260708"/>
                    <a:gd name="connsiteX59" fmla="*/ 605833 w 3792484"/>
                    <a:gd name="connsiteY59" fmla="*/ 971467 h 2260708"/>
                    <a:gd name="connsiteX60" fmla="*/ 605833 w 3792484"/>
                    <a:gd name="connsiteY60" fmla="*/ 1005221 h 2260708"/>
                    <a:gd name="connsiteX61" fmla="*/ 634324 w 3792484"/>
                    <a:gd name="connsiteY61" fmla="*/ 1005221 h 2260708"/>
                    <a:gd name="connsiteX62" fmla="*/ 634324 w 3792484"/>
                    <a:gd name="connsiteY62" fmla="*/ 1033359 h 2260708"/>
                    <a:gd name="connsiteX63" fmla="*/ 652720 w 3792484"/>
                    <a:gd name="connsiteY63" fmla="*/ 1033359 h 2260708"/>
                    <a:gd name="connsiteX64" fmla="*/ 652720 w 3792484"/>
                    <a:gd name="connsiteY64" fmla="*/ 1051669 h 2260708"/>
                    <a:gd name="connsiteX65" fmla="*/ 668312 w 3792484"/>
                    <a:gd name="connsiteY65" fmla="*/ 1051669 h 2260708"/>
                    <a:gd name="connsiteX66" fmla="*/ 668312 w 3792484"/>
                    <a:gd name="connsiteY66" fmla="*/ 1067282 h 2260708"/>
                    <a:gd name="connsiteX67" fmla="*/ 682221 w 3792484"/>
                    <a:gd name="connsiteY67" fmla="*/ 1067282 h 2260708"/>
                    <a:gd name="connsiteX68" fmla="*/ 682221 w 3792484"/>
                    <a:gd name="connsiteY68" fmla="*/ 1081772 h 2260708"/>
                    <a:gd name="connsiteX69" fmla="*/ 694391 w 3792484"/>
                    <a:gd name="connsiteY69" fmla="*/ 1081772 h 2260708"/>
                    <a:gd name="connsiteX70" fmla="*/ 694391 w 3792484"/>
                    <a:gd name="connsiteY70" fmla="*/ 1100924 h 2260708"/>
                    <a:gd name="connsiteX71" fmla="*/ 708861 w 3792484"/>
                    <a:gd name="connsiteY71" fmla="*/ 1100924 h 2260708"/>
                    <a:gd name="connsiteX72" fmla="*/ 708861 w 3792484"/>
                    <a:gd name="connsiteY72" fmla="*/ 1122941 h 2260708"/>
                    <a:gd name="connsiteX73" fmla="*/ 723892 w 3792484"/>
                    <a:gd name="connsiteY73" fmla="*/ 1122941 h 2260708"/>
                    <a:gd name="connsiteX74" fmla="*/ 723892 w 3792484"/>
                    <a:gd name="connsiteY74" fmla="*/ 1144957 h 2260708"/>
                    <a:gd name="connsiteX75" fmla="*/ 736063 w 3792484"/>
                    <a:gd name="connsiteY75" fmla="*/ 1144957 h 2260708"/>
                    <a:gd name="connsiteX76" fmla="*/ 736063 w 3792484"/>
                    <a:gd name="connsiteY76" fmla="*/ 1162368 h 2260708"/>
                    <a:gd name="connsiteX77" fmla="*/ 752159 w 3792484"/>
                    <a:gd name="connsiteY77" fmla="*/ 1162368 h 2260708"/>
                    <a:gd name="connsiteX78" fmla="*/ 752159 w 3792484"/>
                    <a:gd name="connsiteY78" fmla="*/ 1202918 h 2260708"/>
                    <a:gd name="connsiteX79" fmla="*/ 766124 w 3792484"/>
                    <a:gd name="connsiteY79" fmla="*/ 1202918 h 2260708"/>
                    <a:gd name="connsiteX80" fmla="*/ 766124 w 3792484"/>
                    <a:gd name="connsiteY80" fmla="*/ 1217970 h 2260708"/>
                    <a:gd name="connsiteX81" fmla="*/ 847168 w 3792484"/>
                    <a:gd name="connsiteY81" fmla="*/ 1217970 h 2260708"/>
                    <a:gd name="connsiteX82" fmla="*/ 847168 w 3792484"/>
                    <a:gd name="connsiteY82" fmla="*/ 1260879 h 2260708"/>
                    <a:gd name="connsiteX83" fmla="*/ 916040 w 3792484"/>
                    <a:gd name="connsiteY83" fmla="*/ 1260879 h 2260708"/>
                    <a:gd name="connsiteX84" fmla="*/ 916040 w 3792484"/>
                    <a:gd name="connsiteY84" fmla="*/ 1313055 h 2260708"/>
                    <a:gd name="connsiteX85" fmla="*/ 949018 w 3792484"/>
                    <a:gd name="connsiteY85" fmla="*/ 1313055 h 2260708"/>
                    <a:gd name="connsiteX86" fmla="*/ 949018 w 3792484"/>
                    <a:gd name="connsiteY86" fmla="*/ 1388203 h 2260708"/>
                    <a:gd name="connsiteX87" fmla="*/ 980875 w 3792484"/>
                    <a:gd name="connsiteY87" fmla="*/ 1388203 h 2260708"/>
                    <a:gd name="connsiteX88" fmla="*/ 980875 w 3792484"/>
                    <a:gd name="connsiteY88" fmla="*/ 1441727 h 2260708"/>
                    <a:gd name="connsiteX89" fmla="*/ 1002860 w 3792484"/>
                    <a:gd name="connsiteY89" fmla="*/ 1441727 h 2260708"/>
                    <a:gd name="connsiteX90" fmla="*/ 1002860 w 3792484"/>
                    <a:gd name="connsiteY90" fmla="*/ 1470089 h 2260708"/>
                    <a:gd name="connsiteX91" fmla="*/ 1058441 w 3792484"/>
                    <a:gd name="connsiteY91" fmla="*/ 1470089 h 2260708"/>
                    <a:gd name="connsiteX92" fmla="*/ 1058441 w 3792484"/>
                    <a:gd name="connsiteY92" fmla="*/ 1498508 h 2260708"/>
                    <a:gd name="connsiteX93" fmla="*/ 1238418 w 3792484"/>
                    <a:gd name="connsiteY93" fmla="*/ 1498508 h 2260708"/>
                    <a:gd name="connsiteX94" fmla="*/ 1238418 w 3792484"/>
                    <a:gd name="connsiteY94" fmla="*/ 1532712 h 2260708"/>
                    <a:gd name="connsiteX95" fmla="*/ 1248233 w 3792484"/>
                    <a:gd name="connsiteY95" fmla="*/ 1532712 h 2260708"/>
                    <a:gd name="connsiteX96" fmla="*/ 1248233 w 3792484"/>
                    <a:gd name="connsiteY96" fmla="*/ 1573262 h 2260708"/>
                    <a:gd name="connsiteX97" fmla="*/ 1257487 w 3792484"/>
                    <a:gd name="connsiteY97" fmla="*/ 1573262 h 2260708"/>
                    <a:gd name="connsiteX98" fmla="*/ 1257487 w 3792484"/>
                    <a:gd name="connsiteY98" fmla="*/ 1605725 h 2260708"/>
                    <a:gd name="connsiteX99" fmla="*/ 1358216 w 3792484"/>
                    <a:gd name="connsiteY99" fmla="*/ 1605725 h 2260708"/>
                    <a:gd name="connsiteX100" fmla="*/ 1358216 w 3792484"/>
                    <a:gd name="connsiteY100" fmla="*/ 1678177 h 2260708"/>
                    <a:gd name="connsiteX101" fmla="*/ 1394672 w 3792484"/>
                    <a:gd name="connsiteY101" fmla="*/ 1678177 h 2260708"/>
                    <a:gd name="connsiteX102" fmla="*/ 1394672 w 3792484"/>
                    <a:gd name="connsiteY102" fmla="*/ 1717604 h 2260708"/>
                    <a:gd name="connsiteX103" fmla="*/ 1501739 w 3792484"/>
                    <a:gd name="connsiteY103" fmla="*/ 1717604 h 2260708"/>
                    <a:gd name="connsiteX104" fmla="*/ 1501739 w 3792484"/>
                    <a:gd name="connsiteY104" fmla="*/ 1766242 h 2260708"/>
                    <a:gd name="connsiteX105" fmla="*/ 1685250 w 3792484"/>
                    <a:gd name="connsiteY105" fmla="*/ 1766242 h 2260708"/>
                    <a:gd name="connsiteX106" fmla="*/ 1685250 w 3792484"/>
                    <a:gd name="connsiteY106" fmla="*/ 1817295 h 2260708"/>
                    <a:gd name="connsiteX107" fmla="*/ 1817499 w 3792484"/>
                    <a:gd name="connsiteY107" fmla="*/ 1817295 h 2260708"/>
                    <a:gd name="connsiteX108" fmla="*/ 1817499 w 3792484"/>
                    <a:gd name="connsiteY108" fmla="*/ 1875817 h 2260708"/>
                    <a:gd name="connsiteX109" fmla="*/ 1994840 w 3792484"/>
                    <a:gd name="connsiteY109" fmla="*/ 1875817 h 2260708"/>
                    <a:gd name="connsiteX110" fmla="*/ 1994840 w 3792484"/>
                    <a:gd name="connsiteY110" fmla="*/ 1943046 h 2260708"/>
                    <a:gd name="connsiteX111" fmla="*/ 2119293 w 3792484"/>
                    <a:gd name="connsiteY111" fmla="*/ 1943046 h 2260708"/>
                    <a:gd name="connsiteX112" fmla="*/ 2119293 w 3792484"/>
                    <a:gd name="connsiteY112" fmla="*/ 2000614 h 2260708"/>
                    <a:gd name="connsiteX113" fmla="*/ 2197308 w 3792484"/>
                    <a:gd name="connsiteY113" fmla="*/ 2000614 h 2260708"/>
                    <a:gd name="connsiteX114" fmla="*/ 2197308 w 3792484"/>
                    <a:gd name="connsiteY114" fmla="*/ 2078906 h 2260708"/>
                    <a:gd name="connsiteX115" fmla="*/ 2421929 w 3792484"/>
                    <a:gd name="connsiteY115" fmla="*/ 2078906 h 2260708"/>
                    <a:gd name="connsiteX116" fmla="*/ 2421929 w 3792484"/>
                    <a:gd name="connsiteY116" fmla="*/ 2166185 h 2260708"/>
                    <a:gd name="connsiteX117" fmla="*/ 2459562 w 3792484"/>
                    <a:gd name="connsiteY117" fmla="*/ 2166185 h 2260708"/>
                    <a:gd name="connsiteX118" fmla="*/ 2459562 w 3792484"/>
                    <a:gd name="connsiteY118" fmla="*/ 2260708 h 2260708"/>
                    <a:gd name="connsiteX119" fmla="*/ 3792485 w 3792484"/>
                    <a:gd name="connsiteY119" fmla="*/ 2260708 h 226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792484" h="2260708">
                      <a:moveTo>
                        <a:pt x="0" y="0"/>
                      </a:moveTo>
                      <a:lnTo>
                        <a:pt x="47560" y="0"/>
                      </a:lnTo>
                      <a:lnTo>
                        <a:pt x="47560" y="6908"/>
                      </a:lnTo>
                      <a:lnTo>
                        <a:pt x="96411" y="6908"/>
                      </a:lnTo>
                      <a:lnTo>
                        <a:pt x="96411" y="41280"/>
                      </a:lnTo>
                      <a:lnTo>
                        <a:pt x="131015" y="41280"/>
                      </a:lnTo>
                      <a:lnTo>
                        <a:pt x="131015" y="86324"/>
                      </a:lnTo>
                      <a:lnTo>
                        <a:pt x="151823" y="86324"/>
                      </a:lnTo>
                      <a:lnTo>
                        <a:pt x="151823" y="120752"/>
                      </a:lnTo>
                      <a:lnTo>
                        <a:pt x="174089" y="120752"/>
                      </a:lnTo>
                      <a:lnTo>
                        <a:pt x="174089" y="127548"/>
                      </a:lnTo>
                      <a:lnTo>
                        <a:pt x="199271" y="127548"/>
                      </a:lnTo>
                      <a:lnTo>
                        <a:pt x="199271" y="184723"/>
                      </a:lnTo>
                      <a:lnTo>
                        <a:pt x="220079" y="184723"/>
                      </a:lnTo>
                      <a:lnTo>
                        <a:pt x="220079" y="203650"/>
                      </a:lnTo>
                      <a:lnTo>
                        <a:pt x="234100" y="203650"/>
                      </a:lnTo>
                      <a:lnTo>
                        <a:pt x="234100" y="243358"/>
                      </a:lnTo>
                      <a:lnTo>
                        <a:pt x="254907" y="243358"/>
                      </a:lnTo>
                      <a:lnTo>
                        <a:pt x="254907" y="252569"/>
                      </a:lnTo>
                      <a:lnTo>
                        <a:pt x="276725" y="252569"/>
                      </a:lnTo>
                      <a:lnTo>
                        <a:pt x="276725" y="300084"/>
                      </a:lnTo>
                      <a:lnTo>
                        <a:pt x="301402" y="300084"/>
                      </a:lnTo>
                      <a:lnTo>
                        <a:pt x="301402" y="332097"/>
                      </a:lnTo>
                      <a:lnTo>
                        <a:pt x="316882" y="332097"/>
                      </a:lnTo>
                      <a:lnTo>
                        <a:pt x="316882" y="366020"/>
                      </a:lnTo>
                      <a:lnTo>
                        <a:pt x="331408" y="366020"/>
                      </a:lnTo>
                      <a:lnTo>
                        <a:pt x="331408" y="381016"/>
                      </a:lnTo>
                      <a:lnTo>
                        <a:pt x="348794" y="381016"/>
                      </a:lnTo>
                      <a:lnTo>
                        <a:pt x="348794" y="394102"/>
                      </a:lnTo>
                      <a:lnTo>
                        <a:pt x="386091" y="394102"/>
                      </a:lnTo>
                      <a:lnTo>
                        <a:pt x="386091" y="417859"/>
                      </a:lnTo>
                      <a:lnTo>
                        <a:pt x="398205" y="417859"/>
                      </a:lnTo>
                      <a:lnTo>
                        <a:pt x="398205" y="455152"/>
                      </a:lnTo>
                      <a:lnTo>
                        <a:pt x="414638" y="455152"/>
                      </a:lnTo>
                      <a:lnTo>
                        <a:pt x="414638" y="496826"/>
                      </a:lnTo>
                      <a:lnTo>
                        <a:pt x="429613" y="496826"/>
                      </a:lnTo>
                      <a:lnTo>
                        <a:pt x="429613" y="510417"/>
                      </a:lnTo>
                      <a:lnTo>
                        <a:pt x="440269" y="510417"/>
                      </a:lnTo>
                      <a:lnTo>
                        <a:pt x="440269" y="533669"/>
                      </a:lnTo>
                      <a:lnTo>
                        <a:pt x="451879" y="533669"/>
                      </a:lnTo>
                      <a:lnTo>
                        <a:pt x="451879" y="573658"/>
                      </a:lnTo>
                      <a:lnTo>
                        <a:pt x="476108" y="573658"/>
                      </a:lnTo>
                      <a:lnTo>
                        <a:pt x="476108" y="630608"/>
                      </a:lnTo>
                      <a:lnTo>
                        <a:pt x="483623" y="630608"/>
                      </a:lnTo>
                      <a:lnTo>
                        <a:pt x="483623" y="675651"/>
                      </a:lnTo>
                      <a:lnTo>
                        <a:pt x="498598" y="675651"/>
                      </a:lnTo>
                      <a:lnTo>
                        <a:pt x="498598" y="689187"/>
                      </a:lnTo>
                      <a:lnTo>
                        <a:pt x="515087" y="689187"/>
                      </a:lnTo>
                      <a:lnTo>
                        <a:pt x="515087" y="732714"/>
                      </a:lnTo>
                      <a:lnTo>
                        <a:pt x="527089" y="732714"/>
                      </a:lnTo>
                      <a:lnTo>
                        <a:pt x="527089" y="779274"/>
                      </a:lnTo>
                      <a:lnTo>
                        <a:pt x="541335" y="779274"/>
                      </a:lnTo>
                      <a:lnTo>
                        <a:pt x="541335" y="856555"/>
                      </a:lnTo>
                      <a:lnTo>
                        <a:pt x="569826" y="856555"/>
                      </a:lnTo>
                      <a:lnTo>
                        <a:pt x="569826" y="907608"/>
                      </a:lnTo>
                      <a:lnTo>
                        <a:pt x="580314" y="907608"/>
                      </a:lnTo>
                      <a:lnTo>
                        <a:pt x="580314" y="948159"/>
                      </a:lnTo>
                      <a:lnTo>
                        <a:pt x="592316" y="948159"/>
                      </a:lnTo>
                      <a:lnTo>
                        <a:pt x="592316" y="971467"/>
                      </a:lnTo>
                      <a:lnTo>
                        <a:pt x="605833" y="971467"/>
                      </a:lnTo>
                      <a:lnTo>
                        <a:pt x="605833" y="1005221"/>
                      </a:lnTo>
                      <a:lnTo>
                        <a:pt x="634324" y="1005221"/>
                      </a:lnTo>
                      <a:lnTo>
                        <a:pt x="634324" y="1033359"/>
                      </a:lnTo>
                      <a:lnTo>
                        <a:pt x="652720" y="1033359"/>
                      </a:lnTo>
                      <a:lnTo>
                        <a:pt x="652720" y="1051669"/>
                      </a:lnTo>
                      <a:lnTo>
                        <a:pt x="668312" y="1051669"/>
                      </a:lnTo>
                      <a:lnTo>
                        <a:pt x="668312" y="1067282"/>
                      </a:lnTo>
                      <a:lnTo>
                        <a:pt x="682221" y="1067282"/>
                      </a:lnTo>
                      <a:lnTo>
                        <a:pt x="682221" y="1081772"/>
                      </a:lnTo>
                      <a:lnTo>
                        <a:pt x="694391" y="1081772"/>
                      </a:lnTo>
                      <a:lnTo>
                        <a:pt x="694391" y="1100924"/>
                      </a:lnTo>
                      <a:lnTo>
                        <a:pt x="708861" y="1100924"/>
                      </a:lnTo>
                      <a:lnTo>
                        <a:pt x="708861" y="1122941"/>
                      </a:lnTo>
                      <a:lnTo>
                        <a:pt x="723892" y="1122941"/>
                      </a:lnTo>
                      <a:lnTo>
                        <a:pt x="723892" y="1144957"/>
                      </a:lnTo>
                      <a:lnTo>
                        <a:pt x="736063" y="1144957"/>
                      </a:lnTo>
                      <a:lnTo>
                        <a:pt x="736063" y="1162368"/>
                      </a:lnTo>
                      <a:lnTo>
                        <a:pt x="752159" y="1162368"/>
                      </a:lnTo>
                      <a:lnTo>
                        <a:pt x="752159" y="1202918"/>
                      </a:lnTo>
                      <a:lnTo>
                        <a:pt x="766124" y="1202918"/>
                      </a:lnTo>
                      <a:lnTo>
                        <a:pt x="766124" y="1217970"/>
                      </a:lnTo>
                      <a:lnTo>
                        <a:pt x="847168" y="1217970"/>
                      </a:lnTo>
                      <a:lnTo>
                        <a:pt x="847168" y="1260879"/>
                      </a:lnTo>
                      <a:lnTo>
                        <a:pt x="916040" y="1260879"/>
                      </a:lnTo>
                      <a:lnTo>
                        <a:pt x="916040" y="1313055"/>
                      </a:lnTo>
                      <a:lnTo>
                        <a:pt x="949018" y="1313055"/>
                      </a:lnTo>
                      <a:lnTo>
                        <a:pt x="949018" y="1388203"/>
                      </a:lnTo>
                      <a:lnTo>
                        <a:pt x="980875" y="1388203"/>
                      </a:lnTo>
                      <a:lnTo>
                        <a:pt x="980875" y="1441727"/>
                      </a:lnTo>
                      <a:lnTo>
                        <a:pt x="1002860" y="1441727"/>
                      </a:lnTo>
                      <a:lnTo>
                        <a:pt x="1002860" y="1470089"/>
                      </a:lnTo>
                      <a:lnTo>
                        <a:pt x="1058441" y="1470089"/>
                      </a:lnTo>
                      <a:lnTo>
                        <a:pt x="1058441" y="1498508"/>
                      </a:lnTo>
                      <a:lnTo>
                        <a:pt x="1238418" y="1498508"/>
                      </a:lnTo>
                      <a:lnTo>
                        <a:pt x="1238418" y="1532712"/>
                      </a:lnTo>
                      <a:lnTo>
                        <a:pt x="1248233" y="1532712"/>
                      </a:lnTo>
                      <a:lnTo>
                        <a:pt x="1248233" y="1573262"/>
                      </a:lnTo>
                      <a:lnTo>
                        <a:pt x="1257487" y="1573262"/>
                      </a:lnTo>
                      <a:lnTo>
                        <a:pt x="1257487" y="1605725"/>
                      </a:lnTo>
                      <a:lnTo>
                        <a:pt x="1358216" y="1605725"/>
                      </a:lnTo>
                      <a:lnTo>
                        <a:pt x="1358216" y="1678177"/>
                      </a:lnTo>
                      <a:lnTo>
                        <a:pt x="1394672" y="1678177"/>
                      </a:lnTo>
                      <a:lnTo>
                        <a:pt x="1394672" y="1717604"/>
                      </a:lnTo>
                      <a:lnTo>
                        <a:pt x="1501739" y="1717604"/>
                      </a:lnTo>
                      <a:lnTo>
                        <a:pt x="1501739" y="1766242"/>
                      </a:lnTo>
                      <a:lnTo>
                        <a:pt x="1685250" y="1766242"/>
                      </a:lnTo>
                      <a:lnTo>
                        <a:pt x="1685250" y="1817295"/>
                      </a:lnTo>
                      <a:lnTo>
                        <a:pt x="1817499" y="1817295"/>
                      </a:lnTo>
                      <a:lnTo>
                        <a:pt x="1817499" y="1875817"/>
                      </a:lnTo>
                      <a:lnTo>
                        <a:pt x="1994840" y="1875817"/>
                      </a:lnTo>
                      <a:lnTo>
                        <a:pt x="1994840" y="1943046"/>
                      </a:lnTo>
                      <a:lnTo>
                        <a:pt x="2119293" y="1943046"/>
                      </a:lnTo>
                      <a:lnTo>
                        <a:pt x="2119293" y="2000614"/>
                      </a:lnTo>
                      <a:lnTo>
                        <a:pt x="2197308" y="2000614"/>
                      </a:lnTo>
                      <a:lnTo>
                        <a:pt x="2197308" y="2078906"/>
                      </a:lnTo>
                      <a:lnTo>
                        <a:pt x="2421929" y="2078906"/>
                      </a:lnTo>
                      <a:lnTo>
                        <a:pt x="2421929" y="2166185"/>
                      </a:lnTo>
                      <a:lnTo>
                        <a:pt x="2459562" y="2166185"/>
                      </a:lnTo>
                      <a:lnTo>
                        <a:pt x="2459562" y="2260708"/>
                      </a:lnTo>
                      <a:lnTo>
                        <a:pt x="3792485" y="2260708"/>
                      </a:lnTo>
                    </a:path>
                  </a:pathLst>
                </a:custGeom>
                <a:noFill/>
                <a:ln w="12700" cap="flat">
                  <a:solidFill>
                    <a:srgbClr val="C4D42C"/>
                  </a:solidFill>
                  <a:prstDash val="solid"/>
                  <a:miter/>
                </a:ln>
              </p:spPr>
              <p:txBody>
                <a:bodyPr rtlCol="0" anchor="ctr"/>
                <a:lstStyle/>
                <a:p>
                  <a:pPr defTabSz="457189">
                    <a:defRPr/>
                  </a:pPr>
                  <a:endParaRPr lang="en-US" kern="0" dirty="0">
                    <a:solidFill>
                      <a:srgbClr val="000000"/>
                    </a:solidFill>
                  </a:endParaRPr>
                </a:p>
              </p:txBody>
            </p:sp>
          </p:grpSp>
          <p:grpSp>
            <p:nvGrpSpPr>
              <p:cNvPr id="63" name="Group 308">
                <a:extLst>
                  <a:ext uri="{FF2B5EF4-FFF2-40B4-BE49-F238E27FC236}">
                    <a16:creationId xmlns:a16="http://schemas.microsoft.com/office/drawing/2014/main" xmlns="" id="{75C28B4C-87C7-9613-8B63-B96C8458A0EA}"/>
                  </a:ext>
                </a:extLst>
              </p:cNvPr>
              <p:cNvGrpSpPr/>
              <p:nvPr/>
            </p:nvGrpSpPr>
            <p:grpSpPr>
              <a:xfrm>
                <a:off x="7274593" y="2595848"/>
                <a:ext cx="1580092" cy="177933"/>
                <a:chOff x="5508838" y="1253379"/>
                <a:chExt cx="2760100" cy="177933"/>
              </a:xfrm>
            </p:grpSpPr>
            <p:cxnSp>
              <p:nvCxnSpPr>
                <p:cNvPr id="88" name="Straight Connector 333">
                  <a:extLst>
                    <a:ext uri="{FF2B5EF4-FFF2-40B4-BE49-F238E27FC236}">
                      <a16:creationId xmlns:a16="http://schemas.microsoft.com/office/drawing/2014/main" xmlns="" id="{A97AE590-8DBF-F6A6-3491-C9CCB36DEB36}"/>
                    </a:ext>
                  </a:extLst>
                </p:cNvPr>
                <p:cNvCxnSpPr/>
                <p:nvPr/>
              </p:nvCxnSpPr>
              <p:spPr>
                <a:xfrm>
                  <a:off x="5508838" y="1340338"/>
                  <a:ext cx="137160" cy="0"/>
                </a:xfrm>
                <a:prstGeom prst="line">
                  <a:avLst/>
                </a:prstGeom>
                <a:noFill/>
                <a:ln w="25400" cap="flat" cmpd="sng" algn="ctr">
                  <a:solidFill>
                    <a:srgbClr val="810851"/>
                  </a:solidFill>
                  <a:prstDash val="solid"/>
                </a:ln>
                <a:effectLst/>
              </p:spPr>
            </p:cxnSp>
            <p:sp>
              <p:nvSpPr>
                <p:cNvPr id="89" name="TextBox 88">
                  <a:extLst>
                    <a:ext uri="{FF2B5EF4-FFF2-40B4-BE49-F238E27FC236}">
                      <a16:creationId xmlns:a16="http://schemas.microsoft.com/office/drawing/2014/main" xmlns="" id="{EF44FEB4-E10D-8B3D-CE61-4B0D0593C266}"/>
                    </a:ext>
                  </a:extLst>
                </p:cNvPr>
                <p:cNvSpPr txBox="1"/>
                <p:nvPr/>
              </p:nvSpPr>
              <p:spPr>
                <a:xfrm>
                  <a:off x="5645998" y="1253379"/>
                  <a:ext cx="2622940" cy="177933"/>
                </a:xfrm>
                <a:prstGeom prst="rect">
                  <a:avLst/>
                </a:prstGeom>
                <a:noFill/>
              </p:spPr>
              <p:txBody>
                <a:bodyPr wrap="none" rtlCol="0">
                  <a:spAutoFit/>
                </a:bodyPr>
                <a:lstStyle/>
                <a:p>
                  <a:pPr defTabSz="457189">
                    <a:defRPr/>
                  </a:pPr>
                  <a:r>
                    <a:rPr lang="en" sz="800" i="1" kern="0" dirty="0">
                      <a:solidFill>
                        <a:srgbClr val="000000"/>
                      </a:solidFill>
                    </a:rPr>
                    <a:t>HER2 (</a:t>
                  </a:r>
                  <a:r>
                    <a:rPr lang="en-US" sz="800" i="1" kern="0" dirty="0">
                      <a:solidFill>
                        <a:srgbClr val="000000"/>
                      </a:solidFill>
                    </a:rPr>
                    <a:t>n</a:t>
                  </a:r>
                  <a:r>
                    <a:rPr lang="ru-RU" sz="800" i="1" kern="0" dirty="0">
                      <a:solidFill>
                        <a:srgbClr val="000000"/>
                      </a:solidFill>
                    </a:rPr>
                    <a:t>=16</a:t>
                  </a:r>
                  <a:r>
                    <a:rPr lang="en" sz="800" i="1" kern="0" dirty="0">
                      <a:solidFill>
                        <a:srgbClr val="000000"/>
                      </a:solidFill>
                    </a:rPr>
                    <a:t>)</a:t>
                  </a:r>
                  <a:r>
                    <a:rPr lang="ru-RU" sz="800" i="1" kern="0" dirty="0">
                      <a:solidFill>
                        <a:srgbClr val="000000"/>
                      </a:solidFill>
                    </a:rPr>
                    <a:t>: медиана ОВ 19 </a:t>
                  </a:r>
                  <a:r>
                    <a:rPr lang="ru-RU" sz="800" i="1" kern="0" dirty="0" err="1">
                      <a:solidFill>
                        <a:srgbClr val="000000"/>
                      </a:solidFill>
                    </a:rPr>
                    <a:t>мес</a:t>
                  </a:r>
                  <a:r>
                    <a:rPr lang="ru-RU" sz="800" i="1" kern="0" dirty="0">
                      <a:solidFill>
                        <a:srgbClr val="000000"/>
                      </a:solidFill>
                    </a:rPr>
                    <a:t> </a:t>
                  </a:r>
                  <a:endParaRPr lang="en" sz="800" i="1" kern="0" dirty="0">
                    <a:solidFill>
                      <a:srgbClr val="000000"/>
                    </a:solidFill>
                  </a:endParaRPr>
                </a:p>
              </p:txBody>
            </p:sp>
          </p:grpSp>
          <p:grpSp>
            <p:nvGrpSpPr>
              <p:cNvPr id="64" name="Group 309">
                <a:extLst>
                  <a:ext uri="{FF2B5EF4-FFF2-40B4-BE49-F238E27FC236}">
                    <a16:creationId xmlns:a16="http://schemas.microsoft.com/office/drawing/2014/main" xmlns="" id="{CC26CDA9-82A9-2A27-3291-5748B13FCE39}"/>
                  </a:ext>
                </a:extLst>
              </p:cNvPr>
              <p:cNvGrpSpPr/>
              <p:nvPr/>
            </p:nvGrpSpPr>
            <p:grpSpPr>
              <a:xfrm>
                <a:off x="7274601" y="2700893"/>
                <a:ext cx="1580094" cy="177933"/>
                <a:chOff x="5508839" y="1253379"/>
                <a:chExt cx="2760097" cy="177933"/>
              </a:xfrm>
            </p:grpSpPr>
            <p:cxnSp>
              <p:nvCxnSpPr>
                <p:cNvPr id="86" name="Straight Connector 331">
                  <a:extLst>
                    <a:ext uri="{FF2B5EF4-FFF2-40B4-BE49-F238E27FC236}">
                      <a16:creationId xmlns:a16="http://schemas.microsoft.com/office/drawing/2014/main" xmlns="" id="{63A67F9A-75B6-AE62-225D-D44DBB23E9F2}"/>
                    </a:ext>
                  </a:extLst>
                </p:cNvPr>
                <p:cNvCxnSpPr/>
                <p:nvPr/>
              </p:nvCxnSpPr>
              <p:spPr>
                <a:xfrm>
                  <a:off x="5508839" y="1328025"/>
                  <a:ext cx="137160" cy="0"/>
                </a:xfrm>
                <a:prstGeom prst="line">
                  <a:avLst/>
                </a:prstGeom>
                <a:noFill/>
                <a:ln w="25400" cap="flat" cmpd="sng" algn="ctr">
                  <a:solidFill>
                    <a:srgbClr val="003865">
                      <a:lumMod val="90000"/>
                      <a:lumOff val="10000"/>
                    </a:srgbClr>
                  </a:solidFill>
                  <a:prstDash val="solid"/>
                </a:ln>
                <a:effectLst/>
              </p:spPr>
            </p:cxnSp>
            <p:sp>
              <p:nvSpPr>
                <p:cNvPr id="87" name="TextBox 86">
                  <a:extLst>
                    <a:ext uri="{FF2B5EF4-FFF2-40B4-BE49-F238E27FC236}">
                      <a16:creationId xmlns:a16="http://schemas.microsoft.com/office/drawing/2014/main" xmlns="" id="{81D23AFB-3E99-3EDA-4CB7-6BCB9D632C13}"/>
                    </a:ext>
                  </a:extLst>
                </p:cNvPr>
                <p:cNvSpPr txBox="1"/>
                <p:nvPr/>
              </p:nvSpPr>
              <p:spPr>
                <a:xfrm>
                  <a:off x="5646000" y="1253379"/>
                  <a:ext cx="2622936" cy="177933"/>
                </a:xfrm>
                <a:prstGeom prst="rect">
                  <a:avLst/>
                </a:prstGeom>
                <a:noFill/>
              </p:spPr>
              <p:txBody>
                <a:bodyPr wrap="none" rtlCol="0">
                  <a:spAutoFit/>
                </a:bodyPr>
                <a:lstStyle/>
                <a:p>
                  <a:pPr defTabSz="457189">
                    <a:defRPr/>
                  </a:pPr>
                  <a:r>
                    <a:rPr lang="ru" sz="800" i="1" kern="0" dirty="0">
                      <a:solidFill>
                        <a:srgbClr val="000000"/>
                      </a:solidFill>
                    </a:rPr>
                    <a:t>BRAF</a:t>
                  </a:r>
                  <a:r>
                    <a:rPr lang="en-US" sz="800" i="1" kern="0" dirty="0">
                      <a:solidFill>
                        <a:srgbClr val="000000"/>
                      </a:solidFill>
                    </a:rPr>
                    <a:t> </a:t>
                  </a:r>
                  <a:r>
                    <a:rPr lang="en" sz="800" i="1" kern="0" dirty="0">
                      <a:solidFill>
                        <a:srgbClr val="000000"/>
                      </a:solidFill>
                    </a:rPr>
                    <a:t>(</a:t>
                  </a:r>
                  <a:r>
                    <a:rPr lang="en-US" sz="800" i="1" kern="0" dirty="0">
                      <a:solidFill>
                        <a:srgbClr val="000000"/>
                      </a:solidFill>
                    </a:rPr>
                    <a:t>n</a:t>
                  </a:r>
                  <a:r>
                    <a:rPr lang="ru-RU" sz="800" i="1" kern="0" dirty="0">
                      <a:solidFill>
                        <a:srgbClr val="000000"/>
                      </a:solidFill>
                    </a:rPr>
                    <a:t>=1</a:t>
                  </a:r>
                  <a:r>
                    <a:rPr lang="en-US" sz="800" i="1" kern="0" dirty="0">
                      <a:solidFill>
                        <a:srgbClr val="000000"/>
                      </a:solidFill>
                    </a:rPr>
                    <a:t>0</a:t>
                  </a:r>
                  <a:r>
                    <a:rPr lang="en" sz="800" i="1" kern="0" dirty="0">
                      <a:solidFill>
                        <a:srgbClr val="000000"/>
                      </a:solidFill>
                    </a:rPr>
                    <a:t>)</a:t>
                  </a:r>
                  <a:r>
                    <a:rPr lang="ru-RU" sz="800" i="1" kern="0" dirty="0">
                      <a:solidFill>
                        <a:srgbClr val="000000"/>
                      </a:solidFill>
                    </a:rPr>
                    <a:t>: медиана ОВ </a:t>
                  </a:r>
                  <a:r>
                    <a:rPr lang="en-US" sz="800" i="1" kern="0" dirty="0">
                      <a:solidFill>
                        <a:srgbClr val="000000"/>
                      </a:solidFill>
                    </a:rPr>
                    <a:t>21</a:t>
                  </a:r>
                  <a:r>
                    <a:rPr lang="ru-RU" sz="800" i="1" kern="0" dirty="0">
                      <a:solidFill>
                        <a:srgbClr val="000000"/>
                      </a:solidFill>
                    </a:rPr>
                    <a:t> </a:t>
                  </a:r>
                  <a:r>
                    <a:rPr lang="ru-RU" sz="800" i="1" kern="0" dirty="0" err="1">
                      <a:solidFill>
                        <a:srgbClr val="000000"/>
                      </a:solidFill>
                    </a:rPr>
                    <a:t>мес</a:t>
                  </a:r>
                  <a:r>
                    <a:rPr lang="ru-RU" sz="800" i="1" kern="0" dirty="0">
                      <a:solidFill>
                        <a:srgbClr val="000000"/>
                      </a:solidFill>
                    </a:rPr>
                    <a:t> </a:t>
                  </a:r>
                  <a:endParaRPr lang="ru" sz="800" i="1" kern="0" dirty="0">
                    <a:solidFill>
                      <a:srgbClr val="000000"/>
                    </a:solidFill>
                  </a:endParaRPr>
                </a:p>
              </p:txBody>
            </p:sp>
          </p:grpSp>
          <p:grpSp>
            <p:nvGrpSpPr>
              <p:cNvPr id="65" name="Group 310">
                <a:extLst>
                  <a:ext uri="{FF2B5EF4-FFF2-40B4-BE49-F238E27FC236}">
                    <a16:creationId xmlns:a16="http://schemas.microsoft.com/office/drawing/2014/main" xmlns="" id="{2B86FD8E-E0EC-25BE-0AC7-93A7A3C652C2}"/>
                  </a:ext>
                </a:extLst>
              </p:cNvPr>
              <p:cNvGrpSpPr/>
              <p:nvPr/>
            </p:nvGrpSpPr>
            <p:grpSpPr>
              <a:xfrm>
                <a:off x="7274599" y="2805939"/>
                <a:ext cx="1730780" cy="177933"/>
                <a:chOff x="5508839" y="1253380"/>
                <a:chExt cx="3023313" cy="177933"/>
              </a:xfrm>
            </p:grpSpPr>
            <p:cxnSp>
              <p:nvCxnSpPr>
                <p:cNvPr id="84" name="Straight Connector 329">
                  <a:extLst>
                    <a:ext uri="{FF2B5EF4-FFF2-40B4-BE49-F238E27FC236}">
                      <a16:creationId xmlns:a16="http://schemas.microsoft.com/office/drawing/2014/main" xmlns="" id="{1CC14091-7544-E020-E282-D24B434EC2E9}"/>
                    </a:ext>
                  </a:extLst>
                </p:cNvPr>
                <p:cNvCxnSpPr/>
                <p:nvPr/>
              </p:nvCxnSpPr>
              <p:spPr>
                <a:xfrm>
                  <a:off x="5508839" y="1334084"/>
                  <a:ext cx="137160" cy="0"/>
                </a:xfrm>
                <a:prstGeom prst="line">
                  <a:avLst/>
                </a:prstGeom>
                <a:noFill/>
                <a:ln w="25400" cap="flat" cmpd="sng" algn="ctr">
                  <a:solidFill>
                    <a:srgbClr val="C4D600">
                      <a:lumMod val="75000"/>
                      <a:lumOff val="25000"/>
                    </a:srgbClr>
                  </a:solidFill>
                  <a:prstDash val="solid"/>
                </a:ln>
                <a:effectLst/>
              </p:spPr>
            </p:cxnSp>
            <p:sp>
              <p:nvSpPr>
                <p:cNvPr id="85" name="TextBox 84">
                  <a:extLst>
                    <a:ext uri="{FF2B5EF4-FFF2-40B4-BE49-F238E27FC236}">
                      <a16:creationId xmlns:a16="http://schemas.microsoft.com/office/drawing/2014/main" xmlns="" id="{6313B3E6-890E-ABC0-B771-3EC0D064C14B}"/>
                    </a:ext>
                  </a:extLst>
                </p:cNvPr>
                <p:cNvSpPr txBox="1"/>
                <p:nvPr/>
              </p:nvSpPr>
              <p:spPr>
                <a:xfrm>
                  <a:off x="5643468" y="1253380"/>
                  <a:ext cx="2888684" cy="177933"/>
                </a:xfrm>
                <a:prstGeom prst="rect">
                  <a:avLst/>
                </a:prstGeom>
                <a:noFill/>
              </p:spPr>
              <p:txBody>
                <a:bodyPr wrap="square" rtlCol="0">
                  <a:spAutoFit/>
                </a:bodyPr>
                <a:lstStyle/>
                <a:p>
                  <a:pPr defTabSz="457189">
                    <a:defRPr/>
                  </a:pPr>
                  <a:r>
                    <a:rPr lang="ru" sz="800" i="1" kern="0" dirty="0">
                      <a:solidFill>
                        <a:srgbClr val="000000"/>
                      </a:solidFill>
                    </a:rPr>
                    <a:t>ALK</a:t>
                  </a:r>
                  <a:r>
                    <a:rPr lang="en-US" sz="800" i="1" kern="0" dirty="0">
                      <a:solidFill>
                        <a:srgbClr val="000000"/>
                      </a:solidFill>
                    </a:rPr>
                    <a:t> </a:t>
                  </a:r>
                  <a:r>
                    <a:rPr lang="en" sz="800" i="1" kern="0" dirty="0">
                      <a:solidFill>
                        <a:srgbClr val="000000"/>
                      </a:solidFill>
                    </a:rPr>
                    <a:t>(</a:t>
                  </a:r>
                  <a:r>
                    <a:rPr lang="en-US" sz="800" i="1" kern="0" dirty="0">
                      <a:solidFill>
                        <a:srgbClr val="000000"/>
                      </a:solidFill>
                    </a:rPr>
                    <a:t>n</a:t>
                  </a:r>
                  <a:r>
                    <a:rPr lang="ru-RU" sz="800" i="1" kern="0" dirty="0">
                      <a:solidFill>
                        <a:srgbClr val="000000"/>
                      </a:solidFill>
                    </a:rPr>
                    <a:t>=</a:t>
                  </a:r>
                  <a:r>
                    <a:rPr lang="en-US" sz="800" i="1" kern="0" dirty="0">
                      <a:solidFill>
                        <a:srgbClr val="000000"/>
                      </a:solidFill>
                    </a:rPr>
                    <a:t>28</a:t>
                  </a:r>
                  <a:r>
                    <a:rPr lang="en" sz="800" i="1" kern="0" dirty="0">
                      <a:solidFill>
                        <a:srgbClr val="000000"/>
                      </a:solidFill>
                    </a:rPr>
                    <a:t>)</a:t>
                  </a:r>
                  <a:r>
                    <a:rPr lang="ru-RU" sz="800" i="1" kern="0" dirty="0">
                      <a:solidFill>
                        <a:srgbClr val="000000"/>
                      </a:solidFill>
                    </a:rPr>
                    <a:t>: медиана ОВ </a:t>
                  </a:r>
                  <a:r>
                    <a:rPr lang="en-US" sz="800" i="1" kern="0" dirty="0">
                      <a:solidFill>
                        <a:srgbClr val="000000"/>
                      </a:solidFill>
                    </a:rPr>
                    <a:t>25</a:t>
                  </a:r>
                  <a:r>
                    <a:rPr lang="ru-RU" sz="800" i="1" kern="0" dirty="0">
                      <a:solidFill>
                        <a:srgbClr val="000000"/>
                      </a:solidFill>
                    </a:rPr>
                    <a:t> </a:t>
                  </a:r>
                  <a:r>
                    <a:rPr lang="ru-RU" sz="800" i="1" kern="0" dirty="0" err="1">
                      <a:solidFill>
                        <a:srgbClr val="000000"/>
                      </a:solidFill>
                    </a:rPr>
                    <a:t>мес</a:t>
                  </a:r>
                  <a:r>
                    <a:rPr lang="ru-RU" sz="800" i="1" kern="0" dirty="0">
                      <a:solidFill>
                        <a:srgbClr val="000000"/>
                      </a:solidFill>
                    </a:rPr>
                    <a:t> </a:t>
                  </a:r>
                  <a:endParaRPr lang="ru" sz="800" i="1" kern="0" dirty="0">
                    <a:solidFill>
                      <a:srgbClr val="000000"/>
                    </a:solidFill>
                  </a:endParaRPr>
                </a:p>
              </p:txBody>
            </p:sp>
          </p:grpSp>
          <p:grpSp>
            <p:nvGrpSpPr>
              <p:cNvPr id="66" name="Group 311">
                <a:extLst>
                  <a:ext uri="{FF2B5EF4-FFF2-40B4-BE49-F238E27FC236}">
                    <a16:creationId xmlns:a16="http://schemas.microsoft.com/office/drawing/2014/main" xmlns="" id="{9CCF420F-7AC1-2637-7A13-0375C3BC5A10}"/>
                  </a:ext>
                </a:extLst>
              </p:cNvPr>
              <p:cNvGrpSpPr/>
              <p:nvPr/>
            </p:nvGrpSpPr>
            <p:grpSpPr>
              <a:xfrm>
                <a:off x="7274594" y="2910947"/>
                <a:ext cx="1628735" cy="177933"/>
                <a:chOff x="5508839" y="1253292"/>
                <a:chExt cx="2845065" cy="177933"/>
              </a:xfrm>
            </p:grpSpPr>
            <p:cxnSp>
              <p:nvCxnSpPr>
                <p:cNvPr id="82" name="Straight Connector 327">
                  <a:extLst>
                    <a:ext uri="{FF2B5EF4-FFF2-40B4-BE49-F238E27FC236}">
                      <a16:creationId xmlns:a16="http://schemas.microsoft.com/office/drawing/2014/main" xmlns="" id="{2FA8A9D0-C278-C887-CDFE-1867B327B6FA}"/>
                    </a:ext>
                  </a:extLst>
                </p:cNvPr>
                <p:cNvCxnSpPr/>
                <p:nvPr/>
              </p:nvCxnSpPr>
              <p:spPr>
                <a:xfrm>
                  <a:off x="5508839" y="1330967"/>
                  <a:ext cx="137160" cy="0"/>
                </a:xfrm>
                <a:prstGeom prst="line">
                  <a:avLst/>
                </a:prstGeom>
                <a:noFill/>
                <a:ln w="25400" cap="flat" cmpd="sng" algn="ctr">
                  <a:solidFill>
                    <a:srgbClr val="C4D600"/>
                  </a:solidFill>
                  <a:prstDash val="solid"/>
                </a:ln>
                <a:effectLst/>
              </p:spPr>
            </p:cxnSp>
            <p:sp>
              <p:nvSpPr>
                <p:cNvPr id="83" name="TextBox 82">
                  <a:extLst>
                    <a:ext uri="{FF2B5EF4-FFF2-40B4-BE49-F238E27FC236}">
                      <a16:creationId xmlns:a16="http://schemas.microsoft.com/office/drawing/2014/main" xmlns="" id="{3E0F7AEB-6080-516C-42BD-064E0900E86A}"/>
                    </a:ext>
                  </a:extLst>
                </p:cNvPr>
                <p:cNvSpPr txBox="1"/>
                <p:nvPr/>
              </p:nvSpPr>
              <p:spPr>
                <a:xfrm>
                  <a:off x="5638463" y="1253292"/>
                  <a:ext cx="2715441" cy="177933"/>
                </a:xfrm>
                <a:prstGeom prst="rect">
                  <a:avLst/>
                </a:prstGeom>
                <a:noFill/>
              </p:spPr>
              <p:txBody>
                <a:bodyPr wrap="none" rtlCol="0">
                  <a:spAutoFit/>
                </a:bodyPr>
                <a:lstStyle/>
                <a:p>
                  <a:pPr defTabSz="457189">
                    <a:defRPr/>
                  </a:pPr>
                  <a:r>
                    <a:rPr lang="ru" sz="800" i="1" kern="0" dirty="0">
                      <a:solidFill>
                        <a:srgbClr val="000000"/>
                      </a:solidFill>
                    </a:rPr>
                    <a:t>KRAS</a:t>
                  </a:r>
                  <a:r>
                    <a:rPr lang="en-US" sz="800" i="1" kern="0" dirty="0">
                      <a:solidFill>
                        <a:srgbClr val="000000"/>
                      </a:solidFill>
                    </a:rPr>
                    <a:t> </a:t>
                  </a:r>
                  <a:r>
                    <a:rPr lang="en" sz="800" i="1" kern="0" dirty="0">
                      <a:solidFill>
                        <a:srgbClr val="000000"/>
                      </a:solidFill>
                    </a:rPr>
                    <a:t>(</a:t>
                  </a:r>
                  <a:r>
                    <a:rPr lang="en-US" sz="800" i="1" kern="0" dirty="0">
                      <a:solidFill>
                        <a:srgbClr val="000000"/>
                      </a:solidFill>
                    </a:rPr>
                    <a:t>n</a:t>
                  </a:r>
                  <a:r>
                    <a:rPr lang="ru-RU" sz="800" i="1" kern="0" dirty="0">
                      <a:solidFill>
                        <a:srgbClr val="000000"/>
                      </a:solidFill>
                    </a:rPr>
                    <a:t>=</a:t>
                  </a:r>
                  <a:r>
                    <a:rPr lang="en-US" sz="800" i="1" kern="0" dirty="0">
                      <a:solidFill>
                        <a:srgbClr val="000000"/>
                      </a:solidFill>
                    </a:rPr>
                    <a:t>117</a:t>
                  </a:r>
                  <a:r>
                    <a:rPr lang="en" sz="800" i="1" kern="0" dirty="0">
                      <a:solidFill>
                        <a:srgbClr val="000000"/>
                      </a:solidFill>
                    </a:rPr>
                    <a:t>)</a:t>
                  </a:r>
                  <a:r>
                    <a:rPr lang="ru-RU" sz="800" i="1" kern="0" dirty="0">
                      <a:solidFill>
                        <a:srgbClr val="000000"/>
                      </a:solidFill>
                    </a:rPr>
                    <a:t>: медиана ОВ </a:t>
                  </a:r>
                  <a:r>
                    <a:rPr lang="en-US" sz="800" i="1" kern="0" dirty="0">
                      <a:solidFill>
                        <a:srgbClr val="000000"/>
                      </a:solidFill>
                    </a:rPr>
                    <a:t>14</a:t>
                  </a:r>
                  <a:r>
                    <a:rPr lang="ru-RU" sz="800" i="1" kern="0" dirty="0">
                      <a:solidFill>
                        <a:srgbClr val="000000"/>
                      </a:solidFill>
                    </a:rPr>
                    <a:t> </a:t>
                  </a:r>
                  <a:r>
                    <a:rPr lang="ru-RU" sz="800" i="1" kern="0" dirty="0" err="1">
                      <a:solidFill>
                        <a:srgbClr val="000000"/>
                      </a:solidFill>
                    </a:rPr>
                    <a:t>мес</a:t>
                  </a:r>
                  <a:r>
                    <a:rPr lang="ru-RU" sz="800" i="1" kern="0" dirty="0">
                      <a:solidFill>
                        <a:srgbClr val="000000"/>
                      </a:solidFill>
                    </a:rPr>
                    <a:t> </a:t>
                  </a:r>
                  <a:endParaRPr lang="ru" sz="800" i="1" kern="0" dirty="0">
                    <a:solidFill>
                      <a:srgbClr val="000000"/>
                    </a:solidFill>
                  </a:endParaRPr>
                </a:p>
              </p:txBody>
            </p:sp>
          </p:grpSp>
          <p:grpSp>
            <p:nvGrpSpPr>
              <p:cNvPr id="67" name="Group 312">
                <a:extLst>
                  <a:ext uri="{FF2B5EF4-FFF2-40B4-BE49-F238E27FC236}">
                    <a16:creationId xmlns:a16="http://schemas.microsoft.com/office/drawing/2014/main" xmlns="" id="{2B503097-3A88-C650-74CA-8D6AD230F1CE}"/>
                  </a:ext>
                </a:extLst>
              </p:cNvPr>
              <p:cNvGrpSpPr/>
              <p:nvPr/>
            </p:nvGrpSpPr>
            <p:grpSpPr>
              <a:xfrm>
                <a:off x="7274600" y="3015992"/>
                <a:ext cx="1632706" cy="279609"/>
                <a:chOff x="5508839" y="1253292"/>
                <a:chExt cx="2851999" cy="279609"/>
              </a:xfrm>
            </p:grpSpPr>
            <p:cxnSp>
              <p:nvCxnSpPr>
                <p:cNvPr id="80" name="Straight Connector 325">
                  <a:extLst>
                    <a:ext uri="{FF2B5EF4-FFF2-40B4-BE49-F238E27FC236}">
                      <a16:creationId xmlns:a16="http://schemas.microsoft.com/office/drawing/2014/main" xmlns="" id="{2C168F4C-AAE9-E3BE-7772-F0F8D341BA13}"/>
                    </a:ext>
                  </a:extLst>
                </p:cNvPr>
                <p:cNvCxnSpPr/>
                <p:nvPr/>
              </p:nvCxnSpPr>
              <p:spPr>
                <a:xfrm>
                  <a:off x="5508839" y="1327938"/>
                  <a:ext cx="137160" cy="0"/>
                </a:xfrm>
                <a:prstGeom prst="line">
                  <a:avLst/>
                </a:prstGeom>
                <a:noFill/>
                <a:ln w="25400" cap="flat" cmpd="sng" algn="ctr">
                  <a:solidFill>
                    <a:srgbClr val="68D2DF">
                      <a:lumMod val="75000"/>
                    </a:srgbClr>
                  </a:solidFill>
                  <a:prstDash val="solid"/>
                </a:ln>
                <a:effectLst/>
              </p:spPr>
            </p:cxnSp>
            <p:sp>
              <p:nvSpPr>
                <p:cNvPr id="81" name="TextBox 80">
                  <a:extLst>
                    <a:ext uri="{FF2B5EF4-FFF2-40B4-BE49-F238E27FC236}">
                      <a16:creationId xmlns:a16="http://schemas.microsoft.com/office/drawing/2014/main" xmlns="" id="{3CB51596-13C7-79B0-D107-021CF81F414C}"/>
                    </a:ext>
                  </a:extLst>
                </p:cNvPr>
                <p:cNvSpPr txBox="1"/>
                <p:nvPr/>
              </p:nvSpPr>
              <p:spPr>
                <a:xfrm>
                  <a:off x="5638463" y="1253292"/>
                  <a:ext cx="2722375" cy="279609"/>
                </a:xfrm>
                <a:prstGeom prst="rect">
                  <a:avLst/>
                </a:prstGeom>
                <a:noFill/>
              </p:spPr>
              <p:txBody>
                <a:bodyPr wrap="none" rtlCol="0">
                  <a:spAutoFit/>
                </a:bodyPr>
                <a:lstStyle/>
                <a:p>
                  <a:pPr defTabSz="457189">
                    <a:defRPr/>
                  </a:pPr>
                  <a:r>
                    <a:rPr lang="ru" sz="800" i="1" kern="0" dirty="0">
                      <a:solidFill>
                        <a:srgbClr val="000000"/>
                      </a:solidFill>
                    </a:rPr>
                    <a:t>EGFR</a:t>
                  </a:r>
                  <a:r>
                    <a:rPr lang="en-US" sz="800" i="1" kern="0" dirty="0">
                      <a:solidFill>
                        <a:srgbClr val="000000"/>
                      </a:solidFill>
                    </a:rPr>
                    <a:t> </a:t>
                  </a:r>
                  <a:r>
                    <a:rPr lang="en" sz="800" i="1" kern="0" dirty="0">
                      <a:solidFill>
                        <a:srgbClr val="000000"/>
                      </a:solidFill>
                    </a:rPr>
                    <a:t>(</a:t>
                  </a:r>
                  <a:r>
                    <a:rPr lang="en-US" sz="800" i="1" kern="0" dirty="0">
                      <a:solidFill>
                        <a:srgbClr val="000000"/>
                      </a:solidFill>
                    </a:rPr>
                    <a:t>n</a:t>
                  </a:r>
                  <a:r>
                    <a:rPr lang="ru-RU" sz="800" i="1" kern="0" dirty="0">
                      <a:solidFill>
                        <a:srgbClr val="000000"/>
                      </a:solidFill>
                    </a:rPr>
                    <a:t>=102</a:t>
                  </a:r>
                  <a:r>
                    <a:rPr lang="en" sz="800" i="1" kern="0" dirty="0">
                      <a:solidFill>
                        <a:srgbClr val="000000"/>
                      </a:solidFill>
                    </a:rPr>
                    <a:t>)</a:t>
                  </a:r>
                  <a:r>
                    <a:rPr lang="ru-RU" sz="800" i="1" kern="0" dirty="0">
                      <a:solidFill>
                        <a:srgbClr val="000000"/>
                      </a:solidFill>
                    </a:rPr>
                    <a:t>: медиана ОВ 30 </a:t>
                  </a:r>
                  <a:r>
                    <a:rPr lang="ru-RU" sz="800" i="1" kern="0" dirty="0" err="1">
                      <a:solidFill>
                        <a:srgbClr val="000000"/>
                      </a:solidFill>
                    </a:rPr>
                    <a:t>мес</a:t>
                  </a:r>
                  <a:r>
                    <a:rPr lang="ru-RU" sz="800" i="1" kern="0" dirty="0">
                      <a:solidFill>
                        <a:srgbClr val="000000"/>
                      </a:solidFill>
                    </a:rPr>
                    <a:t> </a:t>
                  </a:r>
                  <a:endParaRPr lang="ru" sz="800" i="1" kern="0" dirty="0">
                    <a:solidFill>
                      <a:srgbClr val="000000"/>
                    </a:solidFill>
                  </a:endParaRPr>
                </a:p>
                <a:p>
                  <a:pPr defTabSz="457189">
                    <a:defRPr/>
                  </a:pPr>
                  <a:endParaRPr lang="ru" sz="800" i="1" kern="0" dirty="0">
                    <a:solidFill>
                      <a:srgbClr val="000000"/>
                    </a:solidFill>
                  </a:endParaRPr>
                </a:p>
              </p:txBody>
            </p:sp>
          </p:grpSp>
          <p:grpSp>
            <p:nvGrpSpPr>
              <p:cNvPr id="68" name="Group 313">
                <a:extLst>
                  <a:ext uri="{FF2B5EF4-FFF2-40B4-BE49-F238E27FC236}">
                    <a16:creationId xmlns:a16="http://schemas.microsoft.com/office/drawing/2014/main" xmlns="" id="{F9E401A4-B87D-FEAB-5778-2A15E760AE0E}"/>
                  </a:ext>
                </a:extLst>
              </p:cNvPr>
              <p:cNvGrpSpPr/>
              <p:nvPr/>
            </p:nvGrpSpPr>
            <p:grpSpPr>
              <a:xfrm>
                <a:off x="7274601" y="3121037"/>
                <a:ext cx="357788" cy="177933"/>
                <a:chOff x="5508839" y="1253292"/>
                <a:chExt cx="624981" cy="177933"/>
              </a:xfrm>
            </p:grpSpPr>
            <p:cxnSp>
              <p:nvCxnSpPr>
                <p:cNvPr id="78" name="Straight Connector 323">
                  <a:extLst>
                    <a:ext uri="{FF2B5EF4-FFF2-40B4-BE49-F238E27FC236}">
                      <a16:creationId xmlns:a16="http://schemas.microsoft.com/office/drawing/2014/main" xmlns="" id="{77FDE970-6042-86AF-3628-ECF3DC7A6A06}"/>
                    </a:ext>
                  </a:extLst>
                </p:cNvPr>
                <p:cNvCxnSpPr/>
                <p:nvPr/>
              </p:nvCxnSpPr>
              <p:spPr>
                <a:xfrm>
                  <a:off x="5508839" y="1333996"/>
                  <a:ext cx="137160" cy="0"/>
                </a:xfrm>
                <a:prstGeom prst="line">
                  <a:avLst/>
                </a:prstGeom>
                <a:noFill/>
                <a:ln w="25400" cap="flat" cmpd="sng" algn="ctr">
                  <a:solidFill>
                    <a:srgbClr val="C4D42C"/>
                  </a:solidFill>
                  <a:prstDash val="solid"/>
                </a:ln>
                <a:effectLst/>
              </p:spPr>
            </p:cxnSp>
            <p:sp>
              <p:nvSpPr>
                <p:cNvPr id="79" name="TextBox 78">
                  <a:extLst>
                    <a:ext uri="{FF2B5EF4-FFF2-40B4-BE49-F238E27FC236}">
                      <a16:creationId xmlns:a16="http://schemas.microsoft.com/office/drawing/2014/main" xmlns="" id="{22C1726A-1D02-313B-7E3E-8B1F16F881F7}"/>
                    </a:ext>
                  </a:extLst>
                </p:cNvPr>
                <p:cNvSpPr txBox="1"/>
                <p:nvPr/>
              </p:nvSpPr>
              <p:spPr>
                <a:xfrm>
                  <a:off x="5638463" y="1253292"/>
                  <a:ext cx="495357" cy="177933"/>
                </a:xfrm>
                <a:prstGeom prst="rect">
                  <a:avLst/>
                </a:prstGeom>
                <a:noFill/>
              </p:spPr>
              <p:txBody>
                <a:bodyPr wrap="none" rtlCol="0">
                  <a:spAutoFit/>
                </a:bodyPr>
                <a:lstStyle/>
                <a:p>
                  <a:pPr defTabSz="457189">
                    <a:defRPr/>
                  </a:pPr>
                  <a:r>
                    <a:rPr lang="en-US" sz="800" kern="0" dirty="0">
                      <a:solidFill>
                        <a:srgbClr val="000000"/>
                      </a:solidFill>
                    </a:rPr>
                    <a:t>WT</a:t>
                  </a:r>
                  <a:endParaRPr lang="ru" sz="800" kern="0" dirty="0">
                    <a:solidFill>
                      <a:srgbClr val="000000"/>
                    </a:solidFill>
                  </a:endParaRPr>
                </a:p>
              </p:txBody>
            </p:sp>
          </p:grpSp>
          <p:sp>
            <p:nvSpPr>
              <p:cNvPr id="69" name="TextBox 68">
                <a:extLst>
                  <a:ext uri="{FF2B5EF4-FFF2-40B4-BE49-F238E27FC236}">
                    <a16:creationId xmlns:a16="http://schemas.microsoft.com/office/drawing/2014/main" xmlns="" id="{95749250-584A-4256-E19F-6C86AC7D1BC6}"/>
                  </a:ext>
                </a:extLst>
              </p:cNvPr>
              <p:cNvSpPr txBox="1"/>
              <p:nvPr/>
            </p:nvSpPr>
            <p:spPr>
              <a:xfrm>
                <a:off x="5016337" y="2072521"/>
                <a:ext cx="295496" cy="177933"/>
              </a:xfrm>
              <a:prstGeom prst="rect">
                <a:avLst/>
              </a:prstGeom>
              <a:noFill/>
            </p:spPr>
            <p:txBody>
              <a:bodyPr wrap="none" rtlCol="0">
                <a:spAutoFit/>
              </a:bodyPr>
              <a:lstStyle/>
              <a:p>
                <a:pPr algn="r" defTabSz="457189">
                  <a:defRPr/>
                </a:pPr>
                <a:r>
                  <a:rPr lang="ru" sz="800" kern="0">
                    <a:solidFill>
                      <a:srgbClr val="000000"/>
                    </a:solidFill>
                  </a:rPr>
                  <a:t>100</a:t>
                </a:r>
              </a:p>
            </p:txBody>
          </p:sp>
          <p:sp>
            <p:nvSpPr>
              <p:cNvPr id="70" name="TextBox 69">
                <a:extLst>
                  <a:ext uri="{FF2B5EF4-FFF2-40B4-BE49-F238E27FC236}">
                    <a16:creationId xmlns:a16="http://schemas.microsoft.com/office/drawing/2014/main" xmlns="" id="{70C14910-7CB4-2704-16C9-0983CD3214B9}"/>
                  </a:ext>
                </a:extLst>
              </p:cNvPr>
              <p:cNvSpPr txBox="1"/>
              <p:nvPr/>
            </p:nvSpPr>
            <p:spPr>
              <a:xfrm>
                <a:off x="5063998" y="2365448"/>
                <a:ext cx="247835" cy="177933"/>
              </a:xfrm>
              <a:prstGeom prst="rect">
                <a:avLst/>
              </a:prstGeom>
              <a:noFill/>
            </p:spPr>
            <p:txBody>
              <a:bodyPr wrap="none" rtlCol="0">
                <a:spAutoFit/>
              </a:bodyPr>
              <a:lstStyle/>
              <a:p>
                <a:pPr algn="r" defTabSz="457189">
                  <a:defRPr/>
                </a:pPr>
                <a:r>
                  <a:rPr lang="ru" sz="800" kern="0">
                    <a:solidFill>
                      <a:srgbClr val="000000"/>
                    </a:solidFill>
                  </a:rPr>
                  <a:t>80</a:t>
                </a:r>
              </a:p>
            </p:txBody>
          </p:sp>
          <p:sp>
            <p:nvSpPr>
              <p:cNvPr id="71" name="TextBox 70">
                <a:extLst>
                  <a:ext uri="{FF2B5EF4-FFF2-40B4-BE49-F238E27FC236}">
                    <a16:creationId xmlns:a16="http://schemas.microsoft.com/office/drawing/2014/main" xmlns="" id="{06BDCB72-DCC6-4A44-63FC-EEAE563F2D83}"/>
                  </a:ext>
                </a:extLst>
              </p:cNvPr>
              <p:cNvSpPr txBox="1"/>
              <p:nvPr/>
            </p:nvSpPr>
            <p:spPr>
              <a:xfrm>
                <a:off x="5063998" y="2663403"/>
                <a:ext cx="247835" cy="177933"/>
              </a:xfrm>
              <a:prstGeom prst="rect">
                <a:avLst/>
              </a:prstGeom>
              <a:noFill/>
            </p:spPr>
            <p:txBody>
              <a:bodyPr wrap="none" rtlCol="0">
                <a:spAutoFit/>
              </a:bodyPr>
              <a:lstStyle/>
              <a:p>
                <a:pPr algn="r" defTabSz="457189">
                  <a:defRPr/>
                </a:pPr>
                <a:r>
                  <a:rPr lang="ru" sz="800" kern="0">
                    <a:solidFill>
                      <a:srgbClr val="000000"/>
                    </a:solidFill>
                  </a:rPr>
                  <a:t>60</a:t>
                </a:r>
              </a:p>
            </p:txBody>
          </p:sp>
          <p:sp>
            <p:nvSpPr>
              <p:cNvPr id="72" name="TextBox 71">
                <a:extLst>
                  <a:ext uri="{FF2B5EF4-FFF2-40B4-BE49-F238E27FC236}">
                    <a16:creationId xmlns:a16="http://schemas.microsoft.com/office/drawing/2014/main" xmlns="" id="{BF64F812-0885-D5C7-15B8-7F229738D5FF}"/>
                  </a:ext>
                </a:extLst>
              </p:cNvPr>
              <p:cNvSpPr txBox="1"/>
              <p:nvPr/>
            </p:nvSpPr>
            <p:spPr>
              <a:xfrm>
                <a:off x="5063998" y="2956330"/>
                <a:ext cx="247835" cy="177933"/>
              </a:xfrm>
              <a:prstGeom prst="rect">
                <a:avLst/>
              </a:prstGeom>
              <a:noFill/>
            </p:spPr>
            <p:txBody>
              <a:bodyPr wrap="none" rtlCol="0">
                <a:spAutoFit/>
              </a:bodyPr>
              <a:lstStyle/>
              <a:p>
                <a:pPr algn="r" defTabSz="457189">
                  <a:defRPr/>
                </a:pPr>
                <a:r>
                  <a:rPr lang="ru" sz="800" kern="0">
                    <a:solidFill>
                      <a:srgbClr val="000000"/>
                    </a:solidFill>
                  </a:rPr>
                  <a:t>40</a:t>
                </a:r>
              </a:p>
            </p:txBody>
          </p:sp>
          <p:sp>
            <p:nvSpPr>
              <p:cNvPr id="73" name="TextBox 72">
                <a:extLst>
                  <a:ext uri="{FF2B5EF4-FFF2-40B4-BE49-F238E27FC236}">
                    <a16:creationId xmlns:a16="http://schemas.microsoft.com/office/drawing/2014/main" xmlns="" id="{84CDC2E1-0A24-E873-6A15-A49F326218C2}"/>
                  </a:ext>
                </a:extLst>
              </p:cNvPr>
              <p:cNvSpPr txBox="1"/>
              <p:nvPr/>
            </p:nvSpPr>
            <p:spPr>
              <a:xfrm>
                <a:off x="5063998" y="3254286"/>
                <a:ext cx="247835" cy="177933"/>
              </a:xfrm>
              <a:prstGeom prst="rect">
                <a:avLst/>
              </a:prstGeom>
              <a:noFill/>
            </p:spPr>
            <p:txBody>
              <a:bodyPr wrap="none" rtlCol="0">
                <a:spAutoFit/>
              </a:bodyPr>
              <a:lstStyle/>
              <a:p>
                <a:pPr algn="r" defTabSz="457189">
                  <a:defRPr/>
                </a:pPr>
                <a:r>
                  <a:rPr lang="ru" sz="800" kern="0">
                    <a:solidFill>
                      <a:srgbClr val="000000"/>
                    </a:solidFill>
                  </a:rPr>
                  <a:t>20</a:t>
                </a:r>
              </a:p>
            </p:txBody>
          </p:sp>
          <p:sp>
            <p:nvSpPr>
              <p:cNvPr id="74" name="TextBox 73">
                <a:extLst>
                  <a:ext uri="{FF2B5EF4-FFF2-40B4-BE49-F238E27FC236}">
                    <a16:creationId xmlns:a16="http://schemas.microsoft.com/office/drawing/2014/main" xmlns="" id="{A9D91552-A347-A3ED-573F-1F717D40F484}"/>
                  </a:ext>
                </a:extLst>
              </p:cNvPr>
              <p:cNvSpPr txBox="1"/>
              <p:nvPr/>
            </p:nvSpPr>
            <p:spPr>
              <a:xfrm>
                <a:off x="5111658" y="3547212"/>
                <a:ext cx="200174" cy="177933"/>
              </a:xfrm>
              <a:prstGeom prst="rect">
                <a:avLst/>
              </a:prstGeom>
              <a:noFill/>
            </p:spPr>
            <p:txBody>
              <a:bodyPr wrap="none" rtlCol="0">
                <a:spAutoFit/>
              </a:bodyPr>
              <a:lstStyle/>
              <a:p>
                <a:pPr algn="r" defTabSz="457189">
                  <a:defRPr/>
                </a:pPr>
                <a:r>
                  <a:rPr lang="ru" sz="800" kern="0">
                    <a:solidFill>
                      <a:srgbClr val="000000"/>
                    </a:solidFill>
                  </a:rPr>
                  <a:t>0</a:t>
                </a:r>
              </a:p>
            </p:txBody>
          </p:sp>
          <p:sp>
            <p:nvSpPr>
              <p:cNvPr id="75" name="TextBox 74">
                <a:extLst>
                  <a:ext uri="{FF2B5EF4-FFF2-40B4-BE49-F238E27FC236}">
                    <a16:creationId xmlns:a16="http://schemas.microsoft.com/office/drawing/2014/main" xmlns="" id="{E936FB9E-0619-D8BE-8D25-BA83695093C3}"/>
                  </a:ext>
                </a:extLst>
              </p:cNvPr>
              <p:cNvSpPr txBox="1"/>
              <p:nvPr/>
            </p:nvSpPr>
            <p:spPr>
              <a:xfrm>
                <a:off x="5184639" y="3862733"/>
                <a:ext cx="2274705" cy="177933"/>
              </a:xfrm>
              <a:prstGeom prst="rect">
                <a:avLst/>
              </a:prstGeom>
              <a:noFill/>
            </p:spPr>
            <p:txBody>
              <a:bodyPr wrap="square" rtlCol="0">
                <a:spAutoFit/>
              </a:bodyPr>
              <a:lstStyle/>
              <a:p>
                <a:pPr algn="ctr" defTabSz="457189">
                  <a:defRPr/>
                </a:pPr>
                <a:r>
                  <a:rPr lang="ru" sz="800" b="1" kern="0" dirty="0">
                    <a:solidFill>
                      <a:srgbClr val="000000"/>
                    </a:solidFill>
                  </a:rPr>
                  <a:t>Время, месяцы </a:t>
                </a:r>
              </a:p>
            </p:txBody>
          </p:sp>
          <p:sp>
            <p:nvSpPr>
              <p:cNvPr id="76" name="TextBox 75">
                <a:extLst>
                  <a:ext uri="{FF2B5EF4-FFF2-40B4-BE49-F238E27FC236}">
                    <a16:creationId xmlns:a16="http://schemas.microsoft.com/office/drawing/2014/main" xmlns="" id="{515A4701-B992-023B-DF38-25E10EE7235C}"/>
                  </a:ext>
                </a:extLst>
              </p:cNvPr>
              <p:cNvSpPr txBox="1"/>
              <p:nvPr/>
            </p:nvSpPr>
            <p:spPr>
              <a:xfrm rot="16200000">
                <a:off x="4202740" y="2803332"/>
                <a:ext cx="1581974" cy="177933"/>
              </a:xfrm>
              <a:prstGeom prst="rect">
                <a:avLst/>
              </a:prstGeom>
              <a:noFill/>
            </p:spPr>
            <p:txBody>
              <a:bodyPr wrap="square" rtlCol="0">
                <a:spAutoFit/>
              </a:bodyPr>
              <a:lstStyle/>
              <a:p>
                <a:pPr algn="ctr" defTabSz="457189">
                  <a:defRPr/>
                </a:pPr>
                <a:r>
                  <a:rPr lang="ru" sz="800" b="1" kern="0" dirty="0">
                    <a:solidFill>
                      <a:srgbClr val="000000"/>
                    </a:solidFill>
                  </a:rPr>
                  <a:t>Выживаемость, %</a:t>
                </a:r>
              </a:p>
            </p:txBody>
          </p:sp>
          <p:graphicFrame>
            <p:nvGraphicFramePr>
              <p:cNvPr id="77" name="Content Placeholder 76">
                <a:extLst>
                  <a:ext uri="{FF2B5EF4-FFF2-40B4-BE49-F238E27FC236}">
                    <a16:creationId xmlns:a16="http://schemas.microsoft.com/office/drawing/2014/main" xmlns="" id="{6A18BEEB-3542-9167-39C7-CE9058611085}"/>
                  </a:ext>
                </a:extLst>
              </p:cNvPr>
              <p:cNvGraphicFramePr>
                <a:graphicFrameLocks/>
              </p:cNvGraphicFramePr>
              <p:nvPr/>
            </p:nvGraphicFramePr>
            <p:xfrm>
              <a:off x="5300541" y="3743105"/>
              <a:ext cx="1871056" cy="172211"/>
            </p:xfrm>
            <a:graphic>
              <a:graphicData uri="http://schemas.openxmlformats.org/drawingml/2006/table">
                <a:tbl>
                  <a:tblPr firstRow="1" bandRow="1"/>
                  <a:tblGrid>
                    <a:gridCol w="122431">
                      <a:extLst>
                        <a:ext uri="{9D8B030D-6E8A-4147-A177-3AD203B41FA5}">
                          <a16:colId xmlns:a16="http://schemas.microsoft.com/office/drawing/2014/main" xmlns="" val="1212978923"/>
                        </a:ext>
                      </a:extLst>
                    </a:gridCol>
                    <a:gridCol w="133942">
                      <a:extLst>
                        <a:ext uri="{9D8B030D-6E8A-4147-A177-3AD203B41FA5}">
                          <a16:colId xmlns:a16="http://schemas.microsoft.com/office/drawing/2014/main" xmlns="" val="1099784993"/>
                        </a:ext>
                      </a:extLst>
                    </a:gridCol>
                    <a:gridCol w="133942">
                      <a:extLst>
                        <a:ext uri="{9D8B030D-6E8A-4147-A177-3AD203B41FA5}">
                          <a16:colId xmlns:a16="http://schemas.microsoft.com/office/drawing/2014/main" xmlns="" val="3149280405"/>
                        </a:ext>
                      </a:extLst>
                    </a:gridCol>
                    <a:gridCol w="133942">
                      <a:extLst>
                        <a:ext uri="{9D8B030D-6E8A-4147-A177-3AD203B41FA5}">
                          <a16:colId xmlns:a16="http://schemas.microsoft.com/office/drawing/2014/main" xmlns="" val="2161609274"/>
                        </a:ext>
                      </a:extLst>
                    </a:gridCol>
                    <a:gridCol w="133942">
                      <a:extLst>
                        <a:ext uri="{9D8B030D-6E8A-4147-A177-3AD203B41FA5}">
                          <a16:colId xmlns:a16="http://schemas.microsoft.com/office/drawing/2014/main" xmlns="" val="3650969397"/>
                        </a:ext>
                      </a:extLst>
                    </a:gridCol>
                    <a:gridCol w="133942">
                      <a:extLst>
                        <a:ext uri="{9D8B030D-6E8A-4147-A177-3AD203B41FA5}">
                          <a16:colId xmlns:a16="http://schemas.microsoft.com/office/drawing/2014/main" xmlns="" val="1222097636"/>
                        </a:ext>
                      </a:extLst>
                    </a:gridCol>
                    <a:gridCol w="133942">
                      <a:extLst>
                        <a:ext uri="{9D8B030D-6E8A-4147-A177-3AD203B41FA5}">
                          <a16:colId xmlns:a16="http://schemas.microsoft.com/office/drawing/2014/main" xmlns="" val="2882166922"/>
                        </a:ext>
                      </a:extLst>
                    </a:gridCol>
                    <a:gridCol w="133942">
                      <a:extLst>
                        <a:ext uri="{9D8B030D-6E8A-4147-A177-3AD203B41FA5}">
                          <a16:colId xmlns:a16="http://schemas.microsoft.com/office/drawing/2014/main" xmlns="" val="2809478011"/>
                        </a:ext>
                      </a:extLst>
                    </a:gridCol>
                    <a:gridCol w="133942">
                      <a:extLst>
                        <a:ext uri="{9D8B030D-6E8A-4147-A177-3AD203B41FA5}">
                          <a16:colId xmlns:a16="http://schemas.microsoft.com/office/drawing/2014/main" xmlns="" val="1749499712"/>
                        </a:ext>
                      </a:extLst>
                    </a:gridCol>
                    <a:gridCol w="133942">
                      <a:extLst>
                        <a:ext uri="{9D8B030D-6E8A-4147-A177-3AD203B41FA5}">
                          <a16:colId xmlns:a16="http://schemas.microsoft.com/office/drawing/2014/main" xmlns="" val="1035792449"/>
                        </a:ext>
                      </a:extLst>
                    </a:gridCol>
                    <a:gridCol w="133942">
                      <a:extLst>
                        <a:ext uri="{9D8B030D-6E8A-4147-A177-3AD203B41FA5}">
                          <a16:colId xmlns:a16="http://schemas.microsoft.com/office/drawing/2014/main" xmlns="" val="449957540"/>
                        </a:ext>
                      </a:extLst>
                    </a:gridCol>
                    <a:gridCol w="133942">
                      <a:extLst>
                        <a:ext uri="{9D8B030D-6E8A-4147-A177-3AD203B41FA5}">
                          <a16:colId xmlns:a16="http://schemas.microsoft.com/office/drawing/2014/main" xmlns="" val="25745075"/>
                        </a:ext>
                      </a:extLst>
                    </a:gridCol>
                    <a:gridCol w="133942">
                      <a:extLst>
                        <a:ext uri="{9D8B030D-6E8A-4147-A177-3AD203B41FA5}">
                          <a16:colId xmlns:a16="http://schemas.microsoft.com/office/drawing/2014/main" xmlns="" val="3413303646"/>
                        </a:ext>
                      </a:extLst>
                    </a:gridCol>
                    <a:gridCol w="133942">
                      <a:extLst>
                        <a:ext uri="{9D8B030D-6E8A-4147-A177-3AD203B41FA5}">
                          <a16:colId xmlns:a16="http://schemas.microsoft.com/office/drawing/2014/main" xmlns="" val="1651324670"/>
                        </a:ext>
                      </a:extLst>
                    </a:gridCol>
                    <a:gridCol w="133942">
                      <a:extLst>
                        <a:ext uri="{9D8B030D-6E8A-4147-A177-3AD203B41FA5}">
                          <a16:colId xmlns:a16="http://schemas.microsoft.com/office/drawing/2014/main" xmlns="" val="218956037"/>
                        </a:ext>
                      </a:extLst>
                    </a:gridCol>
                    <a:gridCol w="133942">
                      <a:extLst>
                        <a:ext uri="{9D8B030D-6E8A-4147-A177-3AD203B41FA5}">
                          <a16:colId xmlns:a16="http://schemas.microsoft.com/office/drawing/2014/main" xmlns="" val="2309777515"/>
                        </a:ext>
                      </a:extLst>
                    </a:gridCol>
                    <a:gridCol w="133942">
                      <a:extLst>
                        <a:ext uri="{9D8B030D-6E8A-4147-A177-3AD203B41FA5}">
                          <a16:colId xmlns:a16="http://schemas.microsoft.com/office/drawing/2014/main" xmlns="" val="804863445"/>
                        </a:ext>
                      </a:extLst>
                    </a:gridCol>
                  </a:tblGrid>
                  <a:tr h="20851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0</a:t>
                          </a:r>
                        </a:p>
                      </a:txBody>
                      <a:tcPr marL="0" marR="0" marT="0" marB="0">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6</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12</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18</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24</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30</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36</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42</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48</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54</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60</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66</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72</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78</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84</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a:solidFill>
                                <a:schemeClr val="tx1"/>
                              </a:solidFill>
                            </a:rPr>
                            <a:t>90</a:t>
                          </a:r>
                        </a:p>
                      </a:txBody>
                      <a:tcPr marL="0" marR="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rtl="0"/>
                          <a:r>
                            <a:rPr lang="ru" sz="800" b="0" dirty="0">
                              <a:solidFill>
                                <a:schemeClr val="tx1"/>
                              </a:solidFill>
                            </a:rPr>
                            <a:t>96</a:t>
                          </a:r>
                        </a:p>
                      </a:txBody>
                      <a:tcPr marL="0" marR="0" marT="0" marB="0">
                        <a:lnL w="63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346059508"/>
                      </a:ext>
                    </a:extLst>
                  </a:tr>
                </a:tbl>
              </a:graphicData>
            </a:graphic>
          </p:graphicFrame>
        </p:grpSp>
      </p:grpSp>
      <p:sp>
        <p:nvSpPr>
          <p:cNvPr id="122" name="TextBox 121">
            <a:extLst>
              <a:ext uri="{FF2B5EF4-FFF2-40B4-BE49-F238E27FC236}">
                <a16:creationId xmlns:a16="http://schemas.microsoft.com/office/drawing/2014/main" xmlns="" id="{CF733EF9-AF00-A143-0C38-336ACB61BB89}"/>
              </a:ext>
            </a:extLst>
          </p:cNvPr>
          <p:cNvSpPr txBox="1"/>
          <p:nvPr/>
        </p:nvSpPr>
        <p:spPr>
          <a:xfrm>
            <a:off x="302346" y="4312773"/>
            <a:ext cx="3053330" cy="225426"/>
          </a:xfrm>
          <a:prstGeom prst="rect">
            <a:avLst/>
          </a:prstGeom>
          <a:noFill/>
          <a:ln>
            <a:solidFill>
              <a:schemeClr val="bg1"/>
            </a:solidFill>
          </a:ln>
        </p:spPr>
        <p:txBody>
          <a:bodyPr wrap="none" rtlCol="0">
            <a:noAutofit/>
          </a:bodyPr>
          <a:lstStyle/>
          <a:p>
            <a:pPr algn="l">
              <a:lnSpc>
                <a:spcPct val="90000"/>
              </a:lnSpc>
              <a:spcAft>
                <a:spcPts val="600"/>
              </a:spcAft>
            </a:pPr>
            <a:r>
              <a:rPr lang="ru-RU" sz="700" dirty="0"/>
              <a:t>НМРЛ – </a:t>
            </a:r>
            <a:r>
              <a:rPr lang="ru-RU" sz="700" i="1" dirty="0" err="1"/>
              <a:t>немелкоклеточный</a:t>
            </a:r>
            <a:r>
              <a:rPr lang="ru-RU" sz="700" dirty="0"/>
              <a:t> рак легкого</a:t>
            </a:r>
            <a:endParaRPr lang="ru-RU" sz="700" dirty="0">
              <a:latin typeface="Arial"/>
            </a:endParaRPr>
          </a:p>
        </p:txBody>
      </p:sp>
    </p:spTree>
    <p:extLst>
      <p:ext uri="{BB962C8B-B14F-4D97-AF65-F5344CB8AC3E}">
        <p14:creationId xmlns:p14="http://schemas.microsoft.com/office/powerpoint/2010/main" val="35866270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CFFB9CE-C278-DB72-F3D3-ADFF31D8CB07}"/>
              </a:ext>
            </a:extLst>
          </p:cNvPr>
          <p:cNvSpPr>
            <a:spLocks noGrp="1"/>
          </p:cNvSpPr>
          <p:nvPr>
            <p:ph type="title"/>
          </p:nvPr>
        </p:nvSpPr>
        <p:spPr/>
        <p:txBody>
          <a:bodyPr/>
          <a:lstStyle/>
          <a:p>
            <a:r>
              <a:rPr lang="ru-RU" dirty="0"/>
              <a:t>Амплификация и </a:t>
            </a:r>
            <a:r>
              <a:rPr lang="ru-RU" dirty="0" err="1"/>
              <a:t>гиперэкспрессия</a:t>
            </a:r>
            <a:r>
              <a:rPr lang="ru-RU" dirty="0"/>
              <a:t> HER2 при НМРЛ</a:t>
            </a:r>
          </a:p>
        </p:txBody>
      </p:sp>
      <p:pic>
        <p:nvPicPr>
          <p:cNvPr id="6" name="Picture 3">
            <a:extLst>
              <a:ext uri="{FF2B5EF4-FFF2-40B4-BE49-F238E27FC236}">
                <a16:creationId xmlns:a16="http://schemas.microsoft.com/office/drawing/2014/main" xmlns="" id="{B2DD0D1C-F9D3-42DD-36DD-89F49922E18A}"/>
              </a:ext>
            </a:extLst>
          </p:cNvPr>
          <p:cNvPicPr>
            <a:picLocks noChangeAspect="1" noChangeArrowheads="1"/>
          </p:cNvPicPr>
          <p:nvPr/>
        </p:nvPicPr>
        <p:blipFill>
          <a:blip r:embed="rId3" cstate="print"/>
          <a:srcRect/>
          <a:stretch>
            <a:fillRect/>
          </a:stretch>
        </p:blipFill>
        <p:spPr bwMode="auto">
          <a:xfrm>
            <a:off x="5577312" y="929520"/>
            <a:ext cx="2621756" cy="1250156"/>
          </a:xfrm>
          <a:prstGeom prst="rect">
            <a:avLst/>
          </a:prstGeom>
          <a:noFill/>
          <a:ln w="9525">
            <a:noFill/>
            <a:miter lim="800000"/>
            <a:headEnd/>
            <a:tailEnd/>
          </a:ln>
        </p:spPr>
      </p:pic>
      <p:sp>
        <p:nvSpPr>
          <p:cNvPr id="7" name="Text Placeholder 7">
            <a:extLst>
              <a:ext uri="{FF2B5EF4-FFF2-40B4-BE49-F238E27FC236}">
                <a16:creationId xmlns:a16="http://schemas.microsoft.com/office/drawing/2014/main" xmlns="" id="{F5DEB524-4959-0114-9F77-196DBD802CCF}"/>
              </a:ext>
            </a:extLst>
          </p:cNvPr>
          <p:cNvSpPr txBox="1">
            <a:spLocks/>
          </p:cNvSpPr>
          <p:nvPr/>
        </p:nvSpPr>
        <p:spPr>
          <a:xfrm>
            <a:off x="109253" y="4417617"/>
            <a:ext cx="8142469" cy="668234"/>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ru" sz="500" baseline="30000" dirty="0"/>
              <a:t>a</a:t>
            </a:r>
            <a:r>
              <a:rPr lang="ru" sz="500" dirty="0"/>
              <a:t>Определение гиперэкспрессии различается в отдельных исследованиях</a:t>
            </a:r>
            <a:endParaRPr lang="ru" sz="500" baseline="30000" dirty="0"/>
          </a:p>
          <a:p>
            <a:pPr marL="0" indent="0">
              <a:lnSpc>
                <a:spcPct val="120000"/>
              </a:lnSpc>
              <a:buNone/>
            </a:pPr>
            <a:r>
              <a:rPr lang="ru" sz="500" b="1" dirty="0"/>
              <a:t>1.</a:t>
            </a:r>
            <a:r>
              <a:rPr lang="ru" sz="500" dirty="0"/>
              <a:t>Tsao AS, et al. </a:t>
            </a:r>
            <a:r>
              <a:rPr lang="ru" sz="500" i="1" dirty="0"/>
              <a:t>J Thorac Oncol</a:t>
            </a:r>
            <a:r>
              <a:rPr lang="ru" sz="500" dirty="0"/>
              <a:t>. 2016;11(5):613-638. </a:t>
            </a:r>
            <a:r>
              <a:rPr lang="ru" sz="500" b="1" dirty="0"/>
              <a:t>2. </a:t>
            </a:r>
            <a:r>
              <a:rPr lang="ru" sz="500" dirty="0"/>
              <a:t>Mazière’s J, et al. </a:t>
            </a:r>
            <a:r>
              <a:rPr lang="ru" sz="500" i="1" dirty="0"/>
              <a:t>J Clin Oncol</a:t>
            </a:r>
            <a:r>
              <a:rPr lang="ru" sz="500" dirty="0"/>
              <a:t>. 2013;31(16):1997-2003. </a:t>
            </a:r>
            <a:r>
              <a:rPr lang="ru" sz="500" b="1" dirty="0"/>
              <a:t>3. </a:t>
            </a:r>
            <a:r>
              <a:rPr lang="ru" sz="500" dirty="0"/>
              <a:t>Arcila ME, et al. </a:t>
            </a:r>
            <a:r>
              <a:rPr lang="ru" sz="500" i="1" dirty="0"/>
              <a:t>Clin Cancer Res</a:t>
            </a:r>
            <a:r>
              <a:rPr lang="ru" sz="500" dirty="0"/>
              <a:t>. 2012;18(18):4910-4918. </a:t>
            </a:r>
            <a:r>
              <a:rPr lang="ru" sz="500" b="1" dirty="0"/>
              <a:t>4.</a:t>
            </a:r>
            <a:r>
              <a:rPr lang="ru" sz="500" dirty="0"/>
              <a:t> Shigematsu H, et al. </a:t>
            </a:r>
            <a:r>
              <a:rPr lang="ru" sz="500" i="1" dirty="0"/>
              <a:t>Cancer Res</a:t>
            </a:r>
            <a:r>
              <a:rPr lang="ru" sz="500" dirty="0"/>
              <a:t>. 2005;65(5):1642-1646. </a:t>
            </a:r>
            <a:r>
              <a:rPr lang="ru" sz="500" b="1" dirty="0"/>
              <a:t>5.</a:t>
            </a:r>
            <a:r>
              <a:rPr lang="ru" sz="500" dirty="0"/>
              <a:t> Tomizawa K, et al. </a:t>
            </a:r>
            <a:r>
              <a:rPr lang="ru" sz="500" i="1" dirty="0"/>
              <a:t>Lung Cancer</a:t>
            </a:r>
            <a:r>
              <a:rPr lang="ru" sz="500" dirty="0"/>
              <a:t>. 2011;74(1):139-144. </a:t>
            </a:r>
            <a:r>
              <a:rPr lang="ru-RU" sz="500" dirty="0"/>
              <a:t> </a:t>
            </a:r>
            <a:r>
              <a:rPr lang="ru" sz="500" b="1" dirty="0"/>
              <a:t>6. </a:t>
            </a:r>
            <a:r>
              <a:rPr lang="ru" sz="500" dirty="0"/>
              <a:t>Buttitta F, et al.</a:t>
            </a:r>
            <a:r>
              <a:rPr lang="ru" sz="500" i="1" dirty="0"/>
              <a:t> Int J Cancer</a:t>
            </a:r>
            <a:r>
              <a:rPr lang="ru" sz="500" dirty="0"/>
              <a:t>. 2006;119(11):2586-2591. </a:t>
            </a:r>
            <a:r>
              <a:rPr lang="ru" sz="500" b="1" dirty="0"/>
              <a:t>7.</a:t>
            </a:r>
            <a:r>
              <a:rPr lang="ru" sz="500" dirty="0"/>
              <a:t> Pellegrini C, et al. </a:t>
            </a:r>
            <a:r>
              <a:rPr lang="ru" sz="500" i="1" dirty="0"/>
              <a:t>Clin Cancer Res</a:t>
            </a:r>
            <a:r>
              <a:rPr lang="ru" sz="500" dirty="0"/>
              <a:t>. 2003;9(10 Pt 1):3645-3652. </a:t>
            </a:r>
            <a:r>
              <a:rPr lang="ru" sz="500" b="1" dirty="0"/>
              <a:t>8. </a:t>
            </a:r>
            <a:r>
              <a:rPr lang="ru" sz="500" dirty="0"/>
              <a:t>Stephens P, et al. </a:t>
            </a:r>
            <a:r>
              <a:rPr lang="ru" sz="500" i="1" dirty="0"/>
              <a:t>Nature</a:t>
            </a:r>
            <a:r>
              <a:rPr lang="ru" sz="500" dirty="0"/>
              <a:t>. 2004;431(7008):525-526.</a:t>
            </a:r>
            <a:r>
              <a:rPr lang="ru" sz="500" b="1" dirty="0"/>
              <a:t> 9. </a:t>
            </a:r>
            <a:r>
              <a:rPr lang="ru" sz="500" dirty="0"/>
              <a:t>Heinmöller P, et al. </a:t>
            </a:r>
            <a:r>
              <a:rPr lang="ru" sz="500" i="1" dirty="0"/>
              <a:t>Clin Cancer Res</a:t>
            </a:r>
            <a:r>
              <a:rPr lang="ru" sz="500" dirty="0"/>
              <a:t>. 2003;9(14):5238-5243. </a:t>
            </a:r>
            <a:r>
              <a:rPr lang="ru" sz="500" b="1" dirty="0"/>
              <a:t>10.</a:t>
            </a:r>
            <a:r>
              <a:rPr lang="ru" sz="500" dirty="0"/>
              <a:t> Brabender J, et al. </a:t>
            </a:r>
            <a:r>
              <a:rPr lang="ru" sz="500" i="1" dirty="0"/>
              <a:t>Clin Cancer Res</a:t>
            </a:r>
            <a:r>
              <a:rPr lang="ru" sz="500" dirty="0"/>
              <a:t>. 2001;7(7):1850-1855. </a:t>
            </a:r>
            <a:r>
              <a:rPr lang="ru" sz="500" b="1" dirty="0"/>
              <a:t>11. </a:t>
            </a:r>
            <a:r>
              <a:rPr lang="ru" sz="500" dirty="0"/>
              <a:t>Li BT et al. </a:t>
            </a:r>
            <a:r>
              <a:rPr lang="ru" sz="500" i="1" dirty="0"/>
              <a:t>J Thorac Oncol</a:t>
            </a:r>
            <a:r>
              <a:rPr lang="ru" sz="500" dirty="0"/>
              <a:t>. 2016;11(3):414-419. </a:t>
            </a:r>
            <a:r>
              <a:rPr lang="ru" sz="500" b="1" dirty="0"/>
              <a:t>12. </a:t>
            </a:r>
            <a:r>
              <a:rPr lang="ru" sz="500" dirty="0"/>
              <a:t>Kim EK et al</a:t>
            </a:r>
            <a:r>
              <a:rPr lang="ru" sz="500" i="1" dirty="0"/>
              <a:t>. PLoS One</a:t>
            </a:r>
            <a:r>
              <a:rPr lang="ru" sz="500" dirty="0"/>
              <a:t>. 2017;12(2):e0171280. </a:t>
            </a:r>
            <a:r>
              <a:rPr lang="ru" sz="500" b="1" dirty="0"/>
              <a:t>13. </a:t>
            </a:r>
            <a:r>
              <a:rPr lang="ru" sz="500" dirty="0"/>
              <a:t>Ko YS, et al. </a:t>
            </a:r>
            <a:r>
              <a:rPr lang="ru" sz="500" i="1" dirty="0"/>
              <a:t>Int J Biol Markers. </a:t>
            </a:r>
            <a:r>
              <a:rPr lang="ru" sz="500" dirty="0"/>
              <a:t>2018 33(1):49-54. Mar N, et a, </a:t>
            </a:r>
            <a:r>
              <a:rPr lang="ru" sz="500" i="1" dirty="0"/>
              <a:t>Lung Cancer. </a:t>
            </a:r>
            <a:r>
              <a:rPr lang="ru" sz="500" dirty="0"/>
              <a:t>2015;87(3):220-225. </a:t>
            </a:r>
            <a:r>
              <a:rPr lang="ru" sz="500" b="1" dirty="0"/>
              <a:t>. </a:t>
            </a:r>
            <a:r>
              <a:rPr lang="ru" sz="500" dirty="0"/>
              <a:t>Kim EK, et al. </a:t>
            </a:r>
            <a:r>
              <a:rPr lang="ru" sz="500" i="1" dirty="0"/>
              <a:t>PLoS One. </a:t>
            </a:r>
            <a:r>
              <a:rPr lang="ru" sz="500" dirty="0"/>
              <a:t>2017;12(2):e0171280. Lazzari C, et al. </a:t>
            </a:r>
            <a:r>
              <a:rPr lang="ru" sz="500" i="1" dirty="0"/>
              <a:t>J Thorac Dis. </a:t>
            </a:r>
            <a:r>
              <a:rPr lang="ru" sz="500" dirty="0"/>
              <a:t>2020;12(5):2851-2858.</a:t>
            </a:r>
            <a:endParaRPr lang="en-US" sz="500" dirty="0"/>
          </a:p>
        </p:txBody>
      </p:sp>
      <p:sp>
        <p:nvSpPr>
          <p:cNvPr id="8" name="Text Placeholder 2">
            <a:extLst>
              <a:ext uri="{FF2B5EF4-FFF2-40B4-BE49-F238E27FC236}">
                <a16:creationId xmlns:a16="http://schemas.microsoft.com/office/drawing/2014/main" xmlns="" id="{0CC6E53A-E52A-A8D3-A255-1E48FD7A73B5}"/>
              </a:ext>
            </a:extLst>
          </p:cNvPr>
          <p:cNvSpPr txBox="1">
            <a:spLocks/>
          </p:cNvSpPr>
          <p:nvPr/>
        </p:nvSpPr>
        <p:spPr>
          <a:xfrm>
            <a:off x="237062" y="986307"/>
            <a:ext cx="4725311" cy="3210587"/>
          </a:xfrm>
          <a:prstGeom prst="rect">
            <a:avLst/>
          </a:prstGeom>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indent="-214313">
              <a:lnSpc>
                <a:spcPct val="95000"/>
              </a:lnSpc>
              <a:spcBef>
                <a:spcPts val="450"/>
              </a:spcBef>
              <a:spcAft>
                <a:spcPts val="450"/>
              </a:spcAft>
              <a:buClr>
                <a:schemeClr val="accent3">
                  <a:lumMod val="75000"/>
                </a:schemeClr>
              </a:buClr>
              <a:defRPr/>
            </a:pPr>
            <a:r>
              <a:rPr lang="ru-RU" sz="1350" spc="-38" dirty="0"/>
              <a:t>Б</a:t>
            </a:r>
            <a:r>
              <a:rPr lang="ru" sz="1350" spc="-38" dirty="0"/>
              <a:t>ыло показано, что амплификация и гиперэкспрессия HER2</a:t>
            </a:r>
            <a:r>
              <a:rPr lang="ru" sz="1350" i="1" spc="-38" dirty="0"/>
              <a:t> </a:t>
            </a:r>
            <a:r>
              <a:rPr lang="ru" sz="1350" spc="-38" dirty="0"/>
              <a:t>не исключают других драйверных изменений (таких как мутации </a:t>
            </a:r>
            <a:r>
              <a:rPr lang="en-US" sz="1350" spc="-38" dirty="0"/>
              <a:t>EGFR, KRAS </a:t>
            </a:r>
            <a:r>
              <a:rPr lang="ru-RU" sz="1350" spc="-38" dirty="0"/>
              <a:t>и др.</a:t>
            </a:r>
            <a:r>
              <a:rPr lang="en-US" sz="1350" spc="-38" dirty="0"/>
              <a:t>)</a:t>
            </a:r>
            <a:endParaRPr lang="ru" sz="1350" spc="-38" dirty="0"/>
          </a:p>
          <a:p>
            <a:pPr marL="214313" indent="-214313">
              <a:lnSpc>
                <a:spcPct val="95000"/>
              </a:lnSpc>
              <a:spcBef>
                <a:spcPts val="450"/>
              </a:spcBef>
              <a:spcAft>
                <a:spcPts val="450"/>
              </a:spcAft>
              <a:buClr>
                <a:schemeClr val="accent3">
                  <a:lumMod val="75000"/>
                </a:schemeClr>
              </a:buClr>
              <a:defRPr/>
            </a:pPr>
            <a:r>
              <a:rPr lang="ru-RU" sz="1350" dirty="0">
                <a:solidFill>
                  <a:srgbClr val="000000"/>
                </a:solidFill>
                <a:latin typeface="Arial"/>
              </a:rPr>
              <a:t>Гиперэкспрессия белка HER2 обнаруживается </a:t>
            </a:r>
            <a:br>
              <a:rPr lang="ru-RU" sz="1350" dirty="0">
                <a:solidFill>
                  <a:srgbClr val="000000"/>
                </a:solidFill>
                <a:latin typeface="Arial"/>
              </a:rPr>
            </a:br>
            <a:r>
              <a:rPr lang="ru-RU" sz="1350" dirty="0">
                <a:solidFill>
                  <a:srgbClr val="000000"/>
                </a:solidFill>
                <a:latin typeface="Arial"/>
              </a:rPr>
              <a:t>у 6–35% пациентов с НМРЛ, при этом ИГХ 3+ наблюдается лишь в 2–6 % случаев</a:t>
            </a:r>
          </a:p>
          <a:p>
            <a:pPr marL="214313" indent="-214313">
              <a:lnSpc>
                <a:spcPct val="95000"/>
              </a:lnSpc>
              <a:spcBef>
                <a:spcPts val="450"/>
              </a:spcBef>
              <a:spcAft>
                <a:spcPts val="450"/>
              </a:spcAft>
              <a:buClr>
                <a:schemeClr val="accent3">
                  <a:lumMod val="75000"/>
                </a:schemeClr>
              </a:buClr>
              <a:defRPr/>
            </a:pPr>
            <a:r>
              <a:rPr lang="ru-RU" sz="1350" dirty="0">
                <a:solidFill>
                  <a:srgbClr val="000000"/>
                </a:solidFill>
                <a:latin typeface="Arial"/>
              </a:rPr>
              <a:t>А</a:t>
            </a:r>
            <a:r>
              <a:rPr lang="ru" sz="1350" dirty="0">
                <a:solidFill>
                  <a:srgbClr val="000000"/>
                </a:solidFill>
                <a:latin typeface="Arial"/>
              </a:rPr>
              <a:t>мплификация гена </a:t>
            </a:r>
            <a:r>
              <a:rPr lang="ru" sz="1350" i="1" dirty="0">
                <a:solidFill>
                  <a:srgbClr val="000000"/>
                </a:solidFill>
                <a:latin typeface="Arial"/>
              </a:rPr>
              <a:t>HER2 </a:t>
            </a:r>
            <a:r>
              <a:rPr lang="ru" sz="1350" dirty="0">
                <a:solidFill>
                  <a:srgbClr val="000000"/>
                </a:solidFill>
                <a:latin typeface="Arial"/>
              </a:rPr>
              <a:t> может являться одним </a:t>
            </a:r>
            <a:br>
              <a:rPr lang="ru" sz="1350" dirty="0">
                <a:solidFill>
                  <a:srgbClr val="000000"/>
                </a:solidFill>
                <a:latin typeface="Arial"/>
              </a:rPr>
            </a:br>
            <a:r>
              <a:rPr lang="ru" sz="1350" dirty="0">
                <a:solidFill>
                  <a:srgbClr val="000000"/>
                </a:solidFill>
                <a:latin typeface="Arial"/>
              </a:rPr>
              <a:t>из механизмов приобретенной резистентности к ИТК EGFR, моноклональным антителам к EGFR и ингибиторам ALK</a:t>
            </a:r>
            <a:endParaRPr lang="ru" sz="1350" baseline="30000" dirty="0">
              <a:solidFill>
                <a:srgbClr val="000000"/>
              </a:solidFill>
              <a:latin typeface="Arial"/>
            </a:endParaRPr>
          </a:p>
          <a:p>
            <a:pPr marL="457189" lvl="1" indent="-228594" defTabSz="457189">
              <a:lnSpc>
                <a:spcPct val="100000"/>
              </a:lnSpc>
              <a:spcBef>
                <a:spcPts val="0"/>
              </a:spcBef>
              <a:buClr>
                <a:srgbClr val="68D2DF">
                  <a:lumMod val="75000"/>
                </a:srgbClr>
              </a:buClr>
              <a:buFont typeface="Arial" panose="020B0604020202020204" pitchFamily="34" charset="0"/>
              <a:buChar char="–"/>
              <a:defRPr/>
            </a:pPr>
            <a:r>
              <a:rPr lang="ru" sz="1200" dirty="0">
                <a:solidFill>
                  <a:srgbClr val="000000"/>
                </a:solidFill>
                <a:latin typeface="Arial"/>
              </a:rPr>
              <a:t>Амплификацией </a:t>
            </a:r>
            <a:r>
              <a:rPr lang="ru" sz="1200" i="1" dirty="0">
                <a:solidFill>
                  <a:srgbClr val="000000"/>
                </a:solidFill>
                <a:latin typeface="Arial"/>
              </a:rPr>
              <a:t>HER2</a:t>
            </a:r>
            <a:r>
              <a:rPr lang="ru" sz="1200" dirty="0">
                <a:solidFill>
                  <a:srgbClr val="000000"/>
                </a:solidFill>
                <a:latin typeface="Arial"/>
              </a:rPr>
              <a:t> был обусловлен механизм резистентности у 2% пациентов с мутацией </a:t>
            </a:r>
            <a:r>
              <a:rPr lang="ru" sz="1200" i="1" dirty="0">
                <a:solidFill>
                  <a:srgbClr val="000000"/>
                </a:solidFill>
                <a:latin typeface="Arial"/>
              </a:rPr>
              <a:t>EGFR</a:t>
            </a:r>
            <a:r>
              <a:rPr lang="ru" sz="1200" dirty="0">
                <a:solidFill>
                  <a:srgbClr val="000000"/>
                </a:solidFill>
                <a:latin typeface="Arial"/>
              </a:rPr>
              <a:t>, ранее получавших осимертиниб в рамках терапии первой линии</a:t>
            </a:r>
            <a:endParaRPr kumimoji="1" lang="en-US" sz="1200" dirty="0">
              <a:solidFill>
                <a:srgbClr val="000000"/>
              </a:solidFill>
              <a:latin typeface="Arial"/>
            </a:endParaRPr>
          </a:p>
          <a:p>
            <a:pPr marL="214313" indent="-214313">
              <a:lnSpc>
                <a:spcPct val="95000"/>
              </a:lnSpc>
              <a:spcBef>
                <a:spcPts val="0"/>
              </a:spcBef>
              <a:spcAft>
                <a:spcPts val="450"/>
              </a:spcAft>
              <a:buClr>
                <a:schemeClr val="accent3">
                  <a:lumMod val="75000"/>
                </a:schemeClr>
              </a:buClr>
              <a:defRPr/>
            </a:pPr>
            <a:endParaRPr lang="ru" sz="1350" dirty="0"/>
          </a:p>
        </p:txBody>
      </p:sp>
      <p:sp>
        <p:nvSpPr>
          <p:cNvPr id="9" name="Прямоугольник 8">
            <a:extLst>
              <a:ext uri="{FF2B5EF4-FFF2-40B4-BE49-F238E27FC236}">
                <a16:creationId xmlns:a16="http://schemas.microsoft.com/office/drawing/2014/main" xmlns="" id="{51E59B8E-1E27-EEDA-1D32-A9A95DD95CD9}"/>
              </a:ext>
            </a:extLst>
          </p:cNvPr>
          <p:cNvSpPr/>
          <p:nvPr/>
        </p:nvSpPr>
        <p:spPr>
          <a:xfrm>
            <a:off x="6139546" y="1320614"/>
            <a:ext cx="662464" cy="184666"/>
          </a:xfrm>
          <a:prstGeom prst="rect">
            <a:avLst/>
          </a:prstGeom>
          <a:noFill/>
        </p:spPr>
        <p:txBody>
          <a:bodyPr wrap="square" lIns="0" tIns="0" rIns="0" bIns="0" rtlCol="0">
            <a:spAutoFit/>
          </a:bodyPr>
          <a:lstStyle/>
          <a:p>
            <a:pPr defTabSz="685800">
              <a:buClr>
                <a:srgbClr val="0069B8"/>
              </a:buClr>
              <a:defRPr/>
            </a:pPr>
            <a:r>
              <a:rPr lang="ru" sz="600" b="1" dirty="0">
                <a:solidFill>
                  <a:srgbClr val="4E3E7A"/>
                </a:solidFill>
                <a:latin typeface="Arial"/>
              </a:rPr>
              <a:t>Амплификация гена </a:t>
            </a:r>
            <a:r>
              <a:rPr lang="ru" sz="600" b="1" i="1" dirty="0">
                <a:solidFill>
                  <a:srgbClr val="4E3E7A"/>
                </a:solidFill>
                <a:latin typeface="Arial"/>
              </a:rPr>
              <a:t>HER2</a:t>
            </a:r>
          </a:p>
        </p:txBody>
      </p:sp>
      <p:sp>
        <p:nvSpPr>
          <p:cNvPr id="10" name="Прямоугольник 9">
            <a:extLst>
              <a:ext uri="{FF2B5EF4-FFF2-40B4-BE49-F238E27FC236}">
                <a16:creationId xmlns:a16="http://schemas.microsoft.com/office/drawing/2014/main" xmlns="" id="{7B551098-349C-AA1F-EDE7-09411F56002B}"/>
              </a:ext>
            </a:extLst>
          </p:cNvPr>
          <p:cNvSpPr/>
          <p:nvPr/>
        </p:nvSpPr>
        <p:spPr>
          <a:xfrm>
            <a:off x="7010131" y="1301565"/>
            <a:ext cx="1140619" cy="92333"/>
          </a:xfrm>
          <a:prstGeom prst="rect">
            <a:avLst/>
          </a:prstGeom>
          <a:noFill/>
        </p:spPr>
        <p:txBody>
          <a:bodyPr wrap="square" lIns="0" tIns="0" rIns="0" bIns="0" rtlCol="0">
            <a:spAutoFit/>
          </a:bodyPr>
          <a:lstStyle/>
          <a:p>
            <a:pPr defTabSz="685800">
              <a:buClr>
                <a:srgbClr val="0069B8"/>
              </a:buClr>
              <a:defRPr/>
            </a:pPr>
            <a:r>
              <a:rPr lang="ru" sz="600" b="1" dirty="0">
                <a:solidFill>
                  <a:srgbClr val="4E3E7A"/>
                </a:solidFill>
                <a:latin typeface="Arial"/>
              </a:rPr>
              <a:t>Гиперэкспрессия белка </a:t>
            </a:r>
            <a:r>
              <a:rPr lang="ru" sz="600" b="1" i="1" dirty="0">
                <a:solidFill>
                  <a:srgbClr val="4E3E7A"/>
                </a:solidFill>
                <a:latin typeface="Arial"/>
              </a:rPr>
              <a:t>HER2</a:t>
            </a:r>
            <a:endParaRPr lang="ru-RU" sz="600" dirty="0">
              <a:solidFill>
                <a:srgbClr val="4E3E7A"/>
              </a:solidFill>
              <a:latin typeface="Arial"/>
            </a:endParaRPr>
          </a:p>
        </p:txBody>
      </p:sp>
      <p:sp>
        <p:nvSpPr>
          <p:cNvPr id="11" name="Прямоугольник 10">
            <a:extLst>
              <a:ext uri="{FF2B5EF4-FFF2-40B4-BE49-F238E27FC236}">
                <a16:creationId xmlns:a16="http://schemas.microsoft.com/office/drawing/2014/main" xmlns="" id="{75C9BF53-8A8C-1446-BE41-95A7F0469D7E}"/>
              </a:ext>
            </a:extLst>
          </p:cNvPr>
          <p:cNvSpPr/>
          <p:nvPr/>
        </p:nvSpPr>
        <p:spPr>
          <a:xfrm>
            <a:off x="7202536" y="2046420"/>
            <a:ext cx="662464" cy="92333"/>
          </a:xfrm>
          <a:prstGeom prst="rect">
            <a:avLst/>
          </a:prstGeom>
          <a:noFill/>
        </p:spPr>
        <p:txBody>
          <a:bodyPr wrap="square" lIns="0" tIns="0" rIns="0" bIns="0" rtlCol="0">
            <a:spAutoFit/>
          </a:bodyPr>
          <a:lstStyle/>
          <a:p>
            <a:pPr algn="ctr" defTabSz="685800">
              <a:buClr>
                <a:srgbClr val="0069B8"/>
              </a:buClr>
              <a:defRPr/>
            </a:pPr>
            <a:r>
              <a:rPr lang="ru" sz="600" b="1">
                <a:solidFill>
                  <a:srgbClr val="4E3E7A"/>
                </a:solidFill>
                <a:latin typeface="Arial"/>
              </a:rPr>
              <a:t>Анализ ИГХ</a:t>
            </a:r>
            <a:endParaRPr lang="ru-RU" sz="600" b="1" dirty="0">
              <a:solidFill>
                <a:srgbClr val="4E3E7A"/>
              </a:solidFill>
              <a:latin typeface="Arial"/>
            </a:endParaRPr>
          </a:p>
        </p:txBody>
      </p:sp>
      <p:sp>
        <p:nvSpPr>
          <p:cNvPr id="12" name="Прямоугольник 11">
            <a:extLst>
              <a:ext uri="{FF2B5EF4-FFF2-40B4-BE49-F238E27FC236}">
                <a16:creationId xmlns:a16="http://schemas.microsoft.com/office/drawing/2014/main" xmlns="" id="{69002A18-B685-F305-D61F-848F840AC816}"/>
              </a:ext>
            </a:extLst>
          </p:cNvPr>
          <p:cNvSpPr/>
          <p:nvPr/>
        </p:nvSpPr>
        <p:spPr>
          <a:xfrm>
            <a:off x="5876656" y="2050230"/>
            <a:ext cx="662464" cy="92333"/>
          </a:xfrm>
          <a:prstGeom prst="rect">
            <a:avLst/>
          </a:prstGeom>
          <a:noFill/>
        </p:spPr>
        <p:txBody>
          <a:bodyPr wrap="square" lIns="0" tIns="0" rIns="0" bIns="0" rtlCol="0">
            <a:spAutoFit/>
          </a:bodyPr>
          <a:lstStyle/>
          <a:p>
            <a:pPr algn="ctr" defTabSz="685800">
              <a:buClr>
                <a:srgbClr val="0069B8"/>
              </a:buClr>
              <a:defRPr/>
            </a:pPr>
            <a:r>
              <a:rPr lang="ru" sz="600" b="1">
                <a:solidFill>
                  <a:srgbClr val="4E3E7A"/>
                </a:solidFill>
                <a:latin typeface="Arial"/>
              </a:rPr>
              <a:t>Анализ FISH</a:t>
            </a:r>
            <a:endParaRPr lang="ru-RU" sz="600" b="1" dirty="0">
              <a:solidFill>
                <a:srgbClr val="4E3E7A"/>
              </a:solidFill>
              <a:latin typeface="Arial"/>
            </a:endParaRPr>
          </a:p>
        </p:txBody>
      </p:sp>
      <p:sp>
        <p:nvSpPr>
          <p:cNvPr id="13" name="Text Placeholder 2">
            <a:extLst>
              <a:ext uri="{FF2B5EF4-FFF2-40B4-BE49-F238E27FC236}">
                <a16:creationId xmlns:a16="http://schemas.microsoft.com/office/drawing/2014/main" xmlns="" id="{8F67C23D-4F8F-3C54-6B7E-56D987099EC0}"/>
              </a:ext>
            </a:extLst>
          </p:cNvPr>
          <p:cNvSpPr txBox="1">
            <a:spLocks/>
          </p:cNvSpPr>
          <p:nvPr/>
        </p:nvSpPr>
        <p:spPr>
          <a:xfrm>
            <a:off x="5455963" y="2325592"/>
            <a:ext cx="3326701" cy="2194789"/>
          </a:xfrm>
          <a:prstGeom prst="rect">
            <a:avLst/>
          </a:prstGeom>
        </p:spPr>
        <p:txBody>
          <a:bodyPr vert="horz" lIns="68580" tIns="34290" rIns="68580" bIns="3429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3">
                  <a:lumMod val="75000"/>
                </a:schemeClr>
              </a:buClr>
            </a:pPr>
            <a:r>
              <a:rPr lang="ru" sz="1050" dirty="0"/>
              <a:t>ИГХ и FISH представляют собой методы исследования опухолевой ткани при НМРЛ</a:t>
            </a:r>
            <a:endParaRPr lang="en-US" sz="1050" dirty="0"/>
          </a:p>
          <a:p>
            <a:pPr lvl="1">
              <a:buClr>
                <a:schemeClr val="accent3">
                  <a:lumMod val="75000"/>
                </a:schemeClr>
              </a:buClr>
            </a:pPr>
            <a:r>
              <a:rPr lang="ru" sz="900" dirty="0"/>
              <a:t>ИГХ позволяет определить количество     белка HER2 </a:t>
            </a:r>
          </a:p>
          <a:p>
            <a:pPr lvl="1">
              <a:buClr>
                <a:schemeClr val="accent3">
                  <a:lumMod val="75000"/>
                </a:schemeClr>
              </a:buClr>
            </a:pPr>
            <a:r>
              <a:rPr lang="ru" sz="900" dirty="0"/>
              <a:t>FISH позволяет определить количество </a:t>
            </a:r>
            <a:br>
              <a:rPr lang="ru" sz="900" dirty="0"/>
            </a:br>
            <a:r>
              <a:rPr lang="ru" sz="900" dirty="0"/>
              <a:t>копий гена </a:t>
            </a:r>
            <a:r>
              <a:rPr lang="ru" sz="900" i="1" dirty="0"/>
              <a:t>HER2</a:t>
            </a:r>
            <a:endParaRPr lang="en-US" sz="900" baseline="30000" dirty="0"/>
          </a:p>
          <a:p>
            <a:pPr marL="214313" indent="-214313">
              <a:lnSpc>
                <a:spcPct val="95000"/>
              </a:lnSpc>
              <a:spcBef>
                <a:spcPts val="450"/>
              </a:spcBef>
              <a:spcAft>
                <a:spcPts val="450"/>
              </a:spcAft>
              <a:buClr>
                <a:schemeClr val="accent3">
                  <a:lumMod val="75000"/>
                </a:schemeClr>
              </a:buClr>
              <a:defRPr/>
            </a:pPr>
            <a:r>
              <a:rPr lang="ru" sz="1050" dirty="0"/>
              <a:t>Для </a:t>
            </a:r>
            <a:r>
              <a:rPr lang="ru" sz="1050" i="1" dirty="0"/>
              <a:t>HER2</a:t>
            </a:r>
            <a:r>
              <a:rPr lang="ru" sz="1050" dirty="0"/>
              <a:t> наблюдается высокая конкордантность между ИГХ и </a:t>
            </a:r>
            <a:r>
              <a:rPr lang="en-US" sz="1050" dirty="0"/>
              <a:t>F</a:t>
            </a:r>
            <a:r>
              <a:rPr lang="ru" sz="1050" dirty="0"/>
              <a:t>ISH при низких баллах ИГХ. Однако при оценках ИГХ 2+ конкордантность с </a:t>
            </a:r>
            <a:r>
              <a:rPr lang="en-US" sz="1050" dirty="0"/>
              <a:t>F</a:t>
            </a:r>
            <a:r>
              <a:rPr lang="ru" sz="1050" dirty="0"/>
              <a:t>ISH была гораздо ниже</a:t>
            </a:r>
            <a:endParaRPr lang="ru" sz="1050" baseline="30000" dirty="0"/>
          </a:p>
          <a:p>
            <a:pPr lvl="1">
              <a:lnSpc>
                <a:spcPct val="95000"/>
              </a:lnSpc>
              <a:spcBef>
                <a:spcPts val="0"/>
              </a:spcBef>
              <a:spcAft>
                <a:spcPts val="450"/>
              </a:spcAft>
              <a:buClr>
                <a:schemeClr val="accent3">
                  <a:lumMod val="75000"/>
                </a:schemeClr>
              </a:buClr>
              <a:buFont typeface="Arial" panose="020B0604020202020204" pitchFamily="34" charset="0"/>
              <a:buChar char="–"/>
              <a:defRPr/>
            </a:pPr>
            <a:r>
              <a:rPr lang="ru" sz="900" dirty="0"/>
              <a:t>конкордантность 0,975 между ИГХ 0/1+ и </a:t>
            </a:r>
            <a:r>
              <a:rPr lang="en-US" sz="900" dirty="0"/>
              <a:t>F</a:t>
            </a:r>
            <a:r>
              <a:rPr lang="ru" sz="900" dirty="0"/>
              <a:t>ISH</a:t>
            </a:r>
          </a:p>
          <a:p>
            <a:pPr lvl="1">
              <a:lnSpc>
                <a:spcPct val="95000"/>
              </a:lnSpc>
              <a:spcBef>
                <a:spcPts val="0"/>
              </a:spcBef>
              <a:spcAft>
                <a:spcPts val="450"/>
              </a:spcAft>
              <a:buClr>
                <a:schemeClr val="accent3">
                  <a:lumMod val="75000"/>
                </a:schemeClr>
              </a:buClr>
              <a:buFont typeface="Arial" panose="020B0604020202020204" pitchFamily="34" charset="0"/>
              <a:buChar char="–"/>
              <a:defRPr/>
            </a:pPr>
            <a:r>
              <a:rPr lang="ru" sz="900" dirty="0"/>
              <a:t>конкордантность 0,091 между ИГХ 2+ и </a:t>
            </a:r>
            <a:r>
              <a:rPr lang="en-US" sz="900" dirty="0"/>
              <a:t>F</a:t>
            </a:r>
            <a:r>
              <a:rPr lang="ru" sz="900" dirty="0"/>
              <a:t>ISH</a:t>
            </a:r>
          </a:p>
          <a:p>
            <a:pPr lvl="1">
              <a:lnSpc>
                <a:spcPct val="95000"/>
              </a:lnSpc>
              <a:spcBef>
                <a:spcPts val="0"/>
              </a:spcBef>
              <a:spcAft>
                <a:spcPts val="450"/>
              </a:spcAft>
              <a:buClr>
                <a:schemeClr val="accent3">
                  <a:lumMod val="75000"/>
                </a:schemeClr>
              </a:buClr>
              <a:buFont typeface="Arial" panose="020B0604020202020204" pitchFamily="34" charset="0"/>
              <a:buChar char="–"/>
              <a:defRPr/>
            </a:pPr>
            <a:r>
              <a:rPr lang="ru" sz="900" dirty="0"/>
              <a:t>конкордантность 0,665 между ИГХ 3+ и </a:t>
            </a:r>
            <a:r>
              <a:rPr lang="en-US" sz="900" dirty="0"/>
              <a:t>F</a:t>
            </a:r>
            <a:r>
              <a:rPr lang="ru" sz="900" dirty="0"/>
              <a:t>ISH</a:t>
            </a:r>
          </a:p>
        </p:txBody>
      </p:sp>
      <p:sp>
        <p:nvSpPr>
          <p:cNvPr id="14" name="TextBox 13">
            <a:extLst>
              <a:ext uri="{FF2B5EF4-FFF2-40B4-BE49-F238E27FC236}">
                <a16:creationId xmlns:a16="http://schemas.microsoft.com/office/drawing/2014/main" xmlns="" id="{3CAE4F25-3B8B-4C9F-8FD5-841EE1B3DF80}"/>
              </a:ext>
            </a:extLst>
          </p:cNvPr>
          <p:cNvSpPr txBox="1"/>
          <p:nvPr/>
        </p:nvSpPr>
        <p:spPr>
          <a:xfrm>
            <a:off x="262462" y="4164345"/>
            <a:ext cx="3053330" cy="225426"/>
          </a:xfrm>
          <a:prstGeom prst="rect">
            <a:avLst/>
          </a:prstGeom>
          <a:noFill/>
          <a:ln>
            <a:solidFill>
              <a:schemeClr val="bg1"/>
            </a:solidFill>
          </a:ln>
        </p:spPr>
        <p:txBody>
          <a:bodyPr wrap="none" rtlCol="0">
            <a:noAutofit/>
          </a:bodyPr>
          <a:lstStyle/>
          <a:p>
            <a:pPr algn="l">
              <a:lnSpc>
                <a:spcPct val="90000"/>
              </a:lnSpc>
              <a:spcAft>
                <a:spcPts val="600"/>
              </a:spcAft>
            </a:pPr>
            <a:r>
              <a:rPr lang="ru-RU" sz="700" i="1" dirty="0"/>
              <a:t>НМРЛ – </a:t>
            </a:r>
            <a:r>
              <a:rPr lang="ru-RU" sz="700" i="1" dirty="0" err="1"/>
              <a:t>немелкоклеточный</a:t>
            </a:r>
            <a:r>
              <a:rPr lang="ru-RU" sz="700" i="1" dirty="0"/>
              <a:t> рак легкого</a:t>
            </a:r>
            <a:endParaRPr lang="ru-RU" sz="700" i="1" dirty="0">
              <a:latin typeface="Arial"/>
            </a:endParaRPr>
          </a:p>
        </p:txBody>
      </p:sp>
    </p:spTree>
    <p:extLst>
      <p:ext uri="{BB962C8B-B14F-4D97-AF65-F5344CB8AC3E}">
        <p14:creationId xmlns:p14="http://schemas.microsoft.com/office/powerpoint/2010/main" val="18473223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Эффект убийства свидетеля (</a:t>
            </a:r>
            <a:r>
              <a:rPr lang="en-US" dirty="0"/>
              <a:t>bystander killing effect)</a:t>
            </a:r>
            <a:endParaRPr lang="ru-RU" dirty="0"/>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0336" t="28633" r="33974" b="15242"/>
          <a:stretch/>
        </p:blipFill>
        <p:spPr bwMode="auto">
          <a:xfrm>
            <a:off x="640080" y="793085"/>
            <a:ext cx="7280910" cy="4127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66499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0172AA7B-11BB-4812-8753-123CB7EFAB8C}"/>
              </a:ext>
            </a:extLst>
          </p:cNvPr>
          <p:cNvSpPr>
            <a:spLocks noGrp="1"/>
          </p:cNvSpPr>
          <p:nvPr>
            <p:ph type="title"/>
          </p:nvPr>
        </p:nvSpPr>
        <p:spPr>
          <a:xfrm>
            <a:off x="352005" y="247517"/>
            <a:ext cx="8765651" cy="504000"/>
          </a:xfrm>
        </p:spPr>
        <p:txBody>
          <a:bodyPr/>
          <a:lstStyle/>
          <a:p>
            <a:r>
              <a:rPr lang="ru-RU" dirty="0"/>
              <a:t>Заключение: ключевая информация</a:t>
            </a:r>
            <a:endParaRPr lang="en-US" dirty="0"/>
          </a:p>
        </p:txBody>
      </p:sp>
      <p:sp>
        <p:nvSpPr>
          <p:cNvPr id="5" name="Rectangle 9">
            <a:extLst>
              <a:ext uri="{FF2B5EF4-FFF2-40B4-BE49-F238E27FC236}">
                <a16:creationId xmlns:a16="http://schemas.microsoft.com/office/drawing/2014/main" xmlns="" id="{7C7C7F66-0149-4914-BC66-84F71E17BE7F}"/>
              </a:ext>
            </a:extLst>
          </p:cNvPr>
          <p:cNvSpPr>
            <a:spLocks noChangeArrowheads="1"/>
          </p:cNvSpPr>
          <p:nvPr/>
        </p:nvSpPr>
        <p:spPr bwMode="auto">
          <a:xfrm>
            <a:off x="291620" y="900403"/>
            <a:ext cx="7905750" cy="2491479"/>
          </a:xfrm>
          <a:prstGeom prst="rect">
            <a:avLst/>
          </a:prstGeom>
          <a:noFill/>
          <a:ln w="9525" cap="flat">
            <a:noFill/>
            <a:round/>
            <a:headEnd/>
            <a:tailEnd/>
          </a:ln>
          <a:effectLst/>
        </p:spPr>
        <p:txBody>
          <a:bodyPr wrap="square" lIns="0" tIns="12600" rIns="0" bIns="0" rtlCol="0">
            <a:spAutoFit/>
          </a:bodyPr>
          <a:lstStyle/>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При проведении молекулярно-генетического тестирования пациентов с НМРЛ рекомендовано проводить дополнительное тестирование на определение мутации в гене </a:t>
            </a:r>
            <a:r>
              <a:rPr lang="en-US" sz="1350" dirty="0">
                <a:solidFill>
                  <a:srgbClr val="000000"/>
                </a:solidFill>
                <a:latin typeface="Arial"/>
              </a:rPr>
              <a:t>ERBB2 (HER2)</a:t>
            </a:r>
            <a:r>
              <a:rPr lang="ru-RU" sz="1350" dirty="0">
                <a:solidFill>
                  <a:srgbClr val="000000"/>
                </a:solidFill>
                <a:latin typeface="Arial"/>
              </a:rPr>
              <a:t> методом </a:t>
            </a:r>
            <a:r>
              <a:rPr lang="en-US" sz="1350" dirty="0">
                <a:solidFill>
                  <a:srgbClr val="000000"/>
                </a:solidFill>
                <a:latin typeface="Arial"/>
              </a:rPr>
              <a:t>NGS</a:t>
            </a:r>
            <a:r>
              <a:rPr lang="ru-RU" sz="1350" dirty="0">
                <a:solidFill>
                  <a:srgbClr val="000000"/>
                </a:solidFill>
                <a:latin typeface="Arial"/>
              </a:rPr>
              <a:t>, однако в настоящее время исследование не является обязательным и не определяется в рутинной практике;</a:t>
            </a:r>
            <a:endParaRPr lang="ru" sz="135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Тестирование рекомендуется проводить только у пациентов с подозрением на наличие метастазов или подтвержденными метастазами, поскольку результаты в этом случае могут повлиять на решение о лечении;</a:t>
            </a:r>
            <a:endParaRPr lang="en-US" sz="135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50" dirty="0">
                <a:solidFill>
                  <a:srgbClr val="000000"/>
                </a:solidFill>
                <a:latin typeface="Arial"/>
              </a:rPr>
              <a:t>Мутации в гене HER2 при НМРЛ ассоциированы с неблагоприятным прогнозом;</a:t>
            </a:r>
            <a:endParaRPr lang="ru" sz="135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Определение </a:t>
            </a:r>
            <a:r>
              <a:rPr lang="ru" sz="1350" i="1" dirty="0">
                <a:solidFill>
                  <a:srgbClr val="000000"/>
                </a:solidFill>
                <a:latin typeface="Arial"/>
              </a:rPr>
              <a:t>HER2</a:t>
            </a:r>
            <a:r>
              <a:rPr lang="ru" sz="1350" dirty="0">
                <a:solidFill>
                  <a:srgbClr val="000000"/>
                </a:solidFill>
                <a:latin typeface="Arial"/>
              </a:rPr>
              <a:t> мутации при НМРЛ проводится методом </a:t>
            </a:r>
            <a:r>
              <a:rPr lang="en-US" sz="1350" dirty="0">
                <a:solidFill>
                  <a:srgbClr val="000000"/>
                </a:solidFill>
                <a:latin typeface="Arial"/>
              </a:rPr>
              <a:t>NGS</a:t>
            </a:r>
            <a:r>
              <a:rPr lang="ru" sz="1350" dirty="0">
                <a:solidFill>
                  <a:srgbClr val="000000"/>
                </a:solidFill>
                <a:latin typeface="Arial"/>
              </a:rPr>
              <a:t>;</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50" dirty="0">
                <a:solidFill>
                  <a:srgbClr val="000000"/>
                </a:solidFill>
                <a:latin typeface="Arial"/>
              </a:rPr>
              <a:t>Необходимо принимать во внимание ожидаемую продолжительность жизни пациентов в связи со средним временем проведения тестирования методом </a:t>
            </a:r>
            <a:r>
              <a:rPr lang="en-US" sz="1350" dirty="0">
                <a:solidFill>
                  <a:srgbClr val="000000"/>
                </a:solidFill>
                <a:latin typeface="Arial"/>
              </a:rPr>
              <a:t>NGS 30 </a:t>
            </a:r>
            <a:r>
              <a:rPr lang="ru-RU" sz="1350" dirty="0">
                <a:solidFill>
                  <a:srgbClr val="000000"/>
                </a:solidFill>
                <a:latin typeface="Arial"/>
              </a:rPr>
              <a:t>дней;</a:t>
            </a:r>
            <a:endParaRPr lang="ru" sz="1350" dirty="0">
              <a:solidFill>
                <a:srgbClr val="000000"/>
              </a:solidFill>
              <a:latin typeface="Arial"/>
            </a:endParaRPr>
          </a:p>
        </p:txBody>
      </p:sp>
      <p:sp>
        <p:nvSpPr>
          <p:cNvPr id="6" name="TextBox 5">
            <a:extLst>
              <a:ext uri="{FF2B5EF4-FFF2-40B4-BE49-F238E27FC236}">
                <a16:creationId xmlns:a16="http://schemas.microsoft.com/office/drawing/2014/main" xmlns="" id="{3A8FCEDC-363B-44E8-9ADA-F28640797CC9}"/>
              </a:ext>
            </a:extLst>
          </p:cNvPr>
          <p:cNvSpPr txBox="1"/>
          <p:nvPr/>
        </p:nvSpPr>
        <p:spPr>
          <a:xfrm>
            <a:off x="88961" y="4234401"/>
            <a:ext cx="8168794" cy="225426"/>
          </a:xfrm>
          <a:prstGeom prst="rect">
            <a:avLst/>
          </a:prstGeom>
          <a:noFill/>
          <a:ln>
            <a:solidFill>
              <a:schemeClr val="bg1"/>
            </a:solidFill>
          </a:ln>
        </p:spPr>
        <p:txBody>
          <a:bodyPr wrap="none" rtlCol="0">
            <a:noAutofit/>
          </a:bodyPr>
          <a:lstStyle/>
          <a:p>
            <a:pPr algn="l">
              <a:lnSpc>
                <a:spcPct val="90000"/>
              </a:lnSpc>
              <a:spcAft>
                <a:spcPts val="600"/>
              </a:spcAft>
            </a:pPr>
            <a:r>
              <a:rPr lang="ru-RU" sz="700" i="1" dirty="0"/>
              <a:t>НМРЛ – </a:t>
            </a:r>
            <a:r>
              <a:rPr lang="ru-RU" sz="700" i="1" dirty="0" err="1"/>
              <a:t>немелкоклеточный</a:t>
            </a:r>
            <a:r>
              <a:rPr lang="ru-RU" sz="700" i="1" dirty="0"/>
              <a:t> рак легкого, </a:t>
            </a:r>
            <a:r>
              <a:rPr lang="en-US" sz="700" i="1" dirty="0"/>
              <a:t>NGS – Next Generation Sequencing – </a:t>
            </a:r>
            <a:r>
              <a:rPr lang="ru-RU" sz="700" i="1" dirty="0"/>
              <a:t>секвенирование нового поколения</a:t>
            </a:r>
          </a:p>
        </p:txBody>
      </p:sp>
      <p:sp>
        <p:nvSpPr>
          <p:cNvPr id="2" name="TextBox 1">
            <a:extLst>
              <a:ext uri="{FF2B5EF4-FFF2-40B4-BE49-F238E27FC236}">
                <a16:creationId xmlns:a16="http://schemas.microsoft.com/office/drawing/2014/main" xmlns="" id="{61E53069-2589-4838-A030-CFCDAC52AB1F}"/>
              </a:ext>
            </a:extLst>
          </p:cNvPr>
          <p:cNvSpPr txBox="1"/>
          <p:nvPr/>
        </p:nvSpPr>
        <p:spPr>
          <a:xfrm>
            <a:off x="88961" y="4512558"/>
            <a:ext cx="8168794" cy="461665"/>
          </a:xfrm>
          <a:prstGeom prst="rect">
            <a:avLst/>
          </a:prstGeom>
          <a:noFill/>
        </p:spPr>
        <p:txBody>
          <a:bodyPr wrap="square" rtlCol="0">
            <a:spAutoFit/>
          </a:bodyPr>
          <a:lstStyle/>
          <a:p>
            <a:r>
              <a:rPr lang="en-GB" sz="600" b="1" dirty="0"/>
              <a:t>1</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NCCN Guidelines Version 1.2023 Non-Small Cell Lung Cancer. © </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Национальная сеть многопрофильных онкологических учреждений США, Инк. </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hlinkClick r:id="rId3"/>
              </a:rPr>
              <a:t>https://www.nccn.org/guidelines/guidelines-detail?category=1&amp;id=1450</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a:t>
            </a:r>
            <a:r>
              <a:rPr kumimoji="0" lang="en-US"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дата </a:t>
            </a:r>
            <a:r>
              <a:rPr lang="ru-RU" sz="600" dirty="0">
                <a:solidFill>
                  <a:srgbClr val="000000"/>
                </a:solidFill>
              </a:rPr>
              <a:t>обращения</a:t>
            </a:r>
            <a:r>
              <a:rPr kumimoji="0" lang="ru-RU" sz="600" b="0" i="0" u="none" strike="noStrike" kern="1200" cap="none" spc="0" normalizeH="0" baseline="0" noProof="0" dirty="0">
                <a:ln>
                  <a:noFill/>
                </a:ln>
                <a:solidFill>
                  <a:srgbClr val="000000"/>
                </a:solidFill>
                <a:effectLst/>
                <a:uLnTx/>
                <a:uFillTx/>
                <a:ea typeface="Verdana" panose="020B0604030504040204" pitchFamily="34" charset="0"/>
                <a:cs typeface="Arial" panose="020B0604020202020204" pitchFamily="34" charset="0"/>
              </a:rPr>
              <a:t>: 07.02.23)</a:t>
            </a:r>
            <a:r>
              <a:rPr lang="ru" sz="600" dirty="0"/>
              <a:t>. </a:t>
            </a:r>
            <a:r>
              <a:rPr lang="ru" sz="600" b="1" dirty="0"/>
              <a:t>2. </a:t>
            </a:r>
            <a:r>
              <a:rPr lang="en-GB" sz="600" dirty="0"/>
              <a:t>L.E. Hendriks, et al. Annals of Oncology, 2023,https://doi.org/10.1016/j.annonc.2022.12.009.</a:t>
            </a:r>
            <a:r>
              <a:rPr lang="ru" sz="600" dirty="0"/>
              <a:t> </a:t>
            </a:r>
            <a:r>
              <a:rPr lang="ru" sz="600" b="1" dirty="0"/>
              <a:t>3. </a:t>
            </a:r>
            <a:r>
              <a:rPr lang="ru-RU" sz="600" dirty="0"/>
              <a:t>Клинические рекомендации АОР и </a:t>
            </a:r>
            <a:r>
              <a:rPr lang="en-GB" sz="600" dirty="0"/>
              <a:t>RUSSCO </a:t>
            </a:r>
            <a:r>
              <a:rPr lang="ru-RU" sz="600" dirty="0"/>
              <a:t>«Злокачественное новообразование бронхов и легкого» 2021</a:t>
            </a:r>
            <a:r>
              <a:rPr lang="en-GB" sz="600" dirty="0"/>
              <a:t> </a:t>
            </a:r>
            <a:r>
              <a:rPr lang="en-GB" sz="600" dirty="0">
                <a:hlinkClick r:id="rId4"/>
              </a:rPr>
              <a:t>https://oncology-association.ru/wp-content/uploads/2021/02/rak-legkogo-2021.pdf</a:t>
            </a:r>
            <a:r>
              <a:rPr lang="ru-RU" sz="600" dirty="0"/>
              <a:t> </a:t>
            </a:r>
            <a:r>
              <a:rPr lang="en-GB" sz="600" dirty="0"/>
              <a:t>(</a:t>
            </a:r>
            <a:r>
              <a:rPr lang="ru-RU" sz="600"/>
              <a:t>дата обращения </a:t>
            </a:r>
            <a:r>
              <a:rPr lang="ru-RU" sz="600" dirty="0"/>
              <a:t>07.02.23) </a:t>
            </a:r>
            <a:r>
              <a:rPr lang="ru-RU" sz="600" b="1" dirty="0"/>
              <a:t>4.</a:t>
            </a:r>
            <a:r>
              <a:rPr lang="ru-RU" sz="600" dirty="0"/>
              <a:t> Лактионов, К. К., Артамонова, Е. В., </a:t>
            </a:r>
            <a:r>
              <a:rPr lang="ru-RU" sz="600" dirty="0" err="1"/>
              <a:t>Бредер</a:t>
            </a:r>
            <a:r>
              <a:rPr lang="ru-RU" sz="600" dirty="0"/>
              <a:t>, В. В., Горбунова, В. А., Демидова, И. А., Деньгина, Н. В., ... &amp; Черных, М. В. (2022). Практические рекомендации по лекарственному лечению </a:t>
            </a:r>
            <a:r>
              <a:rPr lang="ru-RU" sz="600" dirty="0" err="1"/>
              <a:t>немелкоклеточного</a:t>
            </a:r>
            <a:r>
              <a:rPr lang="ru-RU" sz="600" dirty="0"/>
              <a:t> рака легкого. Злокачественные опухоли, 12(3s2-1), 41-59.</a:t>
            </a:r>
            <a:endParaRPr lang="en-GB" sz="600" dirty="0"/>
          </a:p>
        </p:txBody>
      </p:sp>
    </p:spTree>
    <p:extLst>
      <p:ext uri="{BB962C8B-B14F-4D97-AF65-F5344CB8AC3E}">
        <p14:creationId xmlns:p14="http://schemas.microsoft.com/office/powerpoint/2010/main" val="4209087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717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4959" t="36403" r="17450" b="10548"/>
          <a:stretch/>
        </p:blipFill>
        <p:spPr bwMode="auto">
          <a:xfrm>
            <a:off x="142874" y="80010"/>
            <a:ext cx="8669914" cy="5103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01047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16949" y="1955655"/>
            <a:ext cx="8765651" cy="504000"/>
          </a:xfrm>
        </p:spPr>
        <p:txBody>
          <a:bodyPr/>
          <a:lstStyle/>
          <a:p>
            <a:r>
              <a:rPr lang="ru-RU" dirty="0" smtClean="0"/>
              <a:t>Благодарю за внимание!</a:t>
            </a:r>
            <a:endParaRPr lang="ru-RU" dirty="0"/>
          </a:p>
        </p:txBody>
      </p:sp>
    </p:spTree>
    <p:extLst>
      <p:ext uri="{BB962C8B-B14F-4D97-AF65-F5344CB8AC3E}">
        <p14:creationId xmlns:p14="http://schemas.microsoft.com/office/powerpoint/2010/main" val="39772734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00926FC-F984-43A0-9E2E-092208B54583}"/>
              </a:ext>
            </a:extLst>
          </p:cNvPr>
          <p:cNvSpPr>
            <a:spLocks noGrp="1"/>
          </p:cNvSpPr>
          <p:nvPr>
            <p:ph type="title"/>
          </p:nvPr>
        </p:nvSpPr>
        <p:spPr/>
        <p:txBody>
          <a:bodyPr/>
          <a:lstStyle/>
          <a:p>
            <a:r>
              <a:rPr lang="ru-RU" sz="2200" dirty="0"/>
              <a:t>Ген </a:t>
            </a:r>
            <a:r>
              <a:rPr lang="en-US" sz="2200" dirty="0"/>
              <a:t>HER2</a:t>
            </a:r>
          </a:p>
        </p:txBody>
      </p:sp>
      <p:sp>
        <p:nvSpPr>
          <p:cNvPr id="3" name="object 25">
            <a:extLst>
              <a:ext uri="{FF2B5EF4-FFF2-40B4-BE49-F238E27FC236}">
                <a16:creationId xmlns:a16="http://schemas.microsoft.com/office/drawing/2014/main" xmlns="" id="{DEFCE343-DEC0-4556-9A46-87FCF501611F}"/>
              </a:ext>
            </a:extLst>
          </p:cNvPr>
          <p:cNvSpPr txBox="1"/>
          <p:nvPr/>
        </p:nvSpPr>
        <p:spPr>
          <a:xfrm>
            <a:off x="491902" y="1662267"/>
            <a:ext cx="4382248" cy="1220783"/>
          </a:xfrm>
          <a:prstGeom prst="rect">
            <a:avLst/>
          </a:prstGeom>
        </p:spPr>
        <p:txBody>
          <a:bodyPr vert="horz" wrap="square" lIns="0" tIns="12700" rIns="0" bIns="0" rtlCol="0">
            <a:spAutoFit/>
          </a:bodyPr>
          <a:lstStyle/>
          <a:p>
            <a:pPr marL="50165" marR="17780">
              <a:lnSpc>
                <a:spcPct val="150000"/>
              </a:lnSpc>
              <a:buClr>
                <a:srgbClr val="9CD3E3">
                  <a:lumMod val="75000"/>
                </a:srgbClr>
              </a:buClr>
              <a:tabLst>
                <a:tab pos="223520" algn="l"/>
              </a:tabLst>
              <a:defRPr/>
            </a:pPr>
            <a:r>
              <a:rPr lang="ru-RU" sz="1350" dirty="0">
                <a:solidFill>
                  <a:srgbClr val="000000"/>
                </a:solidFill>
                <a:latin typeface="Arial"/>
              </a:rPr>
              <a:t>Ген, кодирующий белок HER2 и известный как ген HER2, является </a:t>
            </a:r>
            <a:r>
              <a:rPr lang="ru-RU" sz="1350" dirty="0" err="1">
                <a:solidFill>
                  <a:srgbClr val="000000"/>
                </a:solidFill>
                <a:latin typeface="Arial"/>
              </a:rPr>
              <a:t>протоонкогеном</a:t>
            </a:r>
            <a:r>
              <a:rPr lang="ru-RU" sz="1350" dirty="0">
                <a:solidFill>
                  <a:srgbClr val="000000"/>
                </a:solidFill>
                <a:latin typeface="Arial"/>
              </a:rPr>
              <a:t>, поскольку может способствовать развитию рака (например,  увеличивать выживаемость раковых клеток)</a:t>
            </a:r>
            <a:r>
              <a:rPr lang="ru-RU" sz="1350" baseline="30000" dirty="0">
                <a:solidFill>
                  <a:srgbClr val="000000"/>
                </a:solidFill>
                <a:latin typeface="Arial"/>
              </a:rPr>
              <a:t>1,2</a:t>
            </a:r>
          </a:p>
        </p:txBody>
      </p:sp>
      <p:sp>
        <p:nvSpPr>
          <p:cNvPr id="5" name="Text Placeholder 23">
            <a:extLst>
              <a:ext uri="{FF2B5EF4-FFF2-40B4-BE49-F238E27FC236}">
                <a16:creationId xmlns:a16="http://schemas.microsoft.com/office/drawing/2014/main" xmlns="" id="{BE2477A4-1283-4E16-8813-9F85295B2691}"/>
              </a:ext>
            </a:extLst>
          </p:cNvPr>
          <p:cNvSpPr txBox="1">
            <a:spLocks/>
          </p:cNvSpPr>
          <p:nvPr/>
        </p:nvSpPr>
        <p:spPr>
          <a:xfrm>
            <a:off x="141888" y="4602320"/>
            <a:ext cx="8645283" cy="504000"/>
          </a:xfrm>
          <a:prstGeom prst="rect">
            <a:avLst/>
          </a:prstGeom>
        </p:spPr>
        <p:txBody>
          <a:bodyPr vert="horz" lIns="0" tIns="45720" rIns="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5080" indent="0" rtl="0">
              <a:lnSpc>
                <a:spcPct val="100000"/>
              </a:lnSpc>
              <a:spcBef>
                <a:spcPts val="100"/>
              </a:spcBef>
              <a:buNone/>
            </a:pPr>
            <a:r>
              <a:rPr lang="da-DK" sz="700" dirty="0"/>
              <a:t>1. Jebbink M, et al. Cancer Treat Rev. 2020;86:101996. doi:10.1016/j.ctrv.2020.101996 2. Rosenstock AS, et al. The MD Anderson Manual of Medical Oncology. 3rd ed. 2016</a:t>
            </a:r>
            <a:r>
              <a:rPr lang="ru-RU" sz="700" dirty="0"/>
              <a:t>  </a:t>
            </a:r>
            <a:r>
              <a:rPr lang="da-DK" sz="700" dirty="0">
                <a:hlinkClick r:id="rId3"/>
              </a:rPr>
              <a:t>https://accessmedicine.mhmedical.com/content.aspx?bookid=1772&amp;sectionid=121899622</a:t>
            </a:r>
            <a:r>
              <a:rPr lang="ru-RU" sz="700" dirty="0"/>
              <a:t> (дата обращения 22.03.2023)  3. </a:t>
            </a:r>
            <a:r>
              <a:rPr lang="en-US" sz="700" dirty="0" err="1"/>
              <a:t>Semir</a:t>
            </a:r>
            <a:r>
              <a:rPr lang="en-US" sz="700" dirty="0"/>
              <a:t> </a:t>
            </a:r>
            <a:r>
              <a:rPr lang="en-US" sz="700" dirty="0" err="1"/>
              <a:t>Vranec</a:t>
            </a:r>
            <a:r>
              <a:rPr lang="en-US" sz="700" dirty="0"/>
              <a:t>, 2012, </a:t>
            </a:r>
            <a:r>
              <a:rPr lang="ru-RU" sz="700" dirty="0"/>
              <a:t>электронный ресурс </a:t>
            </a:r>
            <a:r>
              <a:rPr lang="en-US" sz="700" u="sng" dirty="0">
                <a:solidFill>
                  <a:srgbClr val="FF0000"/>
                </a:solidFill>
                <a:effectLst/>
                <a:hlinkClick r:id="rId4"/>
              </a:rPr>
              <a:t>http://medlib.mef.hr/id/eprint/1636</a:t>
            </a:r>
            <a:r>
              <a:rPr lang="ru-RU" sz="700" dirty="0"/>
              <a:t> (дата обращения 23.03.2023</a:t>
            </a:r>
            <a:endParaRPr lang="da-DK" sz="700" dirty="0"/>
          </a:p>
        </p:txBody>
      </p:sp>
      <p:sp>
        <p:nvSpPr>
          <p:cNvPr id="7" name="object 15">
            <a:extLst>
              <a:ext uri="{FF2B5EF4-FFF2-40B4-BE49-F238E27FC236}">
                <a16:creationId xmlns:a16="http://schemas.microsoft.com/office/drawing/2014/main" xmlns="" id="{AE2415D7-ED77-4063-9308-EBFFBDB1EF6A}"/>
              </a:ext>
            </a:extLst>
          </p:cNvPr>
          <p:cNvSpPr txBox="1"/>
          <p:nvPr/>
        </p:nvSpPr>
        <p:spPr>
          <a:xfrm>
            <a:off x="5709300" y="166690"/>
            <a:ext cx="1815464" cy="299720"/>
          </a:xfrm>
          <a:prstGeom prst="rect">
            <a:avLst/>
          </a:prstGeom>
        </p:spPr>
        <p:txBody>
          <a:bodyPr vert="horz" wrap="square" lIns="0" tIns="12700" rIns="0" bIns="0" rtlCol="0">
            <a:spAutoFit/>
          </a:bodyPr>
          <a:lstStyle/>
          <a:p>
            <a:pPr marL="12700" algn="ctr" rtl="0">
              <a:lnSpc>
                <a:spcPct val="100000"/>
              </a:lnSpc>
              <a:spcBef>
                <a:spcPts val="100"/>
              </a:spcBef>
            </a:pPr>
            <a:r>
              <a:rPr lang="ru" sz="1800" b="1" dirty="0">
                <a:solidFill>
                  <a:srgbClr val="830051"/>
                </a:solidFill>
                <a:latin typeface="Arial" pitchFamily="34" charset="0"/>
                <a:cs typeface="Arial" pitchFamily="34" charset="0"/>
              </a:rPr>
              <a:t>Хромосома 17</a:t>
            </a:r>
            <a:endParaRPr sz="1800" dirty="0">
              <a:latin typeface="Arial" pitchFamily="34" charset="0"/>
              <a:cs typeface="Arial" pitchFamily="34" charset="0"/>
            </a:endParaRPr>
          </a:p>
        </p:txBody>
      </p:sp>
      <p:pic>
        <p:nvPicPr>
          <p:cNvPr id="8" name="Picture 7">
            <a:extLst>
              <a:ext uri="{FF2B5EF4-FFF2-40B4-BE49-F238E27FC236}">
                <a16:creationId xmlns:a16="http://schemas.microsoft.com/office/drawing/2014/main" xmlns="" id="{D8338655-9E00-0775-7836-F3C28C3FDA0B}"/>
              </a:ext>
            </a:extLst>
          </p:cNvPr>
          <p:cNvPicPr>
            <a:picLocks noChangeAspect="1"/>
          </p:cNvPicPr>
          <p:nvPr/>
        </p:nvPicPr>
        <p:blipFill>
          <a:blip r:embed="rId5"/>
          <a:stretch>
            <a:fillRect/>
          </a:stretch>
        </p:blipFill>
        <p:spPr>
          <a:xfrm>
            <a:off x="5846073" y="508819"/>
            <a:ext cx="2123964" cy="4125861"/>
          </a:xfrm>
          <a:prstGeom prst="rect">
            <a:avLst/>
          </a:prstGeom>
        </p:spPr>
      </p:pic>
    </p:spTree>
    <p:extLst>
      <p:ext uri="{BB962C8B-B14F-4D97-AF65-F5344CB8AC3E}">
        <p14:creationId xmlns:p14="http://schemas.microsoft.com/office/powerpoint/2010/main" val="334309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00926FC-F984-43A0-9E2E-092208B54583}"/>
              </a:ext>
            </a:extLst>
          </p:cNvPr>
          <p:cNvSpPr>
            <a:spLocks noGrp="1"/>
          </p:cNvSpPr>
          <p:nvPr>
            <p:ph type="title"/>
          </p:nvPr>
        </p:nvSpPr>
        <p:spPr/>
        <p:txBody>
          <a:bodyPr/>
          <a:lstStyle/>
          <a:p>
            <a:r>
              <a:rPr lang="ru" sz="2200" dirty="0"/>
              <a:t>Изменения HER2 </a:t>
            </a:r>
            <a:endParaRPr lang="en-US" sz="2200" dirty="0"/>
          </a:p>
        </p:txBody>
      </p:sp>
      <p:sp>
        <p:nvSpPr>
          <p:cNvPr id="3" name="object 25">
            <a:extLst>
              <a:ext uri="{FF2B5EF4-FFF2-40B4-BE49-F238E27FC236}">
                <a16:creationId xmlns:a16="http://schemas.microsoft.com/office/drawing/2014/main" xmlns="" id="{DEFCE343-DEC0-4556-9A46-87FCF501611F}"/>
              </a:ext>
            </a:extLst>
          </p:cNvPr>
          <p:cNvSpPr txBox="1"/>
          <p:nvPr/>
        </p:nvSpPr>
        <p:spPr>
          <a:xfrm>
            <a:off x="237064" y="940277"/>
            <a:ext cx="4921532" cy="3262945"/>
          </a:xfrm>
          <a:prstGeom prst="rect">
            <a:avLst/>
          </a:prstGeom>
        </p:spPr>
        <p:txBody>
          <a:bodyPr vert="horz" wrap="square" lIns="0" tIns="12700" rIns="0" bIns="0" rtlCol="0">
            <a:spAutoFit/>
          </a:bodyPr>
          <a:lstStyle/>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50" dirty="0">
                <a:solidFill>
                  <a:srgbClr val="000000"/>
                </a:solidFill>
                <a:latin typeface="Arial"/>
              </a:rPr>
              <a:t>Некоторые злокачественные клетки проявляют аномально высокую активность HER2, тем самым повышая свою способность к росту и выживанию.</a:t>
            </a:r>
            <a:r>
              <a:rPr lang="ru-RU" sz="1350" baseline="30000" dirty="0">
                <a:solidFill>
                  <a:srgbClr val="000000"/>
                </a:solidFill>
                <a:latin typeface="Arial"/>
              </a:rPr>
              <a:t>1-3</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50" dirty="0">
                <a:solidFill>
                  <a:srgbClr val="000000"/>
                </a:solidFill>
                <a:latin typeface="Arial"/>
              </a:rPr>
              <a:t>В последние десятилетия было одобрено несколько видов терапии, целенаправленно воздействующих на изменения HER2 при раке молочной железы и других видах рака, однако и сегодня продолжают изучать новые средства и показания к их применению.</a:t>
            </a:r>
            <a:r>
              <a:rPr lang="ru-RU" sz="1350" baseline="30000" dirty="0">
                <a:solidFill>
                  <a:srgbClr val="000000"/>
                </a:solidFill>
                <a:latin typeface="Arial"/>
              </a:rPr>
              <a:t>1,4-8</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50" dirty="0">
                <a:solidFill>
                  <a:srgbClr val="000000"/>
                </a:solidFill>
                <a:latin typeface="Arial"/>
              </a:rPr>
              <a:t>3 типа изменений HER2 в организме, которые могут способствовать росту и распространению некоторых видов рака:</a:t>
            </a:r>
            <a:r>
              <a:rPr lang="ru-RU" sz="1350" baseline="30000" dirty="0">
                <a:solidFill>
                  <a:srgbClr val="000000"/>
                </a:solidFill>
                <a:latin typeface="Arial"/>
              </a:rPr>
              <a:t>1,3,7,9</a:t>
            </a:r>
          </a:p>
          <a:p>
            <a:pPr marL="335915" marR="17780" indent="-285750">
              <a:lnSpc>
                <a:spcPct val="95000"/>
              </a:lnSpc>
              <a:spcBef>
                <a:spcPts val="105"/>
              </a:spcBef>
              <a:spcAft>
                <a:spcPts val="450"/>
              </a:spcAft>
              <a:buClr>
                <a:srgbClr val="9CD3E3">
                  <a:lumMod val="75000"/>
                </a:srgbClr>
              </a:buClr>
              <a:buFont typeface="Wingdings" panose="05000000000000000000" pitchFamily="2" charset="2"/>
              <a:buChar char="ü"/>
              <a:tabLst>
                <a:tab pos="223520" algn="l"/>
              </a:tabLst>
              <a:defRPr/>
            </a:pPr>
            <a:r>
              <a:rPr lang="ru-RU" sz="1350" dirty="0">
                <a:solidFill>
                  <a:srgbClr val="000000"/>
                </a:solidFill>
                <a:latin typeface="Arial"/>
              </a:rPr>
              <a:t>Гиперэкспрессия HER2 (белка);</a:t>
            </a:r>
          </a:p>
          <a:p>
            <a:pPr marL="335915" marR="17780" indent="-285750">
              <a:lnSpc>
                <a:spcPct val="95000"/>
              </a:lnSpc>
              <a:spcBef>
                <a:spcPts val="105"/>
              </a:spcBef>
              <a:spcAft>
                <a:spcPts val="450"/>
              </a:spcAft>
              <a:buClr>
                <a:srgbClr val="9CD3E3">
                  <a:lumMod val="75000"/>
                </a:srgbClr>
              </a:buClr>
              <a:buFont typeface="Wingdings" panose="05000000000000000000" pitchFamily="2" charset="2"/>
              <a:buChar char="ü"/>
              <a:tabLst>
                <a:tab pos="223520" algn="l"/>
              </a:tabLst>
              <a:defRPr/>
            </a:pPr>
            <a:r>
              <a:rPr lang="ru-RU" sz="1350" dirty="0">
                <a:solidFill>
                  <a:srgbClr val="000000"/>
                </a:solidFill>
                <a:latin typeface="Arial"/>
              </a:rPr>
              <a:t>Амплификация гена HER2;</a:t>
            </a:r>
          </a:p>
          <a:p>
            <a:pPr marL="335915" marR="17780" indent="-285750">
              <a:lnSpc>
                <a:spcPct val="95000"/>
              </a:lnSpc>
              <a:spcBef>
                <a:spcPts val="105"/>
              </a:spcBef>
              <a:spcAft>
                <a:spcPts val="450"/>
              </a:spcAft>
              <a:buClr>
                <a:srgbClr val="9CD3E3">
                  <a:lumMod val="75000"/>
                </a:srgbClr>
              </a:buClr>
              <a:buFont typeface="Wingdings" panose="05000000000000000000" pitchFamily="2" charset="2"/>
              <a:buChar char="ü"/>
              <a:tabLst>
                <a:tab pos="223520" algn="l"/>
              </a:tabLst>
              <a:defRPr/>
            </a:pPr>
            <a:r>
              <a:rPr lang="ru-RU" sz="1350" dirty="0">
                <a:solidFill>
                  <a:srgbClr val="000000"/>
                </a:solidFill>
                <a:latin typeface="Arial"/>
              </a:rPr>
              <a:t>Активирующие мутации гена HER2.</a:t>
            </a:r>
          </a:p>
        </p:txBody>
      </p:sp>
      <p:sp>
        <p:nvSpPr>
          <p:cNvPr id="5" name="Text Placeholder 23">
            <a:extLst>
              <a:ext uri="{FF2B5EF4-FFF2-40B4-BE49-F238E27FC236}">
                <a16:creationId xmlns:a16="http://schemas.microsoft.com/office/drawing/2014/main" xmlns="" id="{BE2477A4-1283-4E16-8813-9F85295B2691}"/>
              </a:ext>
            </a:extLst>
          </p:cNvPr>
          <p:cNvSpPr txBox="1">
            <a:spLocks/>
          </p:cNvSpPr>
          <p:nvPr/>
        </p:nvSpPr>
        <p:spPr>
          <a:xfrm>
            <a:off x="171470" y="4605511"/>
            <a:ext cx="8535802" cy="504000"/>
          </a:xfrm>
          <a:prstGeom prst="rect">
            <a:avLst/>
          </a:prstGeom>
        </p:spPr>
        <p:txBody>
          <a:bodyPr vert="horz" lIns="0" tIns="45720" rIns="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5080" indent="0" rtl="0">
              <a:lnSpc>
                <a:spcPct val="100000"/>
              </a:lnSpc>
              <a:spcBef>
                <a:spcPts val="100"/>
              </a:spcBef>
              <a:buNone/>
            </a:pPr>
            <a:r>
              <a:rPr lang="da-DK" sz="600" dirty="0"/>
              <a:t>1. Albagoush SA, et al. HER2.</a:t>
            </a:r>
            <a:r>
              <a:rPr lang="ru-RU" sz="600" dirty="0"/>
              <a:t> </a:t>
            </a:r>
            <a:r>
              <a:rPr lang="da-DK" sz="600" dirty="0">
                <a:hlinkClick r:id="rId2"/>
              </a:rPr>
              <a:t>https://www.ncbi.nlm.nih.gov/books/NBK537134/?report=printable</a:t>
            </a:r>
            <a:r>
              <a:rPr lang="ru-RU" sz="600" dirty="0"/>
              <a:t> (дата обращения 22.03.2023) </a:t>
            </a:r>
            <a:r>
              <a:rPr lang="da-DK" sz="600" dirty="0"/>
              <a:t> 2. Baraibar I, et al. Crit Rev Oncol Hematol. 2020;148:102906. doi: 10.1016/j.critrevonc.2020.102906 3. Abrahao-Machado LF, et al. World J Gastroenterol. 2016;22(19):4619-4625. 4. Gridhar K. HER-2positive breast cancer: What is it? </a:t>
            </a:r>
            <a:r>
              <a:rPr lang="en-US" sz="600" dirty="0">
                <a:hlinkClick r:id="rId3"/>
              </a:rPr>
              <a:t>https://www.mayoclinic.org/breast-cancer/expert-answers/faq-20058066</a:t>
            </a:r>
            <a:r>
              <a:rPr lang="ru-RU" sz="600" dirty="0"/>
              <a:t> (дата обращения 22.03.2023)</a:t>
            </a:r>
            <a:r>
              <a:rPr lang="da-DK" sz="600" dirty="0"/>
              <a:t>. </a:t>
            </a:r>
            <a:r>
              <a:rPr lang="ru-RU" sz="600" dirty="0"/>
              <a:t>5. </a:t>
            </a:r>
            <a:r>
              <a:rPr lang="da-DK" sz="600" dirty="0"/>
              <a:t>Bose R, et al. N Engl J Med. 2021;385(13):1241-1243. 6. Kunte S, et al. Cancer. 2020;126:4278-4288. 7. Jebbink M, et al. Cancer Treat Rev. 2020;86:101996. doi: 10.1016/j.ctrv.2020.101996 8. Duranti S, et al. Cancers. 2021;13(20):5198. doi: 10.3390/cancers13205198 9. Oh D-Y, et al. Nature. 2020;17:33-48.</a:t>
            </a:r>
          </a:p>
        </p:txBody>
      </p:sp>
      <p:pic>
        <p:nvPicPr>
          <p:cNvPr id="24" name="Picture 23">
            <a:extLst>
              <a:ext uri="{FF2B5EF4-FFF2-40B4-BE49-F238E27FC236}">
                <a16:creationId xmlns:a16="http://schemas.microsoft.com/office/drawing/2014/main" xmlns="" id="{F0DE13AC-7F10-4C63-912F-21EDCF77360D}"/>
              </a:ext>
            </a:extLst>
          </p:cNvPr>
          <p:cNvPicPr>
            <a:picLocks noChangeAspect="1"/>
          </p:cNvPicPr>
          <p:nvPr/>
        </p:nvPicPr>
        <p:blipFill>
          <a:blip r:embed="rId4"/>
          <a:stretch>
            <a:fillRect/>
          </a:stretch>
        </p:blipFill>
        <p:spPr>
          <a:xfrm>
            <a:off x="5439085" y="119775"/>
            <a:ext cx="3076781" cy="4485736"/>
          </a:xfrm>
          <a:prstGeom prst="rect">
            <a:avLst/>
          </a:prstGeom>
        </p:spPr>
      </p:pic>
    </p:spTree>
    <p:extLst>
      <p:ext uri="{BB962C8B-B14F-4D97-AF65-F5344CB8AC3E}">
        <p14:creationId xmlns:p14="http://schemas.microsoft.com/office/powerpoint/2010/main" val="1684271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0E9923-B0EC-4193-8AFA-E5325109966F}"/>
              </a:ext>
            </a:extLst>
          </p:cNvPr>
          <p:cNvSpPr>
            <a:spLocks noGrp="1"/>
          </p:cNvSpPr>
          <p:nvPr>
            <p:ph type="title"/>
          </p:nvPr>
        </p:nvSpPr>
        <p:spPr/>
        <p:txBody>
          <a:bodyPr/>
          <a:lstStyle/>
          <a:p>
            <a:r>
              <a:rPr lang="ru-RU" dirty="0"/>
              <a:t>Гиперэкспрессия белка </a:t>
            </a:r>
            <a:r>
              <a:rPr lang="en-US" dirty="0"/>
              <a:t>HER2</a:t>
            </a:r>
            <a:r>
              <a:rPr lang="ru-RU" dirty="0"/>
              <a:t/>
            </a:r>
            <a:br>
              <a:rPr lang="ru-RU" dirty="0"/>
            </a:br>
            <a:endParaRPr lang="en-US" dirty="0"/>
          </a:p>
        </p:txBody>
      </p:sp>
      <p:sp>
        <p:nvSpPr>
          <p:cNvPr id="4" name="object 22">
            <a:extLst>
              <a:ext uri="{FF2B5EF4-FFF2-40B4-BE49-F238E27FC236}">
                <a16:creationId xmlns:a16="http://schemas.microsoft.com/office/drawing/2014/main" xmlns="" id="{6EFC7FF1-5ED8-42BC-A5A1-793DB19181B1}"/>
              </a:ext>
            </a:extLst>
          </p:cNvPr>
          <p:cNvSpPr txBox="1"/>
          <p:nvPr/>
        </p:nvSpPr>
        <p:spPr>
          <a:xfrm>
            <a:off x="414929" y="969709"/>
            <a:ext cx="4657301" cy="3204082"/>
          </a:xfrm>
          <a:prstGeom prst="rect">
            <a:avLst/>
          </a:prstGeom>
        </p:spPr>
        <p:txBody>
          <a:bodyPr vert="horz" wrap="square" lIns="0" tIns="12700" rIns="0" bIns="0" rtlCol="0">
            <a:spAutoFit/>
          </a:bodyPr>
          <a:lstStyle/>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Под гиперэкспрессией HER2 понимают избыток белков HER2 на поверхности клетки, что приводит к онкогенной трансформации этих клеток</a:t>
            </a:r>
            <a:r>
              <a:rPr lang="ru" sz="1350" baseline="30000" dirty="0">
                <a:solidFill>
                  <a:srgbClr val="000000"/>
                </a:solidFill>
                <a:latin typeface="Arial"/>
              </a:rPr>
              <a:t>1,2</a:t>
            </a:r>
            <a:endParaRPr sz="1350" baseline="3000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Гиперэкспрессия сопряжена с усиленным ростом опухоли и метастазированием, тем самым усугубляя ее клиническую агрессивность</a:t>
            </a:r>
            <a:r>
              <a:rPr lang="ru" sz="1350" baseline="30000" dirty="0">
                <a:solidFill>
                  <a:srgbClr val="000000"/>
                </a:solidFill>
                <a:latin typeface="Arial"/>
              </a:rPr>
              <a:t>1-3</a:t>
            </a:r>
            <a:endParaRPr sz="1350" baseline="3000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HER2 экспрессируется на нормальных эпителиальных клетках в большинстве систем органов, включая следующие ткани/структуры: кожа, сердце, молочная железа, желудочно-кишечный тракт и дыхательные пути</a:t>
            </a:r>
            <a:r>
              <a:rPr lang="ru" sz="1350" baseline="30000" dirty="0">
                <a:solidFill>
                  <a:srgbClr val="000000"/>
                </a:solidFill>
                <a:latin typeface="Arial"/>
              </a:rPr>
              <a:t>3-5</a:t>
            </a:r>
            <a:endParaRPr sz="1350" baseline="30000" dirty="0">
              <a:solidFill>
                <a:srgbClr val="000000"/>
              </a:solidFill>
              <a:latin typeface="Arial"/>
            </a:endParaRP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 sz="1350" dirty="0">
                <a:solidFill>
                  <a:srgbClr val="000000"/>
                </a:solidFill>
                <a:latin typeface="Arial"/>
              </a:rPr>
              <a:t>Нормальные клетки экспрессируют на своей поверхности относительно небольшое количество белка HER2; гиперэкспрессия может приводить к повышению уровней HER2 в 40–100 раз</a:t>
            </a:r>
            <a:r>
              <a:rPr lang="ru" sz="1350" baseline="30000" dirty="0">
                <a:solidFill>
                  <a:srgbClr val="000000"/>
                </a:solidFill>
                <a:latin typeface="Arial"/>
              </a:rPr>
              <a:t>2,6</a:t>
            </a:r>
            <a:endParaRPr sz="1350" baseline="30000" dirty="0">
              <a:solidFill>
                <a:srgbClr val="000000"/>
              </a:solidFill>
              <a:latin typeface="Arial"/>
            </a:endParaRPr>
          </a:p>
        </p:txBody>
      </p:sp>
      <p:sp>
        <p:nvSpPr>
          <p:cNvPr id="5" name="Text Placeholder 23">
            <a:extLst>
              <a:ext uri="{FF2B5EF4-FFF2-40B4-BE49-F238E27FC236}">
                <a16:creationId xmlns:a16="http://schemas.microsoft.com/office/drawing/2014/main" xmlns="" id="{271D1F0A-2266-49B6-AD71-39C6B9D5201A}"/>
              </a:ext>
            </a:extLst>
          </p:cNvPr>
          <p:cNvSpPr txBox="1">
            <a:spLocks/>
          </p:cNvSpPr>
          <p:nvPr/>
        </p:nvSpPr>
        <p:spPr>
          <a:xfrm>
            <a:off x="171470" y="4679918"/>
            <a:ext cx="7886657" cy="343807"/>
          </a:xfrm>
          <a:prstGeom prst="rect">
            <a:avLst/>
          </a:prstGeom>
        </p:spPr>
        <p:txBody>
          <a:bodyPr vert="horz" lIns="0" tIns="45720" rIns="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5080" indent="0" rtl="0">
              <a:lnSpc>
                <a:spcPct val="100000"/>
              </a:lnSpc>
              <a:spcBef>
                <a:spcPts val="100"/>
              </a:spcBef>
              <a:buNone/>
            </a:pPr>
            <a:r>
              <a:rPr lang="da-DK" sz="600" dirty="0"/>
              <a:t>1. Pillai RN, et al. Cancer. 2017;123(21):4099-4105. 2. Gutierrez C, et al. Arch Pathol Lab Med. 2011;135:55-62. 3. Albagoush SA, et al. HER2. </a:t>
            </a:r>
            <a:r>
              <a:rPr lang="da-DK" sz="600" dirty="0">
                <a:hlinkClick r:id="rId2"/>
              </a:rPr>
              <a:t>https://www.ncbi.nlm.nih.gov/books/NBK537134/?report=printable</a:t>
            </a:r>
            <a:r>
              <a:rPr lang="ru-RU" sz="600" dirty="0"/>
              <a:t> (дата обращения 22.03.2023) </a:t>
            </a:r>
            <a:r>
              <a:rPr lang="da-DK" sz="600" dirty="0"/>
              <a:t>4. Rinnerthaler G, et al. Int J Mol Sci. 2019; 20:1115. doi:10.3390/ijms20051115 5. Plum PS, et al. BMC Cancer. 2019;19:38. 6. Rubin I, et al. Ann Oncol. 2001;12(Suppl1):S3-S8.</a:t>
            </a:r>
          </a:p>
        </p:txBody>
      </p:sp>
      <p:pic>
        <p:nvPicPr>
          <p:cNvPr id="6" name="object 32">
            <a:extLst>
              <a:ext uri="{FF2B5EF4-FFF2-40B4-BE49-F238E27FC236}">
                <a16:creationId xmlns:a16="http://schemas.microsoft.com/office/drawing/2014/main" xmlns="" id="{E820560C-64E5-459B-A17A-1AAEB00E2117}"/>
              </a:ext>
            </a:extLst>
          </p:cNvPr>
          <p:cNvPicPr/>
          <p:nvPr/>
        </p:nvPicPr>
        <p:blipFill>
          <a:blip r:embed="rId3" cstate="print"/>
          <a:stretch>
            <a:fillRect/>
          </a:stretch>
        </p:blipFill>
        <p:spPr>
          <a:xfrm>
            <a:off x="5469359" y="1556175"/>
            <a:ext cx="3453384" cy="1502664"/>
          </a:xfrm>
          <a:prstGeom prst="rect">
            <a:avLst/>
          </a:prstGeom>
        </p:spPr>
      </p:pic>
      <p:sp>
        <p:nvSpPr>
          <p:cNvPr id="7" name="object 33">
            <a:extLst>
              <a:ext uri="{FF2B5EF4-FFF2-40B4-BE49-F238E27FC236}">
                <a16:creationId xmlns:a16="http://schemas.microsoft.com/office/drawing/2014/main" xmlns="" id="{81EF595E-A52A-4AE9-970C-34FD1DBB753A}"/>
              </a:ext>
            </a:extLst>
          </p:cNvPr>
          <p:cNvSpPr txBox="1"/>
          <p:nvPr/>
        </p:nvSpPr>
        <p:spPr>
          <a:xfrm>
            <a:off x="5477742" y="880613"/>
            <a:ext cx="3408788" cy="659155"/>
          </a:xfrm>
          <a:prstGeom prst="rect">
            <a:avLst/>
          </a:prstGeom>
        </p:spPr>
        <p:txBody>
          <a:bodyPr vert="horz" wrap="square" lIns="0" tIns="12700" rIns="0" bIns="0" rtlCol="0">
            <a:spAutoFit/>
          </a:bodyPr>
          <a:lstStyle/>
          <a:p>
            <a:pPr marR="5080" algn="ctr" rtl="0">
              <a:lnSpc>
                <a:spcPct val="100000"/>
              </a:lnSpc>
              <a:spcBef>
                <a:spcPts val="100"/>
              </a:spcBef>
            </a:pPr>
            <a:r>
              <a:rPr lang="ru" sz="1400" b="1" dirty="0">
                <a:solidFill>
                  <a:srgbClr val="830051"/>
                </a:solidFill>
                <a:latin typeface="Arial" pitchFamily="34" charset="0"/>
                <a:cs typeface="Arial" pitchFamily="34" charset="0"/>
              </a:rPr>
              <a:t>Экспрессия HER2, выявляемая с помощью иммуногистохимического исследования</a:t>
            </a:r>
            <a:endParaRPr sz="1400" dirty="0">
              <a:latin typeface="Arial" pitchFamily="34" charset="0"/>
              <a:cs typeface="Arial" pitchFamily="34" charset="0"/>
            </a:endParaRPr>
          </a:p>
        </p:txBody>
      </p:sp>
      <p:sp>
        <p:nvSpPr>
          <p:cNvPr id="8" name="object 35">
            <a:extLst>
              <a:ext uri="{FF2B5EF4-FFF2-40B4-BE49-F238E27FC236}">
                <a16:creationId xmlns:a16="http://schemas.microsoft.com/office/drawing/2014/main" xmlns="" id="{DBE62F4B-D565-48EF-9334-B10B0FC6BD8C}"/>
              </a:ext>
            </a:extLst>
          </p:cNvPr>
          <p:cNvSpPr txBox="1"/>
          <p:nvPr/>
        </p:nvSpPr>
        <p:spPr>
          <a:xfrm>
            <a:off x="5472407" y="3058839"/>
            <a:ext cx="1722120" cy="472813"/>
          </a:xfrm>
          <a:prstGeom prst="rect">
            <a:avLst/>
          </a:prstGeom>
          <a:solidFill>
            <a:srgbClr val="D9D9D9"/>
          </a:solidFill>
        </p:spPr>
        <p:txBody>
          <a:bodyPr vert="horz" wrap="square" lIns="0" tIns="36000" rIns="0" bIns="36000" rtlCol="0">
            <a:spAutoFit/>
          </a:bodyPr>
          <a:lstStyle/>
          <a:p>
            <a:pPr algn="ctr" rtl="0">
              <a:lnSpc>
                <a:spcPct val="100000"/>
              </a:lnSpc>
              <a:spcBef>
                <a:spcPts val="330"/>
              </a:spcBef>
              <a:tabLst>
                <a:tab pos="2011045" algn="l"/>
              </a:tabLst>
            </a:pPr>
            <a:r>
              <a:rPr lang="ru" sz="1300" b="1" dirty="0">
                <a:solidFill>
                  <a:srgbClr val="003864"/>
                </a:solidFill>
                <a:latin typeface="Arial" pitchFamily="34" charset="0"/>
                <a:cs typeface="Arial" pitchFamily="34" charset="0"/>
              </a:rPr>
              <a:t>HER2-положительный</a:t>
            </a:r>
            <a:endParaRPr sz="1300" dirty="0">
              <a:latin typeface="Arial" pitchFamily="34" charset="0"/>
              <a:cs typeface="Arial" pitchFamily="34" charset="0"/>
            </a:endParaRPr>
          </a:p>
        </p:txBody>
      </p:sp>
      <p:sp>
        <p:nvSpPr>
          <p:cNvPr id="9" name="object 35">
            <a:extLst>
              <a:ext uri="{FF2B5EF4-FFF2-40B4-BE49-F238E27FC236}">
                <a16:creationId xmlns:a16="http://schemas.microsoft.com/office/drawing/2014/main" xmlns="" id="{DD8830DC-D6F7-486D-9BE8-15D9AF4E6FD2}"/>
              </a:ext>
            </a:extLst>
          </p:cNvPr>
          <p:cNvSpPr txBox="1"/>
          <p:nvPr/>
        </p:nvSpPr>
        <p:spPr>
          <a:xfrm>
            <a:off x="7194527" y="3058839"/>
            <a:ext cx="1727200" cy="472813"/>
          </a:xfrm>
          <a:prstGeom prst="rect">
            <a:avLst/>
          </a:prstGeom>
          <a:solidFill>
            <a:srgbClr val="D9D9D9"/>
          </a:solidFill>
        </p:spPr>
        <p:txBody>
          <a:bodyPr vert="horz" wrap="square" lIns="0" tIns="36000" rIns="0" bIns="36000" rtlCol="0">
            <a:spAutoFit/>
          </a:bodyPr>
          <a:lstStyle/>
          <a:p>
            <a:pPr algn="ctr" rtl="0">
              <a:lnSpc>
                <a:spcPct val="100000"/>
              </a:lnSpc>
              <a:spcBef>
                <a:spcPts val="330"/>
              </a:spcBef>
              <a:tabLst>
                <a:tab pos="2011045" algn="l"/>
              </a:tabLst>
            </a:pPr>
            <a:r>
              <a:rPr lang="ru" sz="1300" b="1" dirty="0">
                <a:solidFill>
                  <a:srgbClr val="003864"/>
                </a:solidFill>
                <a:latin typeface="Arial" pitchFamily="34" charset="0"/>
                <a:cs typeface="Arial" pitchFamily="34" charset="0"/>
              </a:rPr>
              <a:t>HER2-отрицательный</a:t>
            </a:r>
            <a:endParaRPr sz="1300" dirty="0">
              <a:latin typeface="Arial" pitchFamily="34" charset="0"/>
              <a:cs typeface="Arial" pitchFamily="34" charset="0"/>
            </a:endParaRPr>
          </a:p>
        </p:txBody>
      </p:sp>
    </p:spTree>
    <p:extLst>
      <p:ext uri="{BB962C8B-B14F-4D97-AF65-F5344CB8AC3E}">
        <p14:creationId xmlns:p14="http://schemas.microsoft.com/office/powerpoint/2010/main" val="29915062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80E9923-B0EC-4193-8AFA-E5325109966F}"/>
              </a:ext>
            </a:extLst>
          </p:cNvPr>
          <p:cNvSpPr>
            <a:spLocks noGrp="1"/>
          </p:cNvSpPr>
          <p:nvPr>
            <p:ph type="title"/>
          </p:nvPr>
        </p:nvSpPr>
        <p:spPr>
          <a:xfrm>
            <a:off x="237062" y="100868"/>
            <a:ext cx="8765651" cy="504000"/>
          </a:xfrm>
        </p:spPr>
        <p:txBody>
          <a:bodyPr/>
          <a:lstStyle/>
          <a:p>
            <a:r>
              <a:rPr lang="ru-RU" dirty="0"/>
              <a:t>Амплификация гена </a:t>
            </a:r>
            <a:r>
              <a:rPr lang="en-US" dirty="0"/>
              <a:t>HER2</a:t>
            </a:r>
            <a:r>
              <a:rPr lang="ru-RU" dirty="0"/>
              <a:t/>
            </a:r>
            <a:br>
              <a:rPr lang="ru-RU" dirty="0"/>
            </a:br>
            <a:endParaRPr lang="en-US" dirty="0"/>
          </a:p>
        </p:txBody>
      </p:sp>
      <p:sp>
        <p:nvSpPr>
          <p:cNvPr id="4" name="object 22">
            <a:extLst>
              <a:ext uri="{FF2B5EF4-FFF2-40B4-BE49-F238E27FC236}">
                <a16:creationId xmlns:a16="http://schemas.microsoft.com/office/drawing/2014/main" xmlns="" id="{6EFC7FF1-5ED8-42BC-A5A1-793DB19181B1}"/>
              </a:ext>
            </a:extLst>
          </p:cNvPr>
          <p:cNvSpPr txBox="1"/>
          <p:nvPr/>
        </p:nvSpPr>
        <p:spPr>
          <a:xfrm>
            <a:off x="294916" y="793751"/>
            <a:ext cx="4580383" cy="3474541"/>
          </a:xfrm>
          <a:prstGeom prst="rect">
            <a:avLst/>
          </a:prstGeom>
        </p:spPr>
        <p:txBody>
          <a:bodyPr vert="horz" wrap="square" lIns="0" tIns="12700" rIns="0" bIns="0" rtlCol="0">
            <a:spAutoFit/>
          </a:bodyPr>
          <a:lstStyle/>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00" dirty="0">
                <a:solidFill>
                  <a:srgbClr val="000000"/>
                </a:solidFill>
                <a:latin typeface="Arial"/>
              </a:rPr>
              <a:t>Феномен, при котором в геноме клетки появляются дополнительные копии гена HER2; это обычно приводит к </a:t>
            </a:r>
            <a:r>
              <a:rPr lang="ru-RU" sz="1300" dirty="0" err="1">
                <a:solidFill>
                  <a:srgbClr val="000000"/>
                </a:solidFill>
                <a:latin typeface="Arial"/>
              </a:rPr>
              <a:t>гиперэкспрессии</a:t>
            </a:r>
            <a:r>
              <a:rPr lang="ru-RU" sz="1300" dirty="0">
                <a:solidFill>
                  <a:srgbClr val="000000"/>
                </a:solidFill>
                <a:latin typeface="Arial"/>
              </a:rPr>
              <a:t> HER2 </a:t>
            </a:r>
            <a:r>
              <a:rPr lang="ru-RU" sz="1300" baseline="30000" dirty="0">
                <a:solidFill>
                  <a:srgbClr val="000000"/>
                </a:solidFill>
                <a:latin typeface="Arial"/>
              </a:rPr>
              <a:t>1,2</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00" dirty="0">
                <a:solidFill>
                  <a:srgbClr val="000000"/>
                </a:solidFill>
                <a:latin typeface="Arial"/>
              </a:rPr>
              <a:t>Наличие амплификации HER2 можно определить с помощью ISH</a:t>
            </a:r>
            <a:r>
              <a:rPr lang="en-US" sz="1300" dirty="0">
                <a:solidFill>
                  <a:srgbClr val="000000"/>
                </a:solidFill>
                <a:latin typeface="Arial"/>
              </a:rPr>
              <a:t> </a:t>
            </a:r>
            <a:r>
              <a:rPr lang="ru-RU" sz="1300" dirty="0">
                <a:solidFill>
                  <a:srgbClr val="000000"/>
                </a:solidFill>
                <a:latin typeface="Arial"/>
              </a:rPr>
              <a:t>(</a:t>
            </a:r>
            <a:r>
              <a:rPr lang="en-US" sz="1300" dirty="0">
                <a:solidFill>
                  <a:srgbClr val="000000"/>
                </a:solidFill>
                <a:latin typeface="Arial"/>
              </a:rPr>
              <a:t>in situ hybridization) – </a:t>
            </a:r>
            <a:r>
              <a:rPr lang="ru-RU" sz="1300" dirty="0">
                <a:solidFill>
                  <a:srgbClr val="000000"/>
                </a:solidFill>
                <a:latin typeface="Arial"/>
              </a:rPr>
              <a:t>метода</a:t>
            </a:r>
            <a:r>
              <a:rPr lang="en-US" sz="1300" dirty="0">
                <a:solidFill>
                  <a:srgbClr val="000000"/>
                </a:solidFill>
                <a:latin typeface="Arial"/>
              </a:rPr>
              <a:t>,</a:t>
            </a:r>
            <a:r>
              <a:rPr lang="ru-RU" sz="1300" dirty="0">
                <a:solidFill>
                  <a:srgbClr val="000000"/>
                </a:solidFill>
                <a:latin typeface="Arial"/>
              </a:rPr>
              <a:t> который позволяет идентифицировать определенные сегменты ДНК (например, гены) в образце, или с помощью NGS </a:t>
            </a:r>
            <a:r>
              <a:rPr lang="en-US" sz="1300" dirty="0">
                <a:solidFill>
                  <a:srgbClr val="000000"/>
                </a:solidFill>
                <a:latin typeface="Arial"/>
              </a:rPr>
              <a:t>(</a:t>
            </a:r>
            <a:r>
              <a:rPr lang="ru-RU" sz="1300" dirty="0">
                <a:solidFill>
                  <a:srgbClr val="000000"/>
                </a:solidFill>
                <a:latin typeface="Arial"/>
              </a:rPr>
              <a:t>секвенирования следующего поколения), которое позволяет выявить наличие искомых генов путем определения нуклеотидных последовательностей в геноме человека</a:t>
            </a:r>
            <a:r>
              <a:rPr lang="ru-RU" sz="1300" baseline="30000" dirty="0">
                <a:solidFill>
                  <a:srgbClr val="000000"/>
                </a:solidFill>
                <a:latin typeface="Arial"/>
              </a:rPr>
              <a:t>3-6</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00" dirty="0">
                <a:solidFill>
                  <a:srgbClr val="000000"/>
                </a:solidFill>
                <a:latin typeface="Arial"/>
              </a:rPr>
              <a:t>Флуоресцентная гибридизация in </a:t>
            </a:r>
            <a:r>
              <a:rPr lang="ru-RU" sz="1300" dirty="0" err="1">
                <a:solidFill>
                  <a:srgbClr val="000000"/>
                </a:solidFill>
                <a:latin typeface="Arial"/>
              </a:rPr>
              <a:t>situ</a:t>
            </a:r>
            <a:r>
              <a:rPr lang="ru-RU" sz="1300" dirty="0">
                <a:solidFill>
                  <a:srgbClr val="000000"/>
                </a:solidFill>
                <a:latin typeface="Arial"/>
              </a:rPr>
              <a:t> (FISH) является широко используемым методом ISH</a:t>
            </a:r>
            <a:r>
              <a:rPr lang="ru-RU" sz="1300" baseline="30000" dirty="0">
                <a:solidFill>
                  <a:srgbClr val="000000"/>
                </a:solidFill>
                <a:latin typeface="Arial"/>
              </a:rPr>
              <a:t>3</a:t>
            </a:r>
          </a:p>
          <a:p>
            <a:pPr marL="222885" marR="17780" indent="-172720">
              <a:lnSpc>
                <a:spcPct val="95000"/>
              </a:lnSpc>
              <a:spcBef>
                <a:spcPts val="105"/>
              </a:spcBef>
              <a:spcAft>
                <a:spcPts val="450"/>
              </a:spcAft>
              <a:buClr>
                <a:srgbClr val="9CD3E3">
                  <a:lumMod val="75000"/>
                </a:srgbClr>
              </a:buClr>
              <a:buFont typeface="Arial" panose="020B0604020202020204" pitchFamily="34" charset="0"/>
              <a:buChar char="•"/>
              <a:tabLst>
                <a:tab pos="223520" algn="l"/>
              </a:tabLst>
              <a:defRPr/>
            </a:pPr>
            <a:r>
              <a:rPr lang="ru-RU" sz="1300" dirty="0">
                <a:solidFill>
                  <a:srgbClr val="000000"/>
                </a:solidFill>
                <a:latin typeface="Arial"/>
              </a:rPr>
              <a:t>ISH часто используется в качестве второго метода исследования, если результаты ИГХ </a:t>
            </a:r>
            <a:r>
              <a:rPr lang="en-US" sz="1300" dirty="0">
                <a:solidFill>
                  <a:srgbClr val="000000"/>
                </a:solidFill>
                <a:latin typeface="Arial"/>
              </a:rPr>
              <a:t>(</a:t>
            </a:r>
            <a:r>
              <a:rPr lang="ru-RU" sz="1300" dirty="0">
                <a:solidFill>
                  <a:srgbClr val="000000"/>
                </a:solidFill>
                <a:latin typeface="Arial"/>
              </a:rPr>
              <a:t>иммуногистохимического исследования)</a:t>
            </a:r>
            <a:r>
              <a:rPr lang="en-US" sz="1300" dirty="0">
                <a:solidFill>
                  <a:srgbClr val="000000"/>
                </a:solidFill>
                <a:latin typeface="Arial"/>
              </a:rPr>
              <a:t> </a:t>
            </a:r>
            <a:r>
              <a:rPr lang="ru-RU" sz="1300" dirty="0">
                <a:solidFill>
                  <a:srgbClr val="000000"/>
                </a:solidFill>
                <a:latin typeface="Arial"/>
              </a:rPr>
              <a:t>оказываются неоднозначными</a:t>
            </a:r>
            <a:r>
              <a:rPr lang="ru-RU" sz="1300" baseline="30000" dirty="0">
                <a:solidFill>
                  <a:srgbClr val="000000"/>
                </a:solidFill>
                <a:latin typeface="Arial"/>
              </a:rPr>
              <a:t>7</a:t>
            </a:r>
          </a:p>
        </p:txBody>
      </p:sp>
      <p:sp>
        <p:nvSpPr>
          <p:cNvPr id="5" name="Text Placeholder 23">
            <a:extLst>
              <a:ext uri="{FF2B5EF4-FFF2-40B4-BE49-F238E27FC236}">
                <a16:creationId xmlns:a16="http://schemas.microsoft.com/office/drawing/2014/main" xmlns="" id="{271D1F0A-2266-49B6-AD71-39C6B9D5201A}"/>
              </a:ext>
            </a:extLst>
          </p:cNvPr>
          <p:cNvSpPr txBox="1">
            <a:spLocks/>
          </p:cNvSpPr>
          <p:nvPr/>
        </p:nvSpPr>
        <p:spPr>
          <a:xfrm>
            <a:off x="171470" y="4457176"/>
            <a:ext cx="7886657" cy="566550"/>
          </a:xfrm>
          <a:prstGeom prst="rect">
            <a:avLst/>
          </a:prstGeom>
        </p:spPr>
        <p:txBody>
          <a:bodyPr vert="horz" lIns="0" tIns="45720" rIns="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5080" indent="0" rtl="0">
              <a:lnSpc>
                <a:spcPct val="100000"/>
              </a:lnSpc>
              <a:spcBef>
                <a:spcPts val="100"/>
              </a:spcBef>
              <a:buNone/>
            </a:pPr>
            <a:r>
              <a:rPr lang="da-DK" sz="600" dirty="0"/>
              <a:t>1. Bose R, et al. N Engl J Med. 2021;385(13):1241-1243. 2. Albagoush SA, et al. HER2. </a:t>
            </a:r>
            <a:r>
              <a:rPr lang="da-DK" sz="600" dirty="0">
                <a:hlinkClick r:id="rId2"/>
              </a:rPr>
              <a:t>https://www.ncbi.nlm.nih.gov/books/NBK537134/?report=printable</a:t>
            </a:r>
            <a:r>
              <a:rPr lang="ru-RU" sz="600" dirty="0"/>
              <a:t> (дата обращения 22.03.2023) </a:t>
            </a:r>
            <a:r>
              <a:rPr lang="da-DK" sz="600" dirty="0"/>
              <a:t>3. Furrer D, et al. Am J Clin Pathol. 2015;144(5):686-703. 4. National Institutes of Health. In situ hybridization (ISH). </a:t>
            </a:r>
            <a:r>
              <a:rPr lang="da-DK" sz="600" dirty="0">
                <a:hlinkClick r:id="rId3"/>
              </a:rPr>
              <a:t>https://www.ncbi.nlm.nih.gov/probe/docs/techish/</a:t>
            </a:r>
            <a:r>
              <a:rPr lang="ru-RU" sz="600" dirty="0"/>
              <a:t> (дата обращения 22.03.2023) </a:t>
            </a:r>
            <a:r>
              <a:rPr lang="da-DK" sz="600" dirty="0"/>
              <a:t>5. Hechtman JF, et al. Cancer Cytopathol. 2019;127(7):428-431. 6. NCI Dictionary of Genetics Terms. </a:t>
            </a:r>
            <a:r>
              <a:rPr lang="da-DK" sz="600" dirty="0">
                <a:hlinkClick r:id="rId4"/>
              </a:rPr>
              <a:t>https://www.cancer.gov/publications/dictionaries/genetics-dictionary</a:t>
            </a:r>
            <a:r>
              <a:rPr lang="ru-RU" sz="600" dirty="0"/>
              <a:t> (дата обращения 22.03.2023).</a:t>
            </a:r>
            <a:r>
              <a:rPr lang="da-DK" sz="600" dirty="0"/>
              <a:t> 7. Wolff AC, et al. Arch Pathol Lab Med. 2018;142:1364-1382. 8. Sui W, et al. World J Surg Oncol. 2009;7:83. doi:10.1186/1477-7819-7-83</a:t>
            </a:r>
          </a:p>
        </p:txBody>
      </p:sp>
      <p:sp>
        <p:nvSpPr>
          <p:cNvPr id="10" name="object 37">
            <a:extLst>
              <a:ext uri="{FF2B5EF4-FFF2-40B4-BE49-F238E27FC236}">
                <a16:creationId xmlns:a16="http://schemas.microsoft.com/office/drawing/2014/main" xmlns="" id="{43B0A8FD-32B3-4208-9835-F24D47A201C7}"/>
              </a:ext>
            </a:extLst>
          </p:cNvPr>
          <p:cNvSpPr txBox="1"/>
          <p:nvPr/>
        </p:nvSpPr>
        <p:spPr>
          <a:xfrm>
            <a:off x="4710267" y="518551"/>
            <a:ext cx="4580382" cy="382156"/>
          </a:xfrm>
          <a:prstGeom prst="rect">
            <a:avLst/>
          </a:prstGeom>
        </p:spPr>
        <p:txBody>
          <a:bodyPr vert="horz" wrap="square" lIns="0" tIns="12700" rIns="0" bIns="0" rtlCol="0">
            <a:spAutoFit/>
          </a:bodyPr>
          <a:lstStyle/>
          <a:p>
            <a:pPr algn="ctr" rtl="0">
              <a:lnSpc>
                <a:spcPct val="100000"/>
              </a:lnSpc>
              <a:spcBef>
                <a:spcPts val="100"/>
              </a:spcBef>
            </a:pPr>
            <a:r>
              <a:rPr lang="ru" sz="1200" b="1" dirty="0">
                <a:solidFill>
                  <a:srgbClr val="830051"/>
                </a:solidFill>
                <a:latin typeface="Arial" pitchFamily="34" charset="0"/>
                <a:cs typeface="Arial" pitchFamily="34" charset="0"/>
              </a:rPr>
              <a:t>Амплификация </a:t>
            </a:r>
            <a:r>
              <a:rPr lang="ru" sz="1200" b="1" i="1" dirty="0">
                <a:solidFill>
                  <a:srgbClr val="830051"/>
                </a:solidFill>
                <a:latin typeface="Arial" pitchFamily="34" charset="0"/>
                <a:cs typeface="Arial" pitchFamily="34" charset="0"/>
              </a:rPr>
              <a:t>HER2</a:t>
            </a:r>
            <a:r>
              <a:rPr lang="en" sz="1200" b="1" i="1" dirty="0">
                <a:solidFill>
                  <a:srgbClr val="830051"/>
                </a:solidFill>
                <a:latin typeface="Arial" pitchFamily="34" charset="0"/>
                <a:cs typeface="Arial" pitchFamily="34" charset="0"/>
              </a:rPr>
              <a:t>,</a:t>
            </a:r>
            <a:r>
              <a:rPr lang="ru-RU" sz="1200" b="1" i="1" dirty="0">
                <a:solidFill>
                  <a:srgbClr val="830051"/>
                </a:solidFill>
                <a:latin typeface="Arial" pitchFamily="34" charset="0"/>
                <a:cs typeface="Arial" pitchFamily="34" charset="0"/>
              </a:rPr>
              <a:t/>
            </a:r>
            <a:br>
              <a:rPr lang="ru-RU" sz="1200" b="1" i="1" dirty="0">
                <a:solidFill>
                  <a:srgbClr val="830051"/>
                </a:solidFill>
                <a:latin typeface="Arial" pitchFamily="34" charset="0"/>
                <a:cs typeface="Arial" pitchFamily="34" charset="0"/>
              </a:rPr>
            </a:br>
            <a:r>
              <a:rPr lang="en" sz="1200" b="1" dirty="0">
                <a:solidFill>
                  <a:srgbClr val="830051"/>
                </a:solidFill>
                <a:latin typeface="Arial" pitchFamily="34" charset="0"/>
                <a:cs typeface="Arial" pitchFamily="34" charset="0"/>
              </a:rPr>
              <a:t>обнаруживаемая с помощью гибридизации</a:t>
            </a:r>
            <a:r>
              <a:rPr lang="ru-RU" sz="1200" b="1" dirty="0">
                <a:solidFill>
                  <a:srgbClr val="830051"/>
                </a:solidFill>
                <a:latin typeface="Arial" pitchFamily="34" charset="0"/>
                <a:cs typeface="Arial" pitchFamily="34" charset="0"/>
              </a:rPr>
              <a:t> </a:t>
            </a:r>
            <a:r>
              <a:rPr sz="1200" b="1" i="1" dirty="0">
                <a:solidFill>
                  <a:srgbClr val="830051"/>
                </a:solidFill>
                <a:latin typeface="Arial" pitchFamily="34" charset="0"/>
                <a:cs typeface="Arial" pitchFamily="34" charset="0"/>
              </a:rPr>
              <a:t>in situ</a:t>
            </a:r>
          </a:p>
        </p:txBody>
      </p:sp>
      <p:grpSp>
        <p:nvGrpSpPr>
          <p:cNvPr id="11" name="object 33">
            <a:extLst>
              <a:ext uri="{FF2B5EF4-FFF2-40B4-BE49-F238E27FC236}">
                <a16:creationId xmlns:a16="http://schemas.microsoft.com/office/drawing/2014/main" xmlns="" id="{91DF36A9-BCB1-431C-B849-1F22C04D7C17}"/>
              </a:ext>
            </a:extLst>
          </p:cNvPr>
          <p:cNvGrpSpPr/>
          <p:nvPr/>
        </p:nvGrpSpPr>
        <p:grpSpPr>
          <a:xfrm>
            <a:off x="4947974" y="1031193"/>
            <a:ext cx="4063365" cy="2897505"/>
            <a:chOff x="5839967" y="1580388"/>
            <a:chExt cx="4063365" cy="2897505"/>
          </a:xfrm>
        </p:grpSpPr>
        <p:pic>
          <p:nvPicPr>
            <p:cNvPr id="12" name="object 34">
              <a:extLst>
                <a:ext uri="{FF2B5EF4-FFF2-40B4-BE49-F238E27FC236}">
                  <a16:creationId xmlns:a16="http://schemas.microsoft.com/office/drawing/2014/main" xmlns="" id="{8674959D-7A33-433A-9580-13A3201B59EE}"/>
                </a:ext>
              </a:extLst>
            </p:cNvPr>
            <p:cNvPicPr/>
            <p:nvPr/>
          </p:nvPicPr>
          <p:blipFill>
            <a:blip r:embed="rId5" cstate="print"/>
            <a:stretch>
              <a:fillRect/>
            </a:stretch>
          </p:blipFill>
          <p:spPr>
            <a:xfrm>
              <a:off x="5839967" y="1580388"/>
              <a:ext cx="4062984" cy="2206752"/>
            </a:xfrm>
            <a:prstGeom prst="rect">
              <a:avLst/>
            </a:prstGeom>
          </p:spPr>
        </p:pic>
        <p:sp>
          <p:nvSpPr>
            <p:cNvPr id="13" name="object 35">
              <a:extLst>
                <a:ext uri="{FF2B5EF4-FFF2-40B4-BE49-F238E27FC236}">
                  <a16:creationId xmlns:a16="http://schemas.microsoft.com/office/drawing/2014/main" xmlns="" id="{A0192743-07EC-4327-B2A0-48179880EDF5}"/>
                </a:ext>
              </a:extLst>
            </p:cNvPr>
            <p:cNvSpPr/>
            <p:nvPr/>
          </p:nvSpPr>
          <p:spPr>
            <a:xfrm>
              <a:off x="7889747" y="3784092"/>
              <a:ext cx="2013585" cy="693420"/>
            </a:xfrm>
            <a:custGeom>
              <a:avLst/>
              <a:gdLst/>
              <a:ahLst/>
              <a:cxnLst/>
              <a:rect l="l" t="t" r="r" b="b"/>
              <a:pathLst>
                <a:path w="2013584" h="693420">
                  <a:moveTo>
                    <a:pt x="2013203" y="0"/>
                  </a:moveTo>
                  <a:lnTo>
                    <a:pt x="0" y="0"/>
                  </a:lnTo>
                  <a:lnTo>
                    <a:pt x="0" y="693420"/>
                  </a:lnTo>
                  <a:lnTo>
                    <a:pt x="2013203" y="693420"/>
                  </a:lnTo>
                  <a:lnTo>
                    <a:pt x="2013203" y="0"/>
                  </a:lnTo>
                  <a:close/>
                </a:path>
              </a:pathLst>
            </a:custGeom>
            <a:solidFill>
              <a:srgbClr val="D9D9D9"/>
            </a:solidFill>
          </p:spPr>
          <p:txBody>
            <a:bodyPr wrap="square" lIns="0" tIns="0" rIns="0" bIns="0" rtlCol="0"/>
            <a:lstStyle/>
            <a:p>
              <a:pPr rtl="0"/>
              <a:endParaRPr dirty="0">
                <a:latin typeface="Arial" pitchFamily="34" charset="0"/>
                <a:cs typeface="Arial" pitchFamily="34" charset="0"/>
              </a:endParaRPr>
            </a:p>
          </p:txBody>
        </p:sp>
      </p:grpSp>
      <p:sp>
        <p:nvSpPr>
          <p:cNvPr id="14" name="object 30">
            <a:extLst>
              <a:ext uri="{FF2B5EF4-FFF2-40B4-BE49-F238E27FC236}">
                <a16:creationId xmlns:a16="http://schemas.microsoft.com/office/drawing/2014/main" xmlns="" id="{E60D448D-72B6-4A52-A82C-1971CADBC379}"/>
              </a:ext>
            </a:extLst>
          </p:cNvPr>
          <p:cNvSpPr/>
          <p:nvPr/>
        </p:nvSpPr>
        <p:spPr>
          <a:xfrm>
            <a:off x="4946938" y="3237945"/>
            <a:ext cx="2049780" cy="693420"/>
          </a:xfrm>
          <a:custGeom>
            <a:avLst/>
            <a:gdLst/>
            <a:ahLst/>
            <a:cxnLst/>
            <a:rect l="l" t="t" r="r" b="b"/>
            <a:pathLst>
              <a:path w="2049779" h="693420">
                <a:moveTo>
                  <a:pt x="2049780" y="0"/>
                </a:moveTo>
                <a:lnTo>
                  <a:pt x="0" y="0"/>
                </a:lnTo>
                <a:lnTo>
                  <a:pt x="0" y="693420"/>
                </a:lnTo>
                <a:lnTo>
                  <a:pt x="2049780" y="693420"/>
                </a:lnTo>
                <a:lnTo>
                  <a:pt x="2049780" y="0"/>
                </a:lnTo>
                <a:close/>
              </a:path>
            </a:pathLst>
          </a:custGeom>
          <a:solidFill>
            <a:srgbClr val="D9D9D9"/>
          </a:solidFill>
        </p:spPr>
        <p:txBody>
          <a:bodyPr wrap="square" lIns="0" tIns="0" rIns="0" bIns="0" rtlCol="0"/>
          <a:lstStyle/>
          <a:p>
            <a:pPr rtl="0"/>
            <a:endParaRPr dirty="0">
              <a:latin typeface="Arial" pitchFamily="34" charset="0"/>
              <a:cs typeface="Arial" pitchFamily="34" charset="0"/>
            </a:endParaRPr>
          </a:p>
        </p:txBody>
      </p:sp>
      <p:sp>
        <p:nvSpPr>
          <p:cNvPr id="15" name="object 31">
            <a:extLst>
              <a:ext uri="{FF2B5EF4-FFF2-40B4-BE49-F238E27FC236}">
                <a16:creationId xmlns:a16="http://schemas.microsoft.com/office/drawing/2014/main" xmlns="" id="{F1CAE7DD-B61D-4312-B769-648C5551C4B2}"/>
              </a:ext>
            </a:extLst>
          </p:cNvPr>
          <p:cNvSpPr txBox="1"/>
          <p:nvPr/>
        </p:nvSpPr>
        <p:spPr>
          <a:xfrm>
            <a:off x="4952217" y="3263442"/>
            <a:ext cx="2021969" cy="566181"/>
          </a:xfrm>
          <a:prstGeom prst="rect">
            <a:avLst/>
          </a:prstGeom>
        </p:spPr>
        <p:txBody>
          <a:bodyPr vert="horz" wrap="square" lIns="0" tIns="12065" rIns="0" bIns="0" rtlCol="0">
            <a:spAutoFit/>
          </a:bodyPr>
          <a:lstStyle/>
          <a:p>
            <a:pPr algn="ctr" rtl="0">
              <a:lnSpc>
                <a:spcPct val="100000"/>
              </a:lnSpc>
              <a:spcBef>
                <a:spcPts val="95"/>
              </a:spcBef>
            </a:pPr>
            <a:r>
              <a:rPr lang="ru" sz="1100" b="1" dirty="0">
                <a:solidFill>
                  <a:srgbClr val="003864"/>
                </a:solidFill>
                <a:latin typeface="Arial" pitchFamily="34" charset="0"/>
                <a:cs typeface="Arial" pitchFamily="34" charset="0"/>
              </a:rPr>
              <a:t>ISH без амплификации HER2</a:t>
            </a:r>
            <a:r>
              <a:rPr sz="1400" dirty="0"/>
              <a:t> </a:t>
            </a:r>
            <a:endParaRPr sz="1100" dirty="0">
              <a:latin typeface="Arial" pitchFamily="34" charset="0"/>
              <a:cs typeface="Arial" pitchFamily="34" charset="0"/>
            </a:endParaRPr>
          </a:p>
          <a:p>
            <a:pPr algn="ctr" rtl="0">
              <a:lnSpc>
                <a:spcPct val="100000"/>
              </a:lnSpc>
            </a:pPr>
            <a:r>
              <a:rPr lang="ru" sz="1100" b="1" dirty="0">
                <a:solidFill>
                  <a:srgbClr val="003864"/>
                </a:solidFill>
                <a:latin typeface="Arial" pitchFamily="34" charset="0"/>
                <a:cs typeface="Arial" pitchFamily="34" charset="0"/>
              </a:rPr>
              <a:t>(т. е. отрицательный результат)</a:t>
            </a:r>
            <a:endParaRPr sz="1100" dirty="0">
              <a:latin typeface="Arial" pitchFamily="34" charset="0"/>
              <a:cs typeface="Arial" pitchFamily="34" charset="0"/>
            </a:endParaRPr>
          </a:p>
        </p:txBody>
      </p:sp>
      <p:sp>
        <p:nvSpPr>
          <p:cNvPr id="16" name="object 36">
            <a:extLst>
              <a:ext uri="{FF2B5EF4-FFF2-40B4-BE49-F238E27FC236}">
                <a16:creationId xmlns:a16="http://schemas.microsoft.com/office/drawing/2014/main" xmlns="" id="{132D1923-40A2-46C4-A361-2B92438FF7D7}"/>
              </a:ext>
            </a:extLst>
          </p:cNvPr>
          <p:cNvSpPr txBox="1"/>
          <p:nvPr/>
        </p:nvSpPr>
        <p:spPr>
          <a:xfrm>
            <a:off x="6997754" y="3329605"/>
            <a:ext cx="1958596" cy="520014"/>
          </a:xfrm>
          <a:prstGeom prst="rect">
            <a:avLst/>
          </a:prstGeom>
        </p:spPr>
        <p:txBody>
          <a:bodyPr vert="horz" wrap="square" lIns="0" tIns="12065" rIns="0" bIns="0" rtlCol="0">
            <a:spAutoFit/>
          </a:bodyPr>
          <a:lstStyle/>
          <a:p>
            <a:pPr algn="ctr" rtl="0">
              <a:lnSpc>
                <a:spcPct val="100000"/>
              </a:lnSpc>
              <a:spcBef>
                <a:spcPts val="95"/>
              </a:spcBef>
            </a:pPr>
            <a:r>
              <a:rPr lang="ru" sz="1100" b="1" dirty="0">
                <a:solidFill>
                  <a:srgbClr val="003864"/>
                </a:solidFill>
                <a:latin typeface="Arial" pitchFamily="34" charset="0"/>
                <a:cs typeface="Arial" pitchFamily="34" charset="0"/>
              </a:rPr>
              <a:t>ISH с амплификацией HER2</a:t>
            </a:r>
            <a:endParaRPr sz="1100" dirty="0">
              <a:latin typeface="Arial" pitchFamily="34" charset="0"/>
              <a:cs typeface="Arial" pitchFamily="34" charset="0"/>
            </a:endParaRPr>
          </a:p>
          <a:p>
            <a:pPr algn="ctr" rtl="0">
              <a:lnSpc>
                <a:spcPct val="100000"/>
              </a:lnSpc>
            </a:pPr>
            <a:r>
              <a:rPr lang="ru" sz="1100" b="1" dirty="0">
                <a:solidFill>
                  <a:srgbClr val="003864"/>
                </a:solidFill>
                <a:latin typeface="Arial" pitchFamily="34" charset="0"/>
                <a:cs typeface="Arial" pitchFamily="34" charset="0"/>
              </a:rPr>
              <a:t>(т. е. положительный результат)</a:t>
            </a:r>
            <a:endParaRPr sz="1100" dirty="0">
              <a:latin typeface="Arial" pitchFamily="34" charset="0"/>
              <a:cs typeface="Arial" pitchFamily="34" charset="0"/>
            </a:endParaRPr>
          </a:p>
        </p:txBody>
      </p:sp>
    </p:spTree>
    <p:extLst>
      <p:ext uri="{BB962C8B-B14F-4D97-AF65-F5344CB8AC3E}">
        <p14:creationId xmlns:p14="http://schemas.microsoft.com/office/powerpoint/2010/main" val="565409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2E14A555-39E0-6043-81F6-2A1020966FF9}"/>
    </a:ext>
  </a:extLst>
</a:theme>
</file>

<file path=ppt/theme/theme10.xml><?xml version="1.0" encoding="utf-8"?>
<a:theme xmlns:a="http://schemas.openxmlformats.org/drawingml/2006/main" name="AZ Divid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548DD855-D4F5-C140-8E62-5E9C7E83AC73}"/>
    </a:ext>
  </a:extLst>
</a:theme>
</file>

<file path=ppt/theme/theme11.xml><?xml version="1.0" encoding="utf-8"?>
<a:theme xmlns:a="http://schemas.openxmlformats.org/drawingml/2006/main" name="6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smtClean="0"/>
        </a:defPPr>
      </a:lstStyle>
    </a:txDef>
  </a:objectDefaults>
  <a:extraClrSchemeLst/>
  <a:extLst>
    <a:ext uri="{05A4C25C-085E-4340-85A3-A5531E510DB2}">
      <thm15:themeFamily xmlns:thm15="http://schemas.microsoft.com/office/thememl/2012/main" xmlns="" name="AZ_External_16x9_AUG2019" id="{4E3592B0-A59B-4142-96CE-79C493DDFC41}" vid="{615A65BA-BBA0-B148-8D15-74EA144B5FAF}"/>
    </a:ext>
  </a:extLst>
</a:theme>
</file>

<file path=ppt/theme/theme12.xml><?xml version="1.0" encoding="utf-8"?>
<a:theme xmlns:a="http://schemas.openxmlformats.org/drawingml/2006/main" name="7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615A65BA-BBA0-B148-8D15-74EA144B5FAF}"/>
    </a:ext>
  </a:extLst>
</a:theme>
</file>

<file path=ppt/theme/theme13.xml><?xml version="1.0" encoding="utf-8"?>
<a:theme xmlns:a="http://schemas.openxmlformats.org/drawingml/2006/main" name="1_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2E14A555-39E0-6043-81F6-2A1020966FF9}"/>
    </a:ext>
  </a:extLst>
</a:theme>
</file>

<file path=ppt/theme/theme14.xml><?xml version="1.0" encoding="utf-8"?>
<a:theme xmlns:a="http://schemas.openxmlformats.org/drawingml/2006/main" name="6_AZ Cover Slide Options">
  <a:themeElements>
    <a:clrScheme name="Custom 2">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FEFFFF"/>
      </a:hlink>
      <a:folHlink>
        <a:srgbClr val="FE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Presentation3" id="{138C5780-14A5-2A48-B785-D4492E21AE8D}" vid="{04574781-88C5-4E47-A3AA-8ACCC670A8D6}"/>
    </a:ext>
  </a:extLst>
</a:theme>
</file>

<file path=ppt/theme/theme15.xml><?xml version="1.0" encoding="utf-8"?>
<a:theme xmlns:a="http://schemas.openxmlformats.org/drawingml/2006/main" name="8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extLst>
    <a:ext uri="{05A4C25C-085E-4340-85A3-A5531E510DB2}">
      <thm15:themeFamily xmlns:thm15="http://schemas.microsoft.com/office/thememl/2012/main" xmlns="" name="AZ_External_16x9_AUG2019" id="{4E3592B0-A59B-4142-96CE-79C493DDFC41}" vid="{615A65BA-BBA0-B148-8D15-74EA144B5FAF}"/>
    </a:ext>
  </a:extLst>
</a:theme>
</file>

<file path=ppt/theme/theme16.xml><?xml version="1.0" encoding="utf-8"?>
<a:theme xmlns:a="http://schemas.openxmlformats.org/drawingml/2006/main" name="Slide Template">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7.xml><?xml version="1.0" encoding="utf-8"?>
<a:theme xmlns:a="http://schemas.openxmlformats.org/drawingml/2006/main" name="2_AZ ES lung cancer TR template">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2E14A555-39E0-6043-81F6-2A1020966FF9}"/>
    </a:ext>
  </a:extLst>
</a:theme>
</file>

<file path=ppt/theme/theme18.xml><?xml version="1.0" encoding="utf-8"?>
<a:theme xmlns:a="http://schemas.openxmlformats.org/drawingml/2006/main" name="MI No Product">
  <a:themeElements>
    <a:clrScheme name="AZ MA Color Set">
      <a:dk1>
        <a:srgbClr val="000000"/>
      </a:dk1>
      <a:lt1>
        <a:srgbClr val="FFFFFF"/>
      </a:lt1>
      <a:dk2>
        <a:srgbClr val="3F4444"/>
      </a:dk2>
      <a:lt2>
        <a:srgbClr val="9DB0AC"/>
      </a:lt2>
      <a:accent1>
        <a:srgbClr val="7F134C"/>
      </a:accent1>
      <a:accent2>
        <a:srgbClr val="0D3759"/>
      </a:accent2>
      <a:accent3>
        <a:srgbClr val="65D2DF"/>
      </a:accent3>
      <a:accent4>
        <a:srgbClr val="3C1053"/>
      </a:accent4>
      <a:accent5>
        <a:srgbClr val="B5D820"/>
      </a:accent5>
      <a:accent6>
        <a:srgbClr val="F0AB00"/>
      </a:accent6>
      <a:hlink>
        <a:srgbClr val="7F134C"/>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marL="230188" indent="-230188">
          <a:buClr>
            <a:schemeClr val="accent1"/>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9.xml><?xml version="1.0" encoding="utf-8"?>
<a:theme xmlns:a="http://schemas.openxmlformats.org/drawingml/2006/main" name="2_Office Theme">
  <a:themeElements>
    <a:clrScheme name="Перспектива розовый">
      <a:dk1>
        <a:srgbClr val="292929"/>
      </a:dk1>
      <a:lt1>
        <a:srgbClr val="57254C"/>
      </a:lt1>
      <a:dk2>
        <a:srgbClr val="292929"/>
      </a:dk2>
      <a:lt2>
        <a:srgbClr val="FFFFFF"/>
      </a:lt2>
      <a:accent1>
        <a:srgbClr val="5C305F"/>
      </a:accent1>
      <a:accent2>
        <a:srgbClr val="CD7EA1"/>
      </a:accent2>
      <a:accent3>
        <a:srgbClr val="7BA4DA"/>
      </a:accent3>
      <a:accent4>
        <a:srgbClr val="001F5D"/>
      </a:accent4>
      <a:accent5>
        <a:srgbClr val="A6192E"/>
      </a:accent5>
      <a:accent6>
        <a:srgbClr val="059CC2"/>
      </a:accent6>
      <a:hlink>
        <a:srgbClr val="5C305F"/>
      </a:hlink>
      <a:folHlink>
        <a:srgbClr val="5C305F"/>
      </a:folHlink>
    </a:clrScheme>
    <a:fontScheme name="Другая 3">
      <a:majorFont>
        <a:latin typeface="Arial"/>
        <a:ea typeface=""/>
        <a:cs typeface=""/>
      </a:majorFont>
      <a:minorFont>
        <a:latin typeface="Arial"/>
        <a:ea typeface=""/>
        <a:cs typeface=""/>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615A65BA-BBA0-B148-8D15-74EA144B5FAF}"/>
    </a:ext>
  </a:extLst>
</a:theme>
</file>

<file path=ppt/theme/theme20.xml><?xml version="1.0" encoding="utf-8"?>
<a:theme xmlns:a="http://schemas.openxmlformats.org/drawingml/2006/main" name="7_Тема Office">
  <a:themeElements>
    <a:clrScheme name="AZON 10.21">
      <a:dk1>
        <a:srgbClr val="000000"/>
      </a:dk1>
      <a:lt1>
        <a:srgbClr val="FFFFFF"/>
      </a:lt1>
      <a:dk2>
        <a:srgbClr val="820048"/>
      </a:dk2>
      <a:lt2>
        <a:srgbClr val="F3B800"/>
      </a:lt2>
      <a:accent1>
        <a:srgbClr val="003865"/>
      </a:accent1>
      <a:accent2>
        <a:srgbClr val="CDD500"/>
      </a:accent2>
      <a:accent3>
        <a:srgbClr val="9CD3E3"/>
      </a:accent3>
      <a:accent4>
        <a:srgbClr val="380851"/>
      </a:accent4>
      <a:accent5>
        <a:srgbClr val="E30079"/>
      </a:accent5>
      <a:accent6>
        <a:srgbClr val="0A2F55"/>
      </a:accent6>
      <a:hlink>
        <a:srgbClr val="003865"/>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1.xml><?xml version="1.0" encoding="utf-8"?>
<a:theme xmlns:a="http://schemas.openxmlformats.org/drawingml/2006/main" name="4_DS AZ template">
  <a:themeElements>
    <a:clrScheme name="Daiichi/AZ">
      <a:dk1>
        <a:srgbClr val="000000"/>
      </a:dk1>
      <a:lt1>
        <a:srgbClr val="FFFFFF"/>
      </a:lt1>
      <a:dk2>
        <a:srgbClr val="3F4444"/>
      </a:dk2>
      <a:lt2>
        <a:srgbClr val="C4D600"/>
      </a:lt2>
      <a:accent1>
        <a:srgbClr val="000000"/>
      </a:accent1>
      <a:accent2>
        <a:srgbClr val="003865"/>
      </a:accent2>
      <a:accent3>
        <a:srgbClr val="68D2DF"/>
      </a:accent3>
      <a:accent4>
        <a:srgbClr val="C4D600"/>
      </a:accent4>
      <a:accent5>
        <a:srgbClr val="9DB0AC"/>
      </a:accent5>
      <a:accent6>
        <a:srgbClr val="B6B8BB"/>
      </a:accent6>
      <a:hlink>
        <a:srgbClr val="003865"/>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20190409 JAMT Meeting Slides.pptx" id="{8346EAE7-3FB0-4D64-AFB3-FB2DA6C3D685}" vid="{B36D977B-3DD2-41F2-9170-C316CCC9DCF9}"/>
    </a:ext>
  </a:extLst>
</a:theme>
</file>

<file path=ppt/theme/theme22.xml><?xml version="1.0" encoding="utf-8"?>
<a:theme xmlns:a="http://schemas.openxmlformats.org/drawingml/2006/main" name="3_DS AZ template">
  <a:themeElements>
    <a:clrScheme name="Daiichi/AZ">
      <a:dk1>
        <a:srgbClr val="000000"/>
      </a:dk1>
      <a:lt1>
        <a:srgbClr val="FFFFFF"/>
      </a:lt1>
      <a:dk2>
        <a:srgbClr val="3F4444"/>
      </a:dk2>
      <a:lt2>
        <a:srgbClr val="C4D600"/>
      </a:lt2>
      <a:accent1>
        <a:srgbClr val="000000"/>
      </a:accent1>
      <a:accent2>
        <a:srgbClr val="003865"/>
      </a:accent2>
      <a:accent3>
        <a:srgbClr val="68D2DF"/>
      </a:accent3>
      <a:accent4>
        <a:srgbClr val="C4D600"/>
      </a:accent4>
      <a:accent5>
        <a:srgbClr val="9DB0AC"/>
      </a:accent5>
      <a:accent6>
        <a:srgbClr val="B6B8BB"/>
      </a:accent6>
      <a:hlink>
        <a:srgbClr val="003865"/>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20190409 JAMT Meeting Slides.pptx" id="{8346EAE7-3FB0-4D64-AFB3-FB2DA6C3D685}" vid="{B36D977B-3DD2-41F2-9170-C316CCC9DCF9}"/>
    </a:ext>
  </a:extLst>
</a:theme>
</file>

<file path=ppt/theme/theme23.xml><?xml version="1.0" encoding="utf-8"?>
<a:theme xmlns:a="http://schemas.openxmlformats.org/drawingml/2006/main" name="3_Тема Office">
  <a:themeElements>
    <a:clrScheme name="AZON HER2 07">
      <a:dk1>
        <a:srgbClr val="000000"/>
      </a:dk1>
      <a:lt1>
        <a:srgbClr val="FFFFFF"/>
      </a:lt1>
      <a:dk2>
        <a:srgbClr val="820048"/>
      </a:dk2>
      <a:lt2>
        <a:srgbClr val="F3B800"/>
      </a:lt2>
      <a:accent1>
        <a:srgbClr val="9F9AE2"/>
      </a:accent1>
      <a:accent2>
        <a:srgbClr val="003865"/>
      </a:accent2>
      <a:accent3>
        <a:srgbClr val="9CD3E3"/>
      </a:accent3>
      <a:accent4>
        <a:srgbClr val="7363AC"/>
      </a:accent4>
      <a:accent5>
        <a:srgbClr val="E30079"/>
      </a:accent5>
      <a:accent6>
        <a:srgbClr val="0A2F55"/>
      </a:accent6>
      <a:hlink>
        <a:srgbClr val="003865"/>
      </a:hlink>
      <a:folHlink>
        <a:srgbClr val="9DB0AC"/>
      </a:folHlink>
    </a:clrScheme>
    <a:fontScheme name="AZON HER2">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615A65BA-BBA0-B148-8D15-74EA144B5FAF}"/>
    </a:ext>
  </a:extLst>
</a:theme>
</file>

<file path=ppt/theme/theme4.xml><?xml version="1.0" encoding="utf-8"?>
<a:theme xmlns:a="http://schemas.openxmlformats.org/drawingml/2006/main" name="2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Presentation16" id="{0A308D3E-1B74-F244-A7B9-7B11E35EF57F}" vid="{8D2D6F2B-54FA-C94B-8B40-C7D4069E8150}"/>
    </a:ext>
  </a:extLst>
</a:theme>
</file>

<file path=ppt/theme/theme5.xml><?xml version="1.0" encoding="utf-8"?>
<a:theme xmlns:a="http://schemas.openxmlformats.org/drawingml/2006/main" name="AstraZeneca Standard Template">
  <a:themeElements>
    <a:clrScheme name="Astra Zeneca">
      <a:dk1>
        <a:srgbClr val="000000"/>
      </a:dk1>
      <a:lt1>
        <a:srgbClr val="FFFFFF"/>
      </a:lt1>
      <a:dk2>
        <a:srgbClr val="3F4444"/>
      </a:dk2>
      <a:lt2>
        <a:srgbClr val="FFFFFF"/>
      </a:lt2>
      <a:accent1>
        <a:srgbClr val="7F134C"/>
      </a:accent1>
      <a:accent2>
        <a:srgbClr val="B5D820"/>
      </a:accent2>
      <a:accent3>
        <a:srgbClr val="0D3759"/>
      </a:accent3>
      <a:accent4>
        <a:srgbClr val="3F4444"/>
      </a:accent4>
      <a:accent5>
        <a:srgbClr val="68D2DF"/>
      </a:accent5>
      <a:accent6>
        <a:srgbClr val="D0006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Aft>
            <a:spcPts val="600"/>
          </a:spcAft>
          <a:defRPr sz="2400"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lnSpc>
            <a:spcPct val="90000"/>
          </a:lnSpc>
          <a:spcAft>
            <a:spcPts val="600"/>
          </a:spcAft>
          <a:defRPr dirty="0" smtClean="0">
            <a:solidFill>
              <a:schemeClr val="tx2"/>
            </a:solidFill>
          </a:defRPr>
        </a:defPPr>
      </a:lstStyle>
    </a:txDef>
  </a:objectDefaults>
  <a:extraClrSchemeLst/>
  <a:custClrLst>
    <a:custClr name="Mulberry">
      <a:srgbClr val="7F134C"/>
    </a:custClr>
    <a:custClr name="Lime Green">
      <a:srgbClr val="B5D820"/>
    </a:custClr>
    <a:custClr name="Navy">
      <a:srgbClr val="0D3759"/>
    </a:custClr>
    <a:custClr name="Graphite">
      <a:srgbClr val="3F4444"/>
    </a:custClr>
    <a:custClr name="Light Blue">
      <a:srgbClr val="68D2DF"/>
    </a:custClr>
    <a:custClr name="Magenta">
      <a:srgbClr val="D0006F"/>
    </a:custClr>
    <a:custClr name="Purple">
      <a:srgbClr val="3C1053"/>
    </a:custClr>
    <a:custClr name="White">
      <a:srgbClr val="FFFFFF"/>
    </a:custClr>
    <a:custClr name="Gold">
      <a:srgbClr val="F0AB00"/>
    </a:custClr>
    <a:custClr name="Platinum">
      <a:srgbClr val="9DB0AC"/>
    </a:custClr>
  </a:custClrLst>
  <a:extLst>
    <a:ext uri="{05A4C25C-085E-4340-85A3-A5531E510DB2}">
      <thm15:themeFamily xmlns:thm15="http://schemas.microsoft.com/office/thememl/2012/main" xmlns="" name="Sci abstract review_ADAURA_DRAFT_May22" id="{3A30CDBB-111F-4BCA-A54C-564465A9A3A1}" vid="{3A8E7302-93C1-4040-8B48-E3897B1C92B6}"/>
    </a:ext>
  </a:extLst>
</a:theme>
</file>

<file path=ppt/theme/theme6.xml><?xml version="1.0" encoding="utf-8"?>
<a:theme xmlns:a="http://schemas.openxmlformats.org/drawingml/2006/main" name="3_AZ General Master Slide Option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 Internal Template 16x9" id="{12E77C55-8991-433F-AE3E-71F0A22986D5}" vid="{3A66F757-7C55-4011-BD6D-1D6456DA3E1D}"/>
    </a:ext>
  </a:extLst>
</a:theme>
</file>

<file path=ppt/theme/theme7.xml><?xml version="1.0" encoding="utf-8"?>
<a:theme xmlns:a="http://schemas.openxmlformats.org/drawingml/2006/main" name="3_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 External Template 16x9.potx" id="{66AAC869-5407-4D39-BB16-E22823B24132}" vid="{AD06286E-AFA6-4DD9-A9BE-70113439B706}"/>
    </a:ext>
  </a:extLst>
</a:theme>
</file>

<file path=ppt/theme/theme8.xml><?xml version="1.0" encoding="utf-8"?>
<a:theme xmlns:a="http://schemas.openxmlformats.org/drawingml/2006/main" name="4_AZ General Master Slide Option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 Internal Template 16x9" id="{12E77C55-8991-433F-AE3E-71F0A22986D5}" vid="{3A66F757-7C55-4011-BD6D-1D6456DA3E1D}"/>
    </a:ext>
  </a:extLst>
</a:theme>
</file>

<file path=ppt/theme/theme9.xml><?xml version="1.0" encoding="utf-8"?>
<a:theme xmlns:a="http://schemas.openxmlformats.org/drawingml/2006/main" name="5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AZ_External_16x9_AUG2019" id="{4E3592B0-A59B-4142-96CE-79C493DDFC41}" vid="{615A65BA-BBA0-B148-8D15-74EA144B5FAF}"/>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89A8B4E-C1C8-412A-BCD6-970F35334A8B}">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Keyword xmlns="44a56295-c29e-4898-8136-a54736c65b82" xsi:nil="true"/>
    <Descriptions xmlns="44a56295-c29e-4898-8136-a54736c65b82" xsi:nil="true"/>
  </documentManagement>
</p:properties>
</file>

<file path=customXml/item2.xml><?xml version="1.0" encoding="utf-8"?>
<?mso-contentType ?>
<SharedContentType xmlns="Microsoft.SharePoint.Taxonomy.ContentTypeSync" SourceId="1ee89e71-04cd-405e-9ca3-99e020c1694d" ContentTypeId="0x01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2B66595B01FD5F42BBC91E3BA3908870" ma:contentTypeVersion="11" ma:contentTypeDescription="Create a new document." ma:contentTypeScope="" ma:versionID="0122bec2cf6466cb36651a05c0ba2afb">
  <xsd:schema xmlns:xsd="http://www.w3.org/2001/XMLSchema" xmlns:xs="http://www.w3.org/2001/XMLSchema" xmlns:p="http://schemas.microsoft.com/office/2006/metadata/properties" xmlns:ns3="44a56295-c29e-4898-8136-a54736c65b82" xmlns:ns4="c9d30317-05eb-424a-9e9f-c14d6ef0c8e0" targetNamespace="http://schemas.microsoft.com/office/2006/metadata/properties" ma:root="true" ma:fieldsID="5d138ac28da3a54ce5525f8c7f778f37" ns3:_="" ns4:_="">
    <xsd:import namespace="44a56295-c29e-4898-8136-a54736c65b82"/>
    <xsd:import namespace="c9d30317-05eb-424a-9e9f-c14d6ef0c8e0"/>
    <xsd:element name="properties">
      <xsd:complexType>
        <xsd:sequence>
          <xsd:element name="documentManagement">
            <xsd:complexType>
              <xsd:all>
                <xsd:element ref="ns3:Descriptions" minOccurs="0"/>
                <xsd:element ref="ns3:Keyword"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a56295-c29e-4898-8136-a54736c65b82" elementFormDefault="qualified">
    <xsd:import namespace="http://schemas.microsoft.com/office/2006/documentManagement/types"/>
    <xsd:import namespace="http://schemas.microsoft.com/office/infopath/2007/PartnerControls"/>
    <xsd:element name="Descriptions" ma:index="8" nillable="true" ma:displayName="Descriptions" ma:description="Describe your document to make it appear at the top of search results" ma:internalName="Descriptions">
      <xsd:simpleType>
        <xsd:restriction base="dms:Note">
          <xsd:maxLength value="255"/>
        </xsd:restriction>
      </xsd:simpleType>
    </xsd:element>
    <xsd:element name="Keyword" ma:index="9" nillable="true" ma:displayName="Keyword" ma:description="Enter list of terms separated by semi-colon(;)" ma:internalName="Keywor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9d30317-05eb-424a-9e9f-c14d6ef0c8e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B8ABAC-D6B6-4942-8C24-129150396157}">
  <ds:schemaRefs>
    <ds:schemaRef ds:uri="http://purl.org/dc/elements/1.1/"/>
    <ds:schemaRef ds:uri="http://schemas.microsoft.com/office/2006/metadata/properties"/>
    <ds:schemaRef ds:uri="44a56295-c29e-4898-8136-a54736c65b82"/>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purl.org/dc/dcmitype/"/>
    <ds:schemaRef ds:uri="c9d30317-05eb-424a-9e9f-c14d6ef0c8e0"/>
    <ds:schemaRef ds:uri="http://www.w3.org/XML/1998/namespace"/>
  </ds:schemaRefs>
</ds:datastoreItem>
</file>

<file path=customXml/itemProps2.xml><?xml version="1.0" encoding="utf-8"?>
<ds:datastoreItem xmlns:ds="http://schemas.openxmlformats.org/officeDocument/2006/customXml" ds:itemID="{50D0E7CF-9720-4BD0-8BC8-F8200B6A878B}">
  <ds:schemaRefs>
    <ds:schemaRef ds:uri="Microsoft.SharePoint.Taxonomy.ContentTypeSync"/>
  </ds:schemaRefs>
</ds:datastoreItem>
</file>

<file path=customXml/itemProps3.xml><?xml version="1.0" encoding="utf-8"?>
<ds:datastoreItem xmlns:ds="http://schemas.openxmlformats.org/officeDocument/2006/customXml" ds:itemID="{AA0CFE60-12F8-462A-A04A-576BD1A561E4}">
  <ds:schemaRefs>
    <ds:schemaRef ds:uri="http://schemas.microsoft.com/sharepoint/v3/contenttype/forms"/>
  </ds:schemaRefs>
</ds:datastoreItem>
</file>

<file path=customXml/itemProps4.xml><?xml version="1.0" encoding="utf-8"?>
<ds:datastoreItem xmlns:ds="http://schemas.openxmlformats.org/officeDocument/2006/customXml" ds:itemID="{DE608A75-7F63-47C2-87D0-EF3065CF12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a56295-c29e-4898-8136-a54736c65b82"/>
    <ds:schemaRef ds:uri="c9d30317-05eb-424a-9e9f-c14d6ef0c8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9738</TotalTime>
  <Words>7755</Words>
  <Application>Microsoft Office PowerPoint</Application>
  <PresentationFormat>Экран (16:9)</PresentationFormat>
  <Paragraphs>803</Paragraphs>
  <Slides>50</Slides>
  <Notes>22</Notes>
  <HiddenSlides>0</HiddenSlides>
  <MMClips>0</MMClips>
  <ScaleCrop>false</ScaleCrop>
  <HeadingPairs>
    <vt:vector size="6" baseType="variant">
      <vt:variant>
        <vt:lpstr>Тема</vt:lpstr>
      </vt:variant>
      <vt:variant>
        <vt:i4>23</vt:i4>
      </vt:variant>
      <vt:variant>
        <vt:lpstr>Внедренные серверы OLE</vt:lpstr>
      </vt:variant>
      <vt:variant>
        <vt:i4>1</vt:i4>
      </vt:variant>
      <vt:variant>
        <vt:lpstr>Заголовки слайдов</vt:lpstr>
      </vt:variant>
      <vt:variant>
        <vt:i4>50</vt:i4>
      </vt:variant>
    </vt:vector>
  </HeadingPairs>
  <TitlesOfParts>
    <vt:vector size="74" baseType="lpstr">
      <vt:lpstr>AZ Cover Slide Options</vt:lpstr>
      <vt:lpstr>AZ General Master Slide Options</vt:lpstr>
      <vt:lpstr>1_AZ General Master Slide Options</vt:lpstr>
      <vt:lpstr>2_AZ General Master Slide Options</vt:lpstr>
      <vt:lpstr>AstraZeneca Standard Template</vt:lpstr>
      <vt:lpstr>3_AZ General Master Slide Options</vt:lpstr>
      <vt:lpstr>3_AZ Cover Slide Options</vt:lpstr>
      <vt:lpstr>4_AZ General Master Slide Options</vt:lpstr>
      <vt:lpstr>5_AZ General Master Slide Options</vt:lpstr>
      <vt:lpstr>AZ Divider Slide Options</vt:lpstr>
      <vt:lpstr>6_AZ General Master Slide Options</vt:lpstr>
      <vt:lpstr>7_AZ General Master Slide Options</vt:lpstr>
      <vt:lpstr>1_AZ Cover Slide Options</vt:lpstr>
      <vt:lpstr>6_AZ Cover Slide Options</vt:lpstr>
      <vt:lpstr>8_AZ General Master Slide Options</vt:lpstr>
      <vt:lpstr>Slide Template</vt:lpstr>
      <vt:lpstr>2_AZ ES lung cancer TR template</vt:lpstr>
      <vt:lpstr>MI No Product</vt:lpstr>
      <vt:lpstr>2_Office Theme</vt:lpstr>
      <vt:lpstr>7_Тема Office</vt:lpstr>
      <vt:lpstr>4_DS AZ template</vt:lpstr>
      <vt:lpstr>3_DS AZ template</vt:lpstr>
      <vt:lpstr>3_Тема Office</vt:lpstr>
      <vt:lpstr>think-cell Slide</vt:lpstr>
      <vt:lpstr>Определение HER2 статуса опухоли Диагностические подходы при различных нозологиях</vt:lpstr>
      <vt:lpstr>Презентация PowerPoint</vt:lpstr>
      <vt:lpstr>HER2 — один из четырех рецепторов семейства HER (ERBB)1</vt:lpstr>
      <vt:lpstr>Презентация PowerPoint</vt:lpstr>
      <vt:lpstr>Презентация PowerPoint</vt:lpstr>
      <vt:lpstr>Ген HER2</vt:lpstr>
      <vt:lpstr>Изменения HER2 </vt:lpstr>
      <vt:lpstr>Гиперэкспрессия белка HER2 </vt:lpstr>
      <vt:lpstr>Амплификация гена HER2 </vt:lpstr>
      <vt:lpstr>Мутации гена HER2 </vt:lpstr>
      <vt:lpstr>Распространенность мутаций, амплификации и гиперэкспрессии HER2 различается в зависимости от типа опухоли</vt:lpstr>
      <vt:lpstr>Морфологическая диагностика РМЖ* Современные подходы и перспективы</vt:lpstr>
      <vt:lpstr>Презентация PowerPoint</vt:lpstr>
      <vt:lpstr>Основы морфологической диагностики РМЖ*</vt:lpstr>
      <vt:lpstr>Что происходит в ПАО?</vt:lpstr>
      <vt:lpstr>Презентация PowerPoint</vt:lpstr>
      <vt:lpstr>ИГХ – современный стандарт диагностики РМЖ 2 этап, в основном рефлексное тестирование: до 7 дней  </vt:lpstr>
      <vt:lpstr>Онкомаркеры и клинические характеристики различных молекулярных подтипов рака молочной железы </vt:lpstr>
      <vt:lpstr>Исследования ИГХ и ISH являются стандартными методами оценки  HER2-статуса</vt:lpstr>
      <vt:lpstr>Этапы полуколичественной оценки HER2-статуса</vt:lpstr>
      <vt:lpstr>Большинство случаев рака молочной железы в настоящее время классифицируются как HER2-отрицательные1</vt:lpstr>
      <vt:lpstr>Согласно текущим рекомендациям ASCO/CAP от 2018 г., алгоритм исследования HER2 при раке молочной железы дает результат «HER2-положительный» vs. «HER2-отрицательный» </vt:lpstr>
      <vt:lpstr>До 55 % пациентов с РМЖ могут иметь низкий уровень экспрессии HER21</vt:lpstr>
      <vt:lpstr>Большинство случаев HER2-отрицательного РМЖ являются HER2-слабоположительными</vt:lpstr>
      <vt:lpstr>Заключение: ключевая информация</vt:lpstr>
      <vt:lpstr>Определение HER2 статуса при раке желудка Особенности морфологической диагностики  </vt:lpstr>
      <vt:lpstr>Презентация PowerPoint</vt:lpstr>
      <vt:lpstr>Презентация PowerPoint</vt:lpstr>
      <vt:lpstr>Определение HER2 статуса опухоли: значимость вопроса и основные проблемы</vt:lpstr>
      <vt:lpstr>При раке желудка отмечается гетерогенность опухоли</vt:lpstr>
      <vt:lpstr>Иммуногистохимические критерии оценки HER2  при распространенном раке желудка и пищеводно-желудочного перехода</vt:lpstr>
      <vt:lpstr>Различия Her2 тестирования рака желудка и рака молочной железы: критерии позитивного статуса</vt:lpstr>
      <vt:lpstr>Оценка ISH при раке желудка</vt:lpstr>
      <vt:lpstr>Заключение: ключевая информация</vt:lpstr>
      <vt:lpstr>Определение HER2 статуса при немелкоклеточном раке легкого (НМРЛ) </vt:lpstr>
      <vt:lpstr>Презентация PowerPoint</vt:lpstr>
      <vt:lpstr>Рекомендации по определению статуса HER2  при распространенном НМРЛ</vt:lpstr>
      <vt:lpstr>Клинические рекомендации содержат ограниченную информацию по лечению НМРЛ с гиперэкспрессией или амплификацией HER2</vt:lpstr>
      <vt:lpstr>Различные механизмы активации HER2 при НМРЛ</vt:lpstr>
      <vt:lpstr>Геномные изменения HER2 (ERBB2) были обнаружены  во многих типах опухолей</vt:lpstr>
      <vt:lpstr>Мутации HER2 (ERBB2) при опухолях различных локализаций</vt:lpstr>
      <vt:lpstr>Амплификация и мутация HER2 при НМРЛ редко совпадают</vt:lpstr>
      <vt:lpstr>Мутации HER2 при НМРЛ могут иметь различную локализацию</vt:lpstr>
      <vt:lpstr>Метод определения мутации HER2 при НМРЛ</vt:lpstr>
      <vt:lpstr>Характеристики НМРЛ с мутацией HER2</vt:lpstr>
      <vt:lpstr>Наличие мутации HER2 при НМРЛ может быть ассоциировано с неблагоприятным прогнозом1</vt:lpstr>
      <vt:lpstr>Амплификация и гиперэкспрессия HER2 при НМРЛ</vt:lpstr>
      <vt:lpstr>Эффект убийства свидетеля (bystander killing effect)</vt:lpstr>
      <vt:lpstr>Заключение: ключевая информация</vt:lpstr>
      <vt:lpstr>Благодарю за внимание!</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ey, Kieran</dc:creator>
  <cp:keywords>16:9</cp:keywords>
  <dc:description>v1.0</dc:description>
  <cp:lastModifiedBy>Сатбаева ЭБ</cp:lastModifiedBy>
  <cp:revision>765</cp:revision>
  <cp:lastPrinted>2018-03-07T14:46:57Z</cp:lastPrinted>
  <dcterms:created xsi:type="dcterms:W3CDTF">2020-04-08T14:14:20Z</dcterms:created>
  <dcterms:modified xsi:type="dcterms:W3CDTF">2023-06-28T18:29:49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ContentTypeId">
    <vt:lpwstr>0x0101002B66595B01FD5F42BBC91E3BA3908870</vt:lpwstr>
  </property>
</Properties>
</file>